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0" r:id="rId4"/>
  </p:sldMasterIdLst>
  <p:notesMasterIdLst>
    <p:notesMasterId r:id="rId13"/>
  </p:notesMasterIdLst>
  <p:handoutMasterIdLst>
    <p:handoutMasterId r:id="rId14"/>
  </p:handoutMasterIdLst>
  <p:sldIdLst>
    <p:sldId id="2145706402" r:id="rId5"/>
    <p:sldId id="2145706422" r:id="rId6"/>
    <p:sldId id="2145706425" r:id="rId7"/>
    <p:sldId id="2145706418" r:id="rId8"/>
    <p:sldId id="2145706421" r:id="rId9"/>
    <p:sldId id="2145706428" r:id="rId10"/>
    <p:sldId id="2145706429" r:id="rId11"/>
    <p:sldId id="2145706416" r:id="rId12"/>
  </p:sldIdLst>
  <p:sldSz cx="12192000" cy="6858000"/>
  <p:notesSz cx="6797675" cy="9928225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0" orient="horz" pos="3929" userDrawn="1">
          <p15:clr>
            <a:srgbClr val="A4A3A4"/>
          </p15:clr>
        </p15:guide>
        <p15:guide id="21" pos="302" userDrawn="1">
          <p15:clr>
            <a:srgbClr val="A4A3A4"/>
          </p15:clr>
        </p15:guide>
        <p15:guide id="22" orient="horz" pos="1253" userDrawn="1">
          <p15:clr>
            <a:srgbClr val="A4A3A4"/>
          </p15:clr>
        </p15:guide>
        <p15:guide id="23" orient="horz" pos="1774" userDrawn="1">
          <p15:clr>
            <a:srgbClr val="A4A3A4"/>
          </p15:clr>
        </p15:guide>
        <p15:guide id="24" orient="horz" pos="18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nteleykin.MS" initials="P" lastIdx="1" clrIdx="0"/>
  <p:cmAuthor id="1" name="Анастасия Жданова" initials="АЖ" lastIdx="6" clrIdx="1">
    <p:extLst>
      <p:ext uri="{19B8F6BF-5375-455C-9EA6-DF929625EA0E}">
        <p15:presenceInfo xmlns:p15="http://schemas.microsoft.com/office/powerpoint/2012/main" userId="852745980d0e493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A7FF"/>
    <a:srgbClr val="004077"/>
    <a:srgbClr val="93D6FF"/>
    <a:srgbClr val="E7F6FF"/>
    <a:srgbClr val="FDFDFD"/>
    <a:srgbClr val="FFFFFF"/>
    <a:srgbClr val="0070BA"/>
    <a:srgbClr val="47B9FF"/>
    <a:srgbClr val="FF6699"/>
    <a:srgbClr val="198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125" autoAdjust="0"/>
    <p:restoredTop sz="92214" autoAdjust="0"/>
  </p:normalViewPr>
  <p:slideViewPr>
    <p:cSldViewPr snapToObjects="1">
      <p:cViewPr varScale="1">
        <p:scale>
          <a:sx n="60" d="100"/>
          <a:sy n="60" d="100"/>
        </p:scale>
        <p:origin x="1140" y="44"/>
      </p:cViewPr>
      <p:guideLst>
        <p:guide orient="horz" pos="799"/>
        <p:guide orient="horz" pos="3929"/>
        <p:guide pos="302"/>
        <p:guide orient="horz" pos="1253"/>
        <p:guide orient="horz" pos="1774"/>
        <p:guide orient="horz" pos="18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7" d="100"/>
          <a:sy n="67" d="100"/>
        </p:scale>
        <p:origin x="-3228" y="-11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 dirty="0">
              <a:latin typeface="HeliosCond" panose="020B0500000000000000" pitchFamily="34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6C9B66ED-47A8-4DFF-B304-AF321E597F15}" type="datetimeFigureOut">
              <a:rPr lang="ru-RU" smtClean="0">
                <a:latin typeface="HeliosCond" panose="020B0500000000000000" pitchFamily="34" charset="0"/>
              </a:rPr>
              <a:pPr/>
              <a:t>07.09.2022</a:t>
            </a:fld>
            <a:endParaRPr lang="ru-RU" dirty="0">
              <a:latin typeface="HeliosCond" panose="020B0500000000000000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 dirty="0">
              <a:latin typeface="HeliosCond" panose="020B0500000000000000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888EE776-ED49-4D58-9947-897FE817B9FF}" type="slidenum">
              <a:rPr lang="ru-RU" smtClean="0">
                <a:latin typeface="HeliosCond" panose="020B0500000000000000" pitchFamily="34" charset="0"/>
              </a:rPr>
              <a:pPr/>
              <a:t>‹#›</a:t>
            </a:fld>
            <a:endParaRPr lang="ru-RU" dirty="0">
              <a:latin typeface="HeliosCond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5104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>
                <a:latin typeface="HeliosCond" panose="020B0500000000000000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>
                <a:latin typeface="HeliosCond" panose="020B0500000000000000" pitchFamily="34" charset="0"/>
              </a:defRPr>
            </a:lvl1pPr>
          </a:lstStyle>
          <a:p>
            <a:fld id="{8BC972B1-184A-4B1D-8A19-8CE3303A33DA}" type="datetimeFigureOut">
              <a:rPr lang="ru-RU" smtClean="0"/>
              <a:pPr/>
              <a:t>05.09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>
                <a:latin typeface="HeliosCond" panose="020B0500000000000000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>
                <a:latin typeface="HeliosCond" panose="020B0500000000000000" pitchFamily="34" charset="0"/>
              </a:defRPr>
            </a:lvl1pPr>
          </a:lstStyle>
          <a:p>
            <a:fld id="{599B38AA-6CC1-4859-AFCC-434B2CE1B83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542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HeliosCond" panose="020B0500000000000000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HeliosCond" panose="020B0500000000000000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HeliosCond" panose="020B0500000000000000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HeliosCond" panose="020B0500000000000000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HeliosCond" panose="020B0500000000000000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6508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8DD22D-22DC-FB70-0F81-C9B4F0E3D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84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89B754-64D6-4BD0-A838-6163F6E45A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280D7B4-2FD4-4B76-93CF-6B920B0A3C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0" indent="0">
              <a:buNone/>
              <a:defRPr/>
            </a:lvl2pPr>
          </a:lstStyle>
          <a:p>
            <a:pPr lvl="1"/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F2BCD2-425F-4CF1-B151-829845C9A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E0CD99-E316-41AE-84AD-C2569001D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CF0E6B6-78C1-4CD1-BC2E-D4D7E0F92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5869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usiness1 - Title and Content">
  <p:cSld name="2_Business1 - 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51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usiness1 - Title and Content" preserve="1">
  <p:cSld name="3_Business1 - 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46FBD5B-E8E8-4F4D-A3D2-BA6140BAB060}"/>
              </a:ext>
            </a:extLst>
          </p:cNvPr>
          <p:cNvGrpSpPr/>
          <p:nvPr userDrawn="1"/>
        </p:nvGrpSpPr>
        <p:grpSpPr>
          <a:xfrm>
            <a:off x="-10668490" y="-7797645"/>
            <a:ext cx="29257638" cy="17653815"/>
            <a:chOff x="612358" y="2822645"/>
            <a:chExt cx="6240232" cy="3765304"/>
          </a:xfrm>
        </p:grpSpPr>
        <p:sp>
          <p:nvSpPr>
            <p:cNvPr id="3" name="Freeform: Shape 140">
              <a:extLst>
                <a:ext uri="{FF2B5EF4-FFF2-40B4-BE49-F238E27FC236}">
                  <a16:creationId xmlns:a16="http://schemas.microsoft.com/office/drawing/2014/main" id="{34E51CFC-34A7-454F-B525-8D9925733C7C}"/>
                </a:ext>
              </a:extLst>
            </p:cNvPr>
            <p:cNvSpPr/>
            <p:nvPr/>
          </p:nvSpPr>
          <p:spPr>
            <a:xfrm>
              <a:off x="2066664" y="4039835"/>
              <a:ext cx="1354868" cy="1327024"/>
            </a:xfrm>
            <a:custGeom>
              <a:avLst/>
              <a:gdLst>
                <a:gd name="connsiteX0" fmla="*/ 852687 w 1354868"/>
                <a:gd name="connsiteY0" fmla="*/ 695067 h 1327024"/>
                <a:gd name="connsiteX1" fmla="*/ 853894 w 1354868"/>
                <a:gd name="connsiteY1" fmla="*/ 718676 h 1327024"/>
                <a:gd name="connsiteX2" fmla="*/ 842776 w 1354868"/>
                <a:gd name="connsiteY2" fmla="*/ 728958 h 1327024"/>
                <a:gd name="connsiteX3" fmla="*/ 844280 w 1354868"/>
                <a:gd name="connsiteY3" fmla="*/ 711697 h 1327024"/>
                <a:gd name="connsiteX4" fmla="*/ 837060 w 1354868"/>
                <a:gd name="connsiteY4" fmla="*/ 698390 h 1327024"/>
                <a:gd name="connsiteX5" fmla="*/ 852687 w 1354868"/>
                <a:gd name="connsiteY5" fmla="*/ 695067 h 1327024"/>
                <a:gd name="connsiteX6" fmla="*/ 1215421 w 1354868"/>
                <a:gd name="connsiteY6" fmla="*/ 98191 h 1327024"/>
                <a:gd name="connsiteX7" fmla="*/ 1200796 w 1354868"/>
                <a:gd name="connsiteY7" fmla="*/ 75854 h 1327024"/>
                <a:gd name="connsiteX8" fmla="*/ 1215699 w 1354868"/>
                <a:gd name="connsiteY8" fmla="*/ 78586 h 1327024"/>
                <a:gd name="connsiteX9" fmla="*/ 1214048 w 1354868"/>
                <a:gd name="connsiteY9" fmla="*/ 95006 h 1327024"/>
                <a:gd name="connsiteX10" fmla="*/ 1235558 w 1354868"/>
                <a:gd name="connsiteY10" fmla="*/ 101791 h 1327024"/>
                <a:gd name="connsiteX11" fmla="*/ 1225313 w 1354868"/>
                <a:gd name="connsiteY11" fmla="*/ 122979 h 1327024"/>
                <a:gd name="connsiteX12" fmla="*/ 1211022 w 1354868"/>
                <a:gd name="connsiteY12" fmla="*/ 113346 h 1327024"/>
                <a:gd name="connsiteX13" fmla="*/ 1215421 w 1354868"/>
                <a:gd name="connsiteY13" fmla="*/ 98191 h 1327024"/>
                <a:gd name="connsiteX14" fmla="*/ 1197362 w 1354868"/>
                <a:gd name="connsiteY14" fmla="*/ 91708 h 1327024"/>
                <a:gd name="connsiteX15" fmla="*/ 1176668 w 1354868"/>
                <a:gd name="connsiteY15" fmla="*/ 89898 h 1327024"/>
                <a:gd name="connsiteX16" fmla="*/ 1175072 w 1354868"/>
                <a:gd name="connsiteY16" fmla="*/ 79944 h 1327024"/>
                <a:gd name="connsiteX17" fmla="*/ 1187136 w 1354868"/>
                <a:gd name="connsiteY17" fmla="*/ 75477 h 1327024"/>
                <a:gd name="connsiteX18" fmla="*/ 1197362 w 1354868"/>
                <a:gd name="connsiteY18" fmla="*/ 91708 h 1327024"/>
                <a:gd name="connsiteX19" fmla="*/ 1247604 w 1354868"/>
                <a:gd name="connsiteY19" fmla="*/ 134740 h 1327024"/>
                <a:gd name="connsiteX20" fmla="*/ 1267370 w 1354868"/>
                <a:gd name="connsiteY20" fmla="*/ 130744 h 1327024"/>
                <a:gd name="connsiteX21" fmla="*/ 1251242 w 1354868"/>
                <a:gd name="connsiteY21" fmla="*/ 146919 h 1327024"/>
                <a:gd name="connsiteX22" fmla="*/ 1232774 w 1354868"/>
                <a:gd name="connsiteY22" fmla="*/ 121791 h 1327024"/>
                <a:gd name="connsiteX23" fmla="*/ 1238509 w 1354868"/>
                <a:gd name="connsiteY23" fmla="*/ 93666 h 1327024"/>
                <a:gd name="connsiteX24" fmla="*/ 1255993 w 1354868"/>
                <a:gd name="connsiteY24" fmla="*/ 101940 h 1327024"/>
                <a:gd name="connsiteX25" fmla="*/ 1262507 w 1354868"/>
                <a:gd name="connsiteY25" fmla="*/ 116210 h 1327024"/>
                <a:gd name="connsiteX26" fmla="*/ 1245395 w 1354868"/>
                <a:gd name="connsiteY26" fmla="*/ 115533 h 1327024"/>
                <a:gd name="connsiteX27" fmla="*/ 1247604 w 1354868"/>
                <a:gd name="connsiteY27" fmla="*/ 134740 h 1327024"/>
                <a:gd name="connsiteX28" fmla="*/ 1266943 w 1354868"/>
                <a:gd name="connsiteY28" fmla="*/ 58526 h 1327024"/>
                <a:gd name="connsiteX29" fmla="*/ 1275907 w 1354868"/>
                <a:gd name="connsiteY29" fmla="*/ 61353 h 1327024"/>
                <a:gd name="connsiteX30" fmla="*/ 1260503 w 1354868"/>
                <a:gd name="connsiteY30" fmla="*/ 71459 h 1327024"/>
                <a:gd name="connsiteX31" fmla="*/ 1248680 w 1354868"/>
                <a:gd name="connsiteY31" fmla="*/ 45275 h 1327024"/>
                <a:gd name="connsiteX32" fmla="*/ 1266943 w 1354868"/>
                <a:gd name="connsiteY32" fmla="*/ 58526 h 1327024"/>
                <a:gd name="connsiteX33" fmla="*/ 1349293 w 1354868"/>
                <a:gd name="connsiteY33" fmla="*/ 73491 h 1327024"/>
                <a:gd name="connsiteX34" fmla="*/ 1352300 w 1354868"/>
                <a:gd name="connsiteY34" fmla="*/ 97676 h 1327024"/>
                <a:gd name="connsiteX35" fmla="*/ 1336060 w 1354868"/>
                <a:gd name="connsiteY35" fmla="*/ 107912 h 1327024"/>
                <a:gd name="connsiteX36" fmla="*/ 1318929 w 1354868"/>
                <a:gd name="connsiteY36" fmla="*/ 107235 h 1327024"/>
                <a:gd name="connsiteX37" fmla="*/ 1315737 w 1354868"/>
                <a:gd name="connsiteY37" fmla="*/ 92437 h 1327024"/>
                <a:gd name="connsiteX38" fmla="*/ 1337044 w 1354868"/>
                <a:gd name="connsiteY38" fmla="*/ 87346 h 1327024"/>
                <a:gd name="connsiteX39" fmla="*/ 1349293 w 1354868"/>
                <a:gd name="connsiteY39" fmla="*/ 73491 h 1327024"/>
                <a:gd name="connsiteX40" fmla="*/ 1273012 w 1354868"/>
                <a:gd name="connsiteY40" fmla="*/ 43107 h 1327024"/>
                <a:gd name="connsiteX41" fmla="*/ 1268112 w 1354868"/>
                <a:gd name="connsiteY41" fmla="*/ 49837 h 1327024"/>
                <a:gd name="connsiteX42" fmla="*/ 1248179 w 1354868"/>
                <a:gd name="connsiteY42" fmla="*/ 36849 h 1327024"/>
                <a:gd name="connsiteX43" fmla="*/ 1248959 w 1354868"/>
                <a:gd name="connsiteY43" fmla="*/ 25670 h 1327024"/>
                <a:gd name="connsiteX44" fmla="*/ 1259111 w 1354868"/>
                <a:gd name="connsiteY44" fmla="*/ 35961 h 1327024"/>
                <a:gd name="connsiteX45" fmla="*/ 1260837 w 1354868"/>
                <a:gd name="connsiteY45" fmla="*/ 25481 h 1327024"/>
                <a:gd name="connsiteX46" fmla="*/ 1273012 w 1354868"/>
                <a:gd name="connsiteY46" fmla="*/ 43107 h 1327024"/>
                <a:gd name="connsiteX47" fmla="*/ 1112098 w 1354868"/>
                <a:gd name="connsiteY47" fmla="*/ 4922 h 1327024"/>
                <a:gd name="connsiteX48" fmla="*/ 1153041 w 1354868"/>
                <a:gd name="connsiteY48" fmla="*/ 16268 h 1327024"/>
                <a:gd name="connsiteX49" fmla="*/ 1149032 w 1354868"/>
                <a:gd name="connsiteY49" fmla="*/ 33912 h 1327024"/>
                <a:gd name="connsiteX50" fmla="*/ 1145580 w 1354868"/>
                <a:gd name="connsiteY50" fmla="*/ 17456 h 1327024"/>
                <a:gd name="connsiteX51" fmla="*/ 1112915 w 1354868"/>
                <a:gd name="connsiteY51" fmla="*/ 26052 h 1327024"/>
                <a:gd name="connsiteX52" fmla="*/ 1112098 w 1354868"/>
                <a:gd name="connsiteY52" fmla="*/ 4922 h 1327024"/>
                <a:gd name="connsiteX53" fmla="*/ 1299386 w 1354868"/>
                <a:gd name="connsiteY53" fmla="*/ 80581 h 1327024"/>
                <a:gd name="connsiteX54" fmla="*/ 1290904 w 1354868"/>
                <a:gd name="connsiteY54" fmla="*/ 70024 h 1327024"/>
                <a:gd name="connsiteX55" fmla="*/ 1312860 w 1354868"/>
                <a:gd name="connsiteY55" fmla="*/ 69081 h 1327024"/>
                <a:gd name="connsiteX56" fmla="*/ 1304100 w 1354868"/>
                <a:gd name="connsiteY56" fmla="*/ 78129 h 1327024"/>
                <a:gd name="connsiteX57" fmla="*/ 1311283 w 1354868"/>
                <a:gd name="connsiteY57" fmla="*/ 96546 h 1327024"/>
                <a:gd name="connsiteX58" fmla="*/ 1304564 w 1354868"/>
                <a:gd name="connsiteY58" fmla="*/ 107819 h 1327024"/>
                <a:gd name="connsiteX59" fmla="*/ 1285967 w 1354868"/>
                <a:gd name="connsiteY59" fmla="*/ 119282 h 1327024"/>
                <a:gd name="connsiteX60" fmla="*/ 1267871 w 1354868"/>
                <a:gd name="connsiteY60" fmla="*/ 101752 h 1327024"/>
                <a:gd name="connsiteX61" fmla="*/ 1278506 w 1354868"/>
                <a:gd name="connsiteY61" fmla="*/ 83051 h 1327024"/>
                <a:gd name="connsiteX62" fmla="*/ 1297808 w 1354868"/>
                <a:gd name="connsiteY62" fmla="*/ 86782 h 1327024"/>
                <a:gd name="connsiteX63" fmla="*/ 1299386 w 1354868"/>
                <a:gd name="connsiteY63" fmla="*/ 80581 h 1327024"/>
                <a:gd name="connsiteX64" fmla="*/ 1234853 w 1354868"/>
                <a:gd name="connsiteY64" fmla="*/ 65332 h 1327024"/>
                <a:gd name="connsiteX65" fmla="*/ 1222010 w 1354868"/>
                <a:gd name="connsiteY65" fmla="*/ 64824 h 1327024"/>
                <a:gd name="connsiteX66" fmla="*/ 1215755 w 1354868"/>
                <a:gd name="connsiteY66" fmla="*/ 52214 h 1327024"/>
                <a:gd name="connsiteX67" fmla="*/ 1235670 w 1354868"/>
                <a:gd name="connsiteY67" fmla="*/ 49046 h 1327024"/>
                <a:gd name="connsiteX68" fmla="*/ 1233424 w 1354868"/>
                <a:gd name="connsiteY68" fmla="*/ 34946 h 1327024"/>
                <a:gd name="connsiteX69" fmla="*/ 1245748 w 1354868"/>
                <a:gd name="connsiteY69" fmla="*/ 48291 h 1327024"/>
                <a:gd name="connsiteX70" fmla="*/ 1259241 w 1354868"/>
                <a:gd name="connsiteY70" fmla="*/ 74211 h 1327024"/>
                <a:gd name="connsiteX71" fmla="*/ 1235447 w 1354868"/>
                <a:gd name="connsiteY71" fmla="*/ 79698 h 1327024"/>
                <a:gd name="connsiteX72" fmla="*/ 1234853 w 1354868"/>
                <a:gd name="connsiteY72" fmla="*/ 65332 h 1327024"/>
                <a:gd name="connsiteX73" fmla="*/ 319975 w 1354868"/>
                <a:gd name="connsiteY73" fmla="*/ 1324931 h 1327024"/>
                <a:gd name="connsiteX74" fmla="*/ 307078 w 1354868"/>
                <a:gd name="connsiteY74" fmla="*/ 1313368 h 1327024"/>
                <a:gd name="connsiteX75" fmla="*/ 311002 w 1354868"/>
                <a:gd name="connsiteY75" fmla="*/ 1305944 h 1327024"/>
                <a:gd name="connsiteX76" fmla="*/ 287525 w 1354868"/>
                <a:gd name="connsiteY76" fmla="*/ 1286716 h 1327024"/>
                <a:gd name="connsiteX77" fmla="*/ 274476 w 1354868"/>
                <a:gd name="connsiteY77" fmla="*/ 1295588 h 1327024"/>
                <a:gd name="connsiteX78" fmla="*/ 265276 w 1354868"/>
                <a:gd name="connsiteY78" fmla="*/ 1269845 h 1327024"/>
                <a:gd name="connsiteX79" fmla="*/ 254491 w 1354868"/>
                <a:gd name="connsiteY79" fmla="*/ 1271571 h 1327024"/>
                <a:gd name="connsiteX80" fmla="*/ 241499 w 1354868"/>
                <a:gd name="connsiteY80" fmla="*/ 1254070 h 1327024"/>
                <a:gd name="connsiteX81" fmla="*/ 245157 w 1354868"/>
                <a:gd name="connsiteY81" fmla="*/ 1244975 h 1327024"/>
                <a:gd name="connsiteX82" fmla="*/ 233487 w 1354868"/>
                <a:gd name="connsiteY82" fmla="*/ 1235788 h 1327024"/>
                <a:gd name="connsiteX83" fmla="*/ 217211 w 1354868"/>
                <a:gd name="connsiteY83" fmla="*/ 1251137 h 1327024"/>
                <a:gd name="connsiteX84" fmla="*/ 188004 w 1354868"/>
                <a:gd name="connsiteY84" fmla="*/ 1222611 h 1327024"/>
                <a:gd name="connsiteX85" fmla="*/ 191098 w 1354868"/>
                <a:gd name="connsiteY85" fmla="*/ 1215317 h 1327024"/>
                <a:gd name="connsiteX86" fmla="*/ 176634 w 1354868"/>
                <a:gd name="connsiteY86" fmla="*/ 1209953 h 1327024"/>
                <a:gd name="connsiteX87" fmla="*/ 155986 w 1354868"/>
                <a:gd name="connsiteY87" fmla="*/ 1219196 h 1327024"/>
                <a:gd name="connsiteX88" fmla="*/ 140732 w 1354868"/>
                <a:gd name="connsiteY88" fmla="*/ 1208877 h 1327024"/>
                <a:gd name="connsiteX89" fmla="*/ 133813 w 1354868"/>
                <a:gd name="connsiteY89" fmla="*/ 1192117 h 1327024"/>
                <a:gd name="connsiteX90" fmla="*/ 120971 w 1354868"/>
                <a:gd name="connsiteY90" fmla="*/ 1191597 h 1327024"/>
                <a:gd name="connsiteX91" fmla="*/ 108848 w 1354868"/>
                <a:gd name="connsiteY91" fmla="*/ 1168862 h 1327024"/>
                <a:gd name="connsiteX92" fmla="*/ 93989 w 1354868"/>
                <a:gd name="connsiteY92" fmla="*/ 1161029 h 1327024"/>
                <a:gd name="connsiteX93" fmla="*/ 82994 w 1354868"/>
                <a:gd name="connsiteY93" fmla="*/ 1172128 h 1327024"/>
                <a:gd name="connsiteX94" fmla="*/ 70871 w 1354868"/>
                <a:gd name="connsiteY94" fmla="*/ 1149392 h 1327024"/>
                <a:gd name="connsiteX95" fmla="*/ 39627 w 1354868"/>
                <a:gd name="connsiteY95" fmla="*/ 1134804 h 1327024"/>
                <a:gd name="connsiteX96" fmla="*/ 35987 w 1354868"/>
                <a:gd name="connsiteY96" fmla="*/ 1122629 h 1327024"/>
                <a:gd name="connsiteX97" fmla="*/ 24146 w 1354868"/>
                <a:gd name="connsiteY97" fmla="*/ 1117711 h 1327024"/>
                <a:gd name="connsiteX98" fmla="*/ 18057 w 1354868"/>
                <a:gd name="connsiteY98" fmla="*/ 1100821 h 1327024"/>
                <a:gd name="connsiteX99" fmla="*/ 4952 w 1354868"/>
                <a:gd name="connsiteY99" fmla="*/ 1098650 h 1327024"/>
                <a:gd name="connsiteX100" fmla="*/ 2784 w 1354868"/>
                <a:gd name="connsiteY100" fmla="*/ 1074337 h 1327024"/>
                <a:gd name="connsiteX101" fmla="*/ 4916 w 1354868"/>
                <a:gd name="connsiteY101" fmla="*/ 1066337 h 1327024"/>
                <a:gd name="connsiteX102" fmla="*/ 2860 w 1354868"/>
                <a:gd name="connsiteY102" fmla="*/ 1064129 h 1327024"/>
                <a:gd name="connsiteX103" fmla="*/ 4256 w 1354868"/>
                <a:gd name="connsiteY103" fmla="*/ 1062199 h 1327024"/>
                <a:gd name="connsiteX104" fmla="*/ 5481 w 1354868"/>
                <a:gd name="connsiteY104" fmla="*/ 1064556 h 1327024"/>
                <a:gd name="connsiteX105" fmla="*/ 7348 w 1354868"/>
                <a:gd name="connsiteY105" fmla="*/ 1054905 h 1327024"/>
                <a:gd name="connsiteX106" fmla="*/ 21078 w 1354868"/>
                <a:gd name="connsiteY106" fmla="*/ 1028902 h 1327024"/>
                <a:gd name="connsiteX107" fmla="*/ 49269 w 1354868"/>
                <a:gd name="connsiteY107" fmla="*/ 1008264 h 1327024"/>
                <a:gd name="connsiteX108" fmla="*/ 59586 w 1354868"/>
                <a:gd name="connsiteY108" fmla="*/ 976861 h 1327024"/>
                <a:gd name="connsiteX109" fmla="*/ 72975 w 1354868"/>
                <a:gd name="connsiteY109" fmla="*/ 959415 h 1327024"/>
                <a:gd name="connsiteX110" fmla="*/ 61869 w 1354868"/>
                <a:gd name="connsiteY110" fmla="*/ 948427 h 1327024"/>
                <a:gd name="connsiteX111" fmla="*/ 55421 w 1354868"/>
                <a:gd name="connsiteY111" fmla="*/ 923947 h 1327024"/>
                <a:gd name="connsiteX112" fmla="*/ 60249 w 1354868"/>
                <a:gd name="connsiteY112" fmla="*/ 906167 h 1327024"/>
                <a:gd name="connsiteX113" fmla="*/ 80578 w 1354868"/>
                <a:gd name="connsiteY113" fmla="*/ 884229 h 1327024"/>
                <a:gd name="connsiteX114" fmla="*/ 80429 w 1354868"/>
                <a:gd name="connsiteY114" fmla="*/ 867247 h 1327024"/>
                <a:gd name="connsiteX115" fmla="*/ 96250 w 1354868"/>
                <a:gd name="connsiteY115" fmla="*/ 875784 h 1327024"/>
                <a:gd name="connsiteX116" fmla="*/ 117764 w 1354868"/>
                <a:gd name="connsiteY116" fmla="*/ 861308 h 1327024"/>
                <a:gd name="connsiteX117" fmla="*/ 129021 w 1354868"/>
                <a:gd name="connsiteY117" fmla="*/ 889277 h 1327024"/>
                <a:gd name="connsiteX118" fmla="*/ 155194 w 1354868"/>
                <a:gd name="connsiteY118" fmla="*/ 898724 h 1327024"/>
                <a:gd name="connsiteX119" fmla="*/ 174127 w 1354868"/>
                <a:gd name="connsiteY119" fmla="*/ 878698 h 1327024"/>
                <a:gd name="connsiteX120" fmla="*/ 171883 w 1354868"/>
                <a:gd name="connsiteY120" fmla="*/ 864593 h 1327024"/>
                <a:gd name="connsiteX121" fmla="*/ 155535 w 1354868"/>
                <a:gd name="connsiteY121" fmla="*/ 852733 h 1327024"/>
                <a:gd name="connsiteX122" fmla="*/ 167059 w 1354868"/>
                <a:gd name="connsiteY122" fmla="*/ 807540 h 1327024"/>
                <a:gd name="connsiteX123" fmla="*/ 178334 w 1354868"/>
                <a:gd name="connsiteY123" fmla="*/ 814240 h 1327024"/>
                <a:gd name="connsiteX124" fmla="*/ 194270 w 1354868"/>
                <a:gd name="connsiteY124" fmla="*/ 807466 h 1327024"/>
                <a:gd name="connsiteX125" fmla="*/ 203338 w 1354868"/>
                <a:gd name="connsiteY125" fmla="*/ 832373 h 1327024"/>
                <a:gd name="connsiteX126" fmla="*/ 203488 w 1354868"/>
                <a:gd name="connsiteY126" fmla="*/ 849355 h 1327024"/>
                <a:gd name="connsiteX127" fmla="*/ 218891 w 1354868"/>
                <a:gd name="connsiteY127" fmla="*/ 876675 h 1327024"/>
                <a:gd name="connsiteX128" fmla="*/ 226302 w 1354868"/>
                <a:gd name="connsiteY128" fmla="*/ 901861 h 1327024"/>
                <a:gd name="connsiteX129" fmla="*/ 240406 w 1354868"/>
                <a:gd name="connsiteY129" fmla="*/ 899615 h 1327024"/>
                <a:gd name="connsiteX130" fmla="*/ 257622 w 1354868"/>
                <a:gd name="connsiteY130" fmla="*/ 906241 h 1327024"/>
                <a:gd name="connsiteX131" fmla="*/ 266655 w 1354868"/>
                <a:gd name="connsiteY131" fmla="*/ 898835 h 1327024"/>
                <a:gd name="connsiteX132" fmla="*/ 273464 w 1354868"/>
                <a:gd name="connsiteY132" fmla="*/ 856092 h 1327024"/>
                <a:gd name="connsiteX133" fmla="*/ 286382 w 1354868"/>
                <a:gd name="connsiteY133" fmla="*/ 846385 h 1327024"/>
                <a:gd name="connsiteX134" fmla="*/ 304729 w 1354868"/>
                <a:gd name="connsiteY134" fmla="*/ 849411 h 1327024"/>
                <a:gd name="connsiteX135" fmla="*/ 330449 w 1354868"/>
                <a:gd name="connsiteY135" fmla="*/ 845328 h 1327024"/>
                <a:gd name="connsiteX136" fmla="*/ 347665 w 1354868"/>
                <a:gd name="connsiteY136" fmla="*/ 851935 h 1327024"/>
                <a:gd name="connsiteX137" fmla="*/ 371857 w 1354868"/>
                <a:gd name="connsiteY137" fmla="*/ 848947 h 1327024"/>
                <a:gd name="connsiteX138" fmla="*/ 412984 w 1354868"/>
                <a:gd name="connsiteY138" fmla="*/ 834748 h 1327024"/>
                <a:gd name="connsiteX139" fmla="*/ 395223 w 1354868"/>
                <a:gd name="connsiteY139" fmla="*/ 846070 h 1327024"/>
                <a:gd name="connsiteX140" fmla="*/ 393619 w 1354868"/>
                <a:gd name="connsiteY140" fmla="*/ 857391 h 1327024"/>
                <a:gd name="connsiteX141" fmla="*/ 414115 w 1354868"/>
                <a:gd name="connsiteY141" fmla="*/ 868583 h 1327024"/>
                <a:gd name="connsiteX142" fmla="*/ 418393 w 1354868"/>
                <a:gd name="connsiteY142" fmla="*/ 906167 h 1327024"/>
                <a:gd name="connsiteX143" fmla="*/ 437723 w 1354868"/>
                <a:gd name="connsiteY143" fmla="*/ 888646 h 1327024"/>
                <a:gd name="connsiteX144" fmla="*/ 461930 w 1354868"/>
                <a:gd name="connsiteY144" fmla="*/ 939221 h 1327024"/>
                <a:gd name="connsiteX145" fmla="*/ 476884 w 1354868"/>
                <a:gd name="connsiteY145" fmla="*/ 952993 h 1327024"/>
                <a:gd name="connsiteX146" fmla="*/ 488968 w 1354868"/>
                <a:gd name="connsiteY146" fmla="*/ 980833 h 1327024"/>
                <a:gd name="connsiteX147" fmla="*/ 503393 w 1354868"/>
                <a:gd name="connsiteY147" fmla="*/ 991300 h 1327024"/>
                <a:gd name="connsiteX148" fmla="*/ 530416 w 1354868"/>
                <a:gd name="connsiteY148" fmla="*/ 979348 h 1327024"/>
                <a:gd name="connsiteX149" fmla="*/ 553364 w 1354868"/>
                <a:gd name="connsiteY149" fmla="*/ 995254 h 1327024"/>
                <a:gd name="connsiteX150" fmla="*/ 517871 w 1354868"/>
                <a:gd name="connsiteY150" fmla="*/ 1050228 h 1327024"/>
                <a:gd name="connsiteX151" fmla="*/ 535483 w 1354868"/>
                <a:gd name="connsiteY151" fmla="*/ 1059322 h 1327024"/>
                <a:gd name="connsiteX152" fmla="*/ 534256 w 1354868"/>
                <a:gd name="connsiteY152" fmla="*/ 1094400 h 1327024"/>
                <a:gd name="connsiteX153" fmla="*/ 542307 w 1354868"/>
                <a:gd name="connsiteY153" fmla="*/ 1107559 h 1327024"/>
                <a:gd name="connsiteX154" fmla="*/ 526032 w 1354868"/>
                <a:gd name="connsiteY154" fmla="*/ 1122908 h 1327024"/>
                <a:gd name="connsiteX155" fmla="*/ 509724 w 1354868"/>
                <a:gd name="connsiteY155" fmla="*/ 1105944 h 1327024"/>
                <a:gd name="connsiteX156" fmla="*/ 498768 w 1354868"/>
                <a:gd name="connsiteY156" fmla="*/ 1111939 h 1327024"/>
                <a:gd name="connsiteX157" fmla="*/ 485041 w 1354868"/>
                <a:gd name="connsiteY157" fmla="*/ 1100525 h 1327024"/>
                <a:gd name="connsiteX158" fmla="*/ 458057 w 1354868"/>
                <a:gd name="connsiteY158" fmla="*/ 1107355 h 1327024"/>
                <a:gd name="connsiteX159" fmla="*/ 455115 w 1354868"/>
                <a:gd name="connsiteY159" fmla="*/ 1094233 h 1327024"/>
                <a:gd name="connsiteX160" fmla="*/ 385668 w 1354868"/>
                <a:gd name="connsiteY160" fmla="*/ 1053401 h 1327024"/>
                <a:gd name="connsiteX161" fmla="*/ 370074 w 1354868"/>
                <a:gd name="connsiteY161" fmla="*/ 1051620 h 1327024"/>
                <a:gd name="connsiteX162" fmla="*/ 372940 w 1354868"/>
                <a:gd name="connsiteY162" fmla="*/ 1074986 h 1327024"/>
                <a:gd name="connsiteX163" fmla="*/ 385666 w 1354868"/>
                <a:gd name="connsiteY163" fmla="*/ 1090818 h 1327024"/>
                <a:gd name="connsiteX164" fmla="*/ 390794 w 1354868"/>
                <a:gd name="connsiteY164" fmla="*/ 1107002 h 1327024"/>
                <a:gd name="connsiteX165" fmla="*/ 387758 w 1354868"/>
                <a:gd name="connsiteY165" fmla="*/ 1125358 h 1327024"/>
                <a:gd name="connsiteX166" fmla="*/ 377329 w 1354868"/>
                <a:gd name="connsiteY166" fmla="*/ 1134656 h 1327024"/>
                <a:gd name="connsiteX167" fmla="*/ 387361 w 1354868"/>
                <a:gd name="connsiteY167" fmla="*/ 1160287 h 1327024"/>
                <a:gd name="connsiteX168" fmla="*/ 374311 w 1354868"/>
                <a:gd name="connsiteY168" fmla="*/ 1169159 h 1327024"/>
                <a:gd name="connsiteX169" fmla="*/ 360074 w 1354868"/>
                <a:gd name="connsiteY169" fmla="*/ 1170569 h 1327024"/>
                <a:gd name="connsiteX170" fmla="*/ 355811 w 1354868"/>
                <a:gd name="connsiteY170" fmla="*/ 1186568 h 1327024"/>
                <a:gd name="connsiteX171" fmla="*/ 344213 w 1354868"/>
                <a:gd name="connsiteY171" fmla="*/ 1204571 h 1327024"/>
                <a:gd name="connsiteX172" fmla="*/ 343006 w 1354868"/>
                <a:gd name="connsiteY172" fmla="*/ 1218361 h 1327024"/>
                <a:gd name="connsiteX173" fmla="*/ 359035 w 1354868"/>
                <a:gd name="connsiteY173" fmla="*/ 1217507 h 1327024"/>
                <a:gd name="connsiteX174" fmla="*/ 376080 w 1354868"/>
                <a:gd name="connsiteY174" fmla="*/ 1228402 h 1327024"/>
                <a:gd name="connsiteX175" fmla="*/ 395050 w 1354868"/>
                <a:gd name="connsiteY175" fmla="*/ 1203272 h 1327024"/>
                <a:gd name="connsiteX176" fmla="*/ 415189 w 1354868"/>
                <a:gd name="connsiteY176" fmla="*/ 1206872 h 1327024"/>
                <a:gd name="connsiteX177" fmla="*/ 436043 w 1354868"/>
                <a:gd name="connsiteY177" fmla="*/ 1225673 h 1327024"/>
                <a:gd name="connsiteX178" fmla="*/ 403457 w 1354868"/>
                <a:gd name="connsiteY178" fmla="*/ 1261475 h 1327024"/>
                <a:gd name="connsiteX179" fmla="*/ 396689 w 1354868"/>
                <a:gd name="connsiteY179" fmla="*/ 1261698 h 1327024"/>
                <a:gd name="connsiteX180" fmla="*/ 374833 w 1354868"/>
                <a:gd name="connsiteY180" fmla="*/ 1284730 h 1327024"/>
                <a:gd name="connsiteX181" fmla="*/ 383977 w 1354868"/>
                <a:gd name="connsiteY181" fmla="*/ 1299430 h 1327024"/>
                <a:gd name="connsiteX182" fmla="*/ 362253 w 1354868"/>
                <a:gd name="connsiteY182" fmla="*/ 1323298 h 1327024"/>
                <a:gd name="connsiteX183" fmla="*/ 331102 w 1354868"/>
                <a:gd name="connsiteY183" fmla="*/ 1314649 h 1327024"/>
                <a:gd name="connsiteX184" fmla="*/ 319975 w 1354868"/>
                <a:gd name="connsiteY184" fmla="*/ 1324931 h 1327024"/>
                <a:gd name="connsiteX185" fmla="*/ 1282144 w 1354868"/>
                <a:gd name="connsiteY185" fmla="*/ 20390 h 1327024"/>
                <a:gd name="connsiteX186" fmla="*/ 1288268 w 1354868"/>
                <a:gd name="connsiteY186" fmla="*/ 16017 h 1327024"/>
                <a:gd name="connsiteX187" fmla="*/ 1287953 w 1354868"/>
                <a:gd name="connsiteY187" fmla="*/ 19467 h 1327024"/>
                <a:gd name="connsiteX188" fmla="*/ 1282144 w 1354868"/>
                <a:gd name="connsiteY188" fmla="*/ 20390 h 1327024"/>
                <a:gd name="connsiteX189" fmla="*/ 1282144 w 1354868"/>
                <a:gd name="connsiteY189" fmla="*/ 20390 h 1327024"/>
                <a:gd name="connsiteX190" fmla="*/ 1286449 w 1354868"/>
                <a:gd name="connsiteY190" fmla="*/ 36715 h 1327024"/>
                <a:gd name="connsiteX191" fmla="*/ 1304156 w 1354868"/>
                <a:gd name="connsiteY191" fmla="*/ 51758 h 1327024"/>
                <a:gd name="connsiteX192" fmla="*/ 1287767 w 1354868"/>
                <a:gd name="connsiteY192" fmla="*/ 45009 h 1327024"/>
                <a:gd name="connsiteX193" fmla="*/ 1267222 w 1354868"/>
                <a:gd name="connsiteY193" fmla="*/ 22765 h 1327024"/>
                <a:gd name="connsiteX194" fmla="*/ 1282144 w 1354868"/>
                <a:gd name="connsiteY194" fmla="*/ 20390 h 1327024"/>
                <a:gd name="connsiteX195" fmla="*/ 976296 w 1354868"/>
                <a:gd name="connsiteY195" fmla="*/ 584395 h 1327024"/>
                <a:gd name="connsiteX196" fmla="*/ 973716 w 1354868"/>
                <a:gd name="connsiteY196" fmla="*/ 578865 h 1327024"/>
                <a:gd name="connsiteX197" fmla="*/ 951648 w 1354868"/>
                <a:gd name="connsiteY197" fmla="*/ 573872 h 1327024"/>
                <a:gd name="connsiteX198" fmla="*/ 970245 w 1354868"/>
                <a:gd name="connsiteY198" fmla="*/ 562402 h 1327024"/>
                <a:gd name="connsiteX199" fmla="*/ 961021 w 1354868"/>
                <a:gd name="connsiteY199" fmla="*/ 557911 h 1327024"/>
                <a:gd name="connsiteX200" fmla="*/ 956864 w 1354868"/>
                <a:gd name="connsiteY200" fmla="*/ 542413 h 1327024"/>
                <a:gd name="connsiteX201" fmla="*/ 988527 w 1354868"/>
                <a:gd name="connsiteY201" fmla="*/ 538237 h 1327024"/>
                <a:gd name="connsiteX202" fmla="*/ 1002874 w 1354868"/>
                <a:gd name="connsiteY202" fmla="*/ 521496 h 1327024"/>
                <a:gd name="connsiteX203" fmla="*/ 1016552 w 1354868"/>
                <a:gd name="connsiteY203" fmla="*/ 521868 h 1327024"/>
                <a:gd name="connsiteX204" fmla="*/ 1014956 w 1354868"/>
                <a:gd name="connsiteY204" fmla="*/ 511920 h 1327024"/>
                <a:gd name="connsiteX205" fmla="*/ 1033701 w 1354868"/>
                <a:gd name="connsiteY205" fmla="*/ 517432 h 1327024"/>
                <a:gd name="connsiteX206" fmla="*/ 1025554 w 1354868"/>
                <a:gd name="connsiteY206" fmla="*/ 498326 h 1327024"/>
                <a:gd name="connsiteX207" fmla="*/ 1043909 w 1354868"/>
                <a:gd name="connsiteY207" fmla="*/ 501361 h 1327024"/>
                <a:gd name="connsiteX208" fmla="*/ 1038341 w 1354868"/>
                <a:gd name="connsiteY208" fmla="*/ 487788 h 1327024"/>
                <a:gd name="connsiteX209" fmla="*/ 1056159 w 1354868"/>
                <a:gd name="connsiteY209" fmla="*/ 487504 h 1327024"/>
                <a:gd name="connsiteX210" fmla="*/ 1043408 w 1354868"/>
                <a:gd name="connsiteY210" fmla="*/ 476779 h 1327024"/>
                <a:gd name="connsiteX211" fmla="*/ 1047491 w 1354868"/>
                <a:gd name="connsiteY211" fmla="*/ 465073 h 1327024"/>
                <a:gd name="connsiteX212" fmla="*/ 1056233 w 1354868"/>
                <a:gd name="connsiteY212" fmla="*/ 477287 h 1327024"/>
                <a:gd name="connsiteX213" fmla="*/ 1077930 w 1354868"/>
                <a:gd name="connsiteY213" fmla="*/ 458531 h 1327024"/>
                <a:gd name="connsiteX214" fmla="*/ 1088063 w 1354868"/>
                <a:gd name="connsiteY214" fmla="*/ 468822 h 1327024"/>
                <a:gd name="connsiteX215" fmla="*/ 1090810 w 1354868"/>
                <a:gd name="connsiteY215" fmla="*/ 453930 h 1327024"/>
                <a:gd name="connsiteX216" fmla="*/ 1104470 w 1354868"/>
                <a:gd name="connsiteY216" fmla="*/ 454306 h 1327024"/>
                <a:gd name="connsiteX217" fmla="*/ 1134723 w 1354868"/>
                <a:gd name="connsiteY217" fmla="*/ 435888 h 1327024"/>
                <a:gd name="connsiteX218" fmla="*/ 1154860 w 1354868"/>
                <a:gd name="connsiteY218" fmla="*/ 439486 h 1327024"/>
                <a:gd name="connsiteX219" fmla="*/ 1156865 w 1354868"/>
                <a:gd name="connsiteY219" fmla="*/ 430665 h 1327024"/>
                <a:gd name="connsiteX220" fmla="*/ 1171713 w 1354868"/>
                <a:gd name="connsiteY220" fmla="*/ 438506 h 1327024"/>
                <a:gd name="connsiteX221" fmla="*/ 1176241 w 1354868"/>
                <a:gd name="connsiteY221" fmla="*/ 424180 h 1327024"/>
                <a:gd name="connsiteX222" fmla="*/ 1187433 w 1354868"/>
                <a:gd name="connsiteY222" fmla="*/ 424952 h 1327024"/>
                <a:gd name="connsiteX223" fmla="*/ 1207756 w 1354868"/>
                <a:gd name="connsiteY223" fmla="*/ 440427 h 1327024"/>
                <a:gd name="connsiteX224" fmla="*/ 1264345 w 1354868"/>
                <a:gd name="connsiteY224" fmla="*/ 427172 h 1327024"/>
                <a:gd name="connsiteX225" fmla="*/ 1294894 w 1354868"/>
                <a:gd name="connsiteY225" fmla="*/ 405305 h 1327024"/>
                <a:gd name="connsiteX226" fmla="*/ 1307348 w 1354868"/>
                <a:gd name="connsiteY226" fmla="*/ 403325 h 1327024"/>
                <a:gd name="connsiteX227" fmla="*/ 1322066 w 1354868"/>
                <a:gd name="connsiteY227" fmla="*/ 410336 h 1327024"/>
                <a:gd name="connsiteX228" fmla="*/ 1327058 w 1354868"/>
                <a:gd name="connsiteY228" fmla="*/ 425700 h 1327024"/>
                <a:gd name="connsiteX229" fmla="*/ 1323755 w 1354868"/>
                <a:gd name="connsiteY229" fmla="*/ 442384 h 1327024"/>
                <a:gd name="connsiteX230" fmla="*/ 1309018 w 1354868"/>
                <a:gd name="connsiteY230" fmla="*/ 456634 h 1327024"/>
                <a:gd name="connsiteX231" fmla="*/ 1282255 w 1354868"/>
                <a:gd name="connsiteY231" fmla="*/ 470245 h 1327024"/>
                <a:gd name="connsiteX232" fmla="*/ 1208517 w 1354868"/>
                <a:gd name="connsiteY232" fmla="*/ 487931 h 1327024"/>
                <a:gd name="connsiteX233" fmla="*/ 1194838 w 1354868"/>
                <a:gd name="connsiteY233" fmla="*/ 487554 h 1327024"/>
                <a:gd name="connsiteX234" fmla="*/ 1156939 w 1354868"/>
                <a:gd name="connsiteY234" fmla="*/ 495284 h 1327024"/>
                <a:gd name="connsiteX235" fmla="*/ 1121230 w 1354868"/>
                <a:gd name="connsiteY235" fmla="*/ 522220 h 1327024"/>
                <a:gd name="connsiteX236" fmla="*/ 1108145 w 1354868"/>
                <a:gd name="connsiteY236" fmla="*/ 536214 h 1327024"/>
                <a:gd name="connsiteX237" fmla="*/ 1097139 w 1354868"/>
                <a:gd name="connsiteY237" fmla="*/ 531166 h 1327024"/>
                <a:gd name="connsiteX238" fmla="*/ 1089028 w 1354868"/>
                <a:gd name="connsiteY238" fmla="*/ 544362 h 1327024"/>
                <a:gd name="connsiteX239" fmla="*/ 1074255 w 1354868"/>
                <a:gd name="connsiteY239" fmla="*/ 526303 h 1327024"/>
                <a:gd name="connsiteX240" fmla="*/ 1074719 w 1354868"/>
                <a:gd name="connsiteY240" fmla="*/ 555981 h 1327024"/>
                <a:gd name="connsiteX241" fmla="*/ 1063527 w 1354868"/>
                <a:gd name="connsiteY241" fmla="*/ 555220 h 1327024"/>
                <a:gd name="connsiteX242" fmla="*/ 1039288 w 1354868"/>
                <a:gd name="connsiteY242" fmla="*/ 584581 h 1327024"/>
                <a:gd name="connsiteX243" fmla="*/ 1004024 w 1354868"/>
                <a:gd name="connsiteY243" fmla="*/ 608913 h 1327024"/>
                <a:gd name="connsiteX244" fmla="*/ 986708 w 1354868"/>
                <a:gd name="connsiteY244" fmla="*/ 596348 h 1327024"/>
                <a:gd name="connsiteX245" fmla="*/ 996155 w 1354868"/>
                <a:gd name="connsiteY245" fmla="*/ 607614 h 1327024"/>
                <a:gd name="connsiteX246" fmla="*/ 990272 w 1354868"/>
                <a:gd name="connsiteY246" fmla="*/ 618750 h 1327024"/>
                <a:gd name="connsiteX247" fmla="*/ 971489 w 1354868"/>
                <a:gd name="connsiteY247" fmla="*/ 618341 h 1327024"/>
                <a:gd name="connsiteX248" fmla="*/ 983590 w 1354868"/>
                <a:gd name="connsiteY248" fmla="*/ 624912 h 1327024"/>
                <a:gd name="connsiteX249" fmla="*/ 975219 w 1354868"/>
                <a:gd name="connsiteY249" fmla="*/ 636456 h 1327024"/>
                <a:gd name="connsiteX250" fmla="*/ 966960 w 1354868"/>
                <a:gd name="connsiteY250" fmla="*/ 632651 h 1327024"/>
                <a:gd name="connsiteX251" fmla="*/ 942851 w 1354868"/>
                <a:gd name="connsiteY251" fmla="*/ 662866 h 1327024"/>
                <a:gd name="connsiteX252" fmla="*/ 943463 w 1354868"/>
                <a:gd name="connsiteY252" fmla="*/ 672109 h 1327024"/>
                <a:gd name="connsiteX253" fmla="*/ 927187 w 1354868"/>
                <a:gd name="connsiteY253" fmla="*/ 687458 h 1327024"/>
                <a:gd name="connsiteX254" fmla="*/ 932142 w 1354868"/>
                <a:gd name="connsiteY254" fmla="*/ 691783 h 1327024"/>
                <a:gd name="connsiteX255" fmla="*/ 926444 w 1354868"/>
                <a:gd name="connsiteY255" fmla="*/ 714797 h 1327024"/>
                <a:gd name="connsiteX256" fmla="*/ 925108 w 1354868"/>
                <a:gd name="connsiteY256" fmla="*/ 743917 h 1327024"/>
                <a:gd name="connsiteX257" fmla="*/ 934629 w 1354868"/>
                <a:gd name="connsiteY257" fmla="*/ 782373 h 1327024"/>
                <a:gd name="connsiteX258" fmla="*/ 944744 w 1354868"/>
                <a:gd name="connsiteY258" fmla="*/ 797777 h 1327024"/>
                <a:gd name="connsiteX259" fmla="*/ 936411 w 1354868"/>
                <a:gd name="connsiteY259" fmla="*/ 804199 h 1327024"/>
                <a:gd name="connsiteX260" fmla="*/ 900312 w 1354868"/>
                <a:gd name="connsiteY260" fmla="*/ 791244 h 1327024"/>
                <a:gd name="connsiteX261" fmla="*/ 892164 w 1354868"/>
                <a:gd name="connsiteY261" fmla="*/ 772128 h 1327024"/>
                <a:gd name="connsiteX262" fmla="*/ 878560 w 1354868"/>
                <a:gd name="connsiteY262" fmla="*/ 782800 h 1327024"/>
                <a:gd name="connsiteX263" fmla="*/ 870579 w 1354868"/>
                <a:gd name="connsiteY263" fmla="*/ 759396 h 1327024"/>
                <a:gd name="connsiteX264" fmla="*/ 862988 w 1354868"/>
                <a:gd name="connsiteY264" fmla="*/ 759748 h 1327024"/>
                <a:gd name="connsiteX265" fmla="*/ 846154 w 1354868"/>
                <a:gd name="connsiteY265" fmla="*/ 739481 h 1327024"/>
                <a:gd name="connsiteX266" fmla="*/ 858849 w 1354868"/>
                <a:gd name="connsiteY266" fmla="*/ 739147 h 1327024"/>
                <a:gd name="connsiteX267" fmla="*/ 857828 w 1354868"/>
                <a:gd name="connsiteY267" fmla="*/ 727417 h 1327024"/>
                <a:gd name="connsiteX268" fmla="*/ 876574 w 1354868"/>
                <a:gd name="connsiteY268" fmla="*/ 732929 h 1327024"/>
                <a:gd name="connsiteX269" fmla="*/ 863062 w 1354868"/>
                <a:gd name="connsiteY269" fmla="*/ 712124 h 1327024"/>
                <a:gd name="connsiteX270" fmla="*/ 865921 w 1354868"/>
                <a:gd name="connsiteY270" fmla="*/ 698056 h 1327024"/>
                <a:gd name="connsiteX271" fmla="*/ 835111 w 1354868"/>
                <a:gd name="connsiteY271" fmla="*/ 680851 h 1327024"/>
                <a:gd name="connsiteX272" fmla="*/ 831604 w 1354868"/>
                <a:gd name="connsiteY272" fmla="*/ 669492 h 1327024"/>
                <a:gd name="connsiteX273" fmla="*/ 840883 w 1354868"/>
                <a:gd name="connsiteY273" fmla="*/ 647610 h 1327024"/>
                <a:gd name="connsiteX274" fmla="*/ 861577 w 1354868"/>
                <a:gd name="connsiteY274" fmla="*/ 633264 h 1327024"/>
                <a:gd name="connsiteX275" fmla="*/ 871025 w 1354868"/>
                <a:gd name="connsiteY275" fmla="*/ 644529 h 1327024"/>
                <a:gd name="connsiteX276" fmla="*/ 899588 w 1354868"/>
                <a:gd name="connsiteY276" fmla="*/ 610212 h 1327024"/>
                <a:gd name="connsiteX277" fmla="*/ 893853 w 1354868"/>
                <a:gd name="connsiteY277" fmla="*/ 600914 h 1327024"/>
                <a:gd name="connsiteX278" fmla="*/ 903727 w 1354868"/>
                <a:gd name="connsiteY278" fmla="*/ 593397 h 1327024"/>
                <a:gd name="connsiteX279" fmla="*/ 918445 w 1354868"/>
                <a:gd name="connsiteY279" fmla="*/ 600413 h 1327024"/>
                <a:gd name="connsiteX280" fmla="*/ 925368 w 1354868"/>
                <a:gd name="connsiteY280" fmla="*/ 579756 h 1327024"/>
                <a:gd name="connsiteX281" fmla="*/ 943501 w 1354868"/>
                <a:gd name="connsiteY281" fmla="*/ 576007 h 1327024"/>
                <a:gd name="connsiteX282" fmla="*/ 951314 w 1354868"/>
                <a:gd name="connsiteY282" fmla="*/ 582428 h 1327024"/>
                <a:gd name="connsiteX283" fmla="*/ 972064 w 1354868"/>
                <a:gd name="connsiteY283" fmla="*/ 579125 h 1327024"/>
                <a:gd name="connsiteX284" fmla="*/ 976296 w 1354868"/>
                <a:gd name="connsiteY284" fmla="*/ 584395 h 1327024"/>
                <a:gd name="connsiteX285" fmla="*/ 1114437 w 1354868"/>
                <a:gd name="connsiteY285" fmla="*/ 62379 h 1327024"/>
                <a:gd name="connsiteX286" fmla="*/ 1124738 w 1354868"/>
                <a:gd name="connsiteY286" fmla="*/ 52237 h 1327024"/>
                <a:gd name="connsiteX287" fmla="*/ 1111894 w 1354868"/>
                <a:gd name="connsiteY287" fmla="*/ 51728 h 1327024"/>
                <a:gd name="connsiteX288" fmla="*/ 1113231 w 1354868"/>
                <a:gd name="connsiteY288" fmla="*/ 38758 h 1327024"/>
                <a:gd name="connsiteX289" fmla="*/ 1131809 w 1354868"/>
                <a:gd name="connsiteY289" fmla="*/ 48560 h 1327024"/>
                <a:gd name="connsiteX290" fmla="*/ 1127206 w 1354868"/>
                <a:gd name="connsiteY290" fmla="*/ 35685 h 1327024"/>
                <a:gd name="connsiteX291" fmla="*/ 1144058 w 1354868"/>
                <a:gd name="connsiteY291" fmla="*/ 34705 h 1327024"/>
                <a:gd name="connsiteX292" fmla="*/ 1149664 w 1354868"/>
                <a:gd name="connsiteY292" fmla="*/ 43168 h 1327024"/>
                <a:gd name="connsiteX293" fmla="*/ 1159927 w 1354868"/>
                <a:gd name="connsiteY293" fmla="*/ 38135 h 1327024"/>
                <a:gd name="connsiteX294" fmla="*/ 1158646 w 1354868"/>
                <a:gd name="connsiteY294" fmla="*/ 24731 h 1327024"/>
                <a:gd name="connsiteX295" fmla="*/ 1183962 w 1354868"/>
                <a:gd name="connsiteY295" fmla="*/ 18152 h 1327024"/>
                <a:gd name="connsiteX296" fmla="*/ 1180046 w 1354868"/>
                <a:gd name="connsiteY296" fmla="*/ 25579 h 1327024"/>
                <a:gd name="connsiteX297" fmla="*/ 1184705 w 1354868"/>
                <a:gd name="connsiteY297" fmla="*/ 49501 h 1327024"/>
                <a:gd name="connsiteX298" fmla="*/ 1170989 w 1354868"/>
                <a:gd name="connsiteY298" fmla="*/ 54232 h 1327024"/>
                <a:gd name="connsiteX299" fmla="*/ 1140495 w 1354868"/>
                <a:gd name="connsiteY299" fmla="*/ 49729 h 1327024"/>
                <a:gd name="connsiteX300" fmla="*/ 1135280 w 1354868"/>
                <a:gd name="connsiteY300" fmla="*/ 65017 h 1327024"/>
                <a:gd name="connsiteX301" fmla="*/ 1149738 w 1354868"/>
                <a:gd name="connsiteY301" fmla="*/ 70369 h 1327024"/>
                <a:gd name="connsiteX302" fmla="*/ 1141107 w 1354868"/>
                <a:gd name="connsiteY302" fmla="*/ 80249 h 1327024"/>
                <a:gd name="connsiteX303" fmla="*/ 1154470 w 1354868"/>
                <a:gd name="connsiteY303" fmla="*/ 84074 h 1327024"/>
                <a:gd name="connsiteX304" fmla="*/ 1151872 w 1354868"/>
                <a:gd name="connsiteY304" fmla="*/ 99796 h 1327024"/>
                <a:gd name="connsiteX305" fmla="*/ 1137748 w 1354868"/>
                <a:gd name="connsiteY305" fmla="*/ 85885 h 1327024"/>
                <a:gd name="connsiteX306" fmla="*/ 1139381 w 1354868"/>
                <a:gd name="connsiteY306" fmla="*/ 69466 h 1327024"/>
                <a:gd name="connsiteX307" fmla="*/ 1128542 w 1354868"/>
                <a:gd name="connsiteY307" fmla="*/ 60136 h 1327024"/>
                <a:gd name="connsiteX308" fmla="*/ 1114437 w 1354868"/>
                <a:gd name="connsiteY308" fmla="*/ 62379 h 1327024"/>
                <a:gd name="connsiteX309" fmla="*/ 1288268 w 1354868"/>
                <a:gd name="connsiteY309" fmla="*/ 16017 h 1327024"/>
                <a:gd name="connsiteX310" fmla="*/ 1288305 w 1354868"/>
                <a:gd name="connsiteY310" fmla="*/ 10908 h 1327024"/>
                <a:gd name="connsiteX311" fmla="*/ 1291256 w 1354868"/>
                <a:gd name="connsiteY311" fmla="*/ 2784 h 1327024"/>
                <a:gd name="connsiteX312" fmla="*/ 1305900 w 1354868"/>
                <a:gd name="connsiteY312" fmla="*/ 3857 h 1327024"/>
                <a:gd name="connsiteX313" fmla="*/ 1288268 w 1354868"/>
                <a:gd name="connsiteY313" fmla="*/ 16017 h 132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</a:cxnLst>
              <a:rect l="l" t="t" r="r" b="b"/>
              <a:pathLst>
                <a:path w="1354868" h="1327024">
                  <a:moveTo>
                    <a:pt x="852687" y="695067"/>
                  </a:moveTo>
                  <a:lnTo>
                    <a:pt x="853894" y="718676"/>
                  </a:lnTo>
                  <a:lnTo>
                    <a:pt x="842776" y="728958"/>
                  </a:lnTo>
                  <a:lnTo>
                    <a:pt x="844280" y="711697"/>
                  </a:lnTo>
                  <a:lnTo>
                    <a:pt x="837060" y="698390"/>
                  </a:lnTo>
                  <a:lnTo>
                    <a:pt x="852687" y="695067"/>
                  </a:lnTo>
                  <a:close/>
                  <a:moveTo>
                    <a:pt x="1215421" y="98191"/>
                  </a:moveTo>
                  <a:lnTo>
                    <a:pt x="1200796" y="75854"/>
                  </a:lnTo>
                  <a:lnTo>
                    <a:pt x="1215699" y="78586"/>
                  </a:lnTo>
                  <a:lnTo>
                    <a:pt x="1214048" y="95006"/>
                  </a:lnTo>
                  <a:lnTo>
                    <a:pt x="1235558" y="101791"/>
                  </a:lnTo>
                  <a:lnTo>
                    <a:pt x="1225313" y="122979"/>
                  </a:lnTo>
                  <a:lnTo>
                    <a:pt x="1211022" y="113346"/>
                  </a:lnTo>
                  <a:lnTo>
                    <a:pt x="1215421" y="98191"/>
                  </a:lnTo>
                  <a:close/>
                  <a:moveTo>
                    <a:pt x="1197362" y="91708"/>
                  </a:moveTo>
                  <a:lnTo>
                    <a:pt x="1176668" y="89898"/>
                  </a:lnTo>
                  <a:lnTo>
                    <a:pt x="1175072" y="79944"/>
                  </a:lnTo>
                  <a:lnTo>
                    <a:pt x="1187136" y="75477"/>
                  </a:lnTo>
                  <a:lnTo>
                    <a:pt x="1197362" y="91708"/>
                  </a:lnTo>
                  <a:close/>
                  <a:moveTo>
                    <a:pt x="1247604" y="134740"/>
                  </a:moveTo>
                  <a:lnTo>
                    <a:pt x="1267370" y="130744"/>
                  </a:lnTo>
                  <a:lnTo>
                    <a:pt x="1251242" y="146919"/>
                  </a:lnTo>
                  <a:lnTo>
                    <a:pt x="1232774" y="121791"/>
                  </a:lnTo>
                  <a:lnTo>
                    <a:pt x="1238509" y="93666"/>
                  </a:lnTo>
                  <a:lnTo>
                    <a:pt x="1255993" y="101940"/>
                  </a:lnTo>
                  <a:lnTo>
                    <a:pt x="1262507" y="116210"/>
                  </a:lnTo>
                  <a:lnTo>
                    <a:pt x="1245395" y="115533"/>
                  </a:lnTo>
                  <a:lnTo>
                    <a:pt x="1247604" y="134740"/>
                  </a:lnTo>
                  <a:close/>
                  <a:moveTo>
                    <a:pt x="1266943" y="58526"/>
                  </a:moveTo>
                  <a:lnTo>
                    <a:pt x="1275907" y="61353"/>
                  </a:lnTo>
                  <a:lnTo>
                    <a:pt x="1260503" y="71459"/>
                  </a:lnTo>
                  <a:lnTo>
                    <a:pt x="1248680" y="45275"/>
                  </a:lnTo>
                  <a:lnTo>
                    <a:pt x="1266943" y="58526"/>
                  </a:lnTo>
                  <a:close/>
                  <a:moveTo>
                    <a:pt x="1349293" y="73491"/>
                  </a:moveTo>
                  <a:lnTo>
                    <a:pt x="1352300" y="97676"/>
                  </a:lnTo>
                  <a:lnTo>
                    <a:pt x="1336060" y="107912"/>
                  </a:lnTo>
                  <a:lnTo>
                    <a:pt x="1318929" y="107235"/>
                  </a:lnTo>
                  <a:lnTo>
                    <a:pt x="1315737" y="92437"/>
                  </a:lnTo>
                  <a:lnTo>
                    <a:pt x="1337044" y="87346"/>
                  </a:lnTo>
                  <a:lnTo>
                    <a:pt x="1349293" y="73491"/>
                  </a:lnTo>
                  <a:close/>
                  <a:moveTo>
                    <a:pt x="1273012" y="43107"/>
                  </a:moveTo>
                  <a:lnTo>
                    <a:pt x="1268112" y="49837"/>
                  </a:lnTo>
                  <a:lnTo>
                    <a:pt x="1248179" y="36849"/>
                  </a:lnTo>
                  <a:lnTo>
                    <a:pt x="1248959" y="25670"/>
                  </a:lnTo>
                  <a:lnTo>
                    <a:pt x="1259111" y="35961"/>
                  </a:lnTo>
                  <a:lnTo>
                    <a:pt x="1260837" y="25481"/>
                  </a:lnTo>
                  <a:lnTo>
                    <a:pt x="1273012" y="43107"/>
                  </a:lnTo>
                  <a:close/>
                  <a:moveTo>
                    <a:pt x="1112098" y="4922"/>
                  </a:moveTo>
                  <a:lnTo>
                    <a:pt x="1153041" y="16268"/>
                  </a:lnTo>
                  <a:lnTo>
                    <a:pt x="1149032" y="33912"/>
                  </a:lnTo>
                  <a:lnTo>
                    <a:pt x="1145580" y="17456"/>
                  </a:lnTo>
                  <a:lnTo>
                    <a:pt x="1112915" y="26052"/>
                  </a:lnTo>
                  <a:lnTo>
                    <a:pt x="1112098" y="4922"/>
                  </a:lnTo>
                  <a:close/>
                  <a:moveTo>
                    <a:pt x="1299386" y="80581"/>
                  </a:moveTo>
                  <a:lnTo>
                    <a:pt x="1290904" y="70024"/>
                  </a:lnTo>
                  <a:lnTo>
                    <a:pt x="1312860" y="69081"/>
                  </a:lnTo>
                  <a:lnTo>
                    <a:pt x="1304100" y="78129"/>
                  </a:lnTo>
                  <a:lnTo>
                    <a:pt x="1311283" y="96546"/>
                  </a:lnTo>
                  <a:lnTo>
                    <a:pt x="1304564" y="107819"/>
                  </a:lnTo>
                  <a:lnTo>
                    <a:pt x="1285967" y="119282"/>
                  </a:lnTo>
                  <a:lnTo>
                    <a:pt x="1267871" y="101752"/>
                  </a:lnTo>
                  <a:lnTo>
                    <a:pt x="1278506" y="83051"/>
                  </a:lnTo>
                  <a:lnTo>
                    <a:pt x="1297808" y="86782"/>
                  </a:lnTo>
                  <a:lnTo>
                    <a:pt x="1299386" y="80581"/>
                  </a:lnTo>
                  <a:close/>
                  <a:moveTo>
                    <a:pt x="1234853" y="65332"/>
                  </a:moveTo>
                  <a:lnTo>
                    <a:pt x="1222010" y="64824"/>
                  </a:lnTo>
                  <a:lnTo>
                    <a:pt x="1215755" y="52214"/>
                  </a:lnTo>
                  <a:lnTo>
                    <a:pt x="1235670" y="49046"/>
                  </a:lnTo>
                  <a:lnTo>
                    <a:pt x="1233424" y="34946"/>
                  </a:lnTo>
                  <a:lnTo>
                    <a:pt x="1245748" y="48291"/>
                  </a:lnTo>
                  <a:lnTo>
                    <a:pt x="1259241" y="74211"/>
                  </a:lnTo>
                  <a:lnTo>
                    <a:pt x="1235447" y="79698"/>
                  </a:lnTo>
                  <a:lnTo>
                    <a:pt x="1234853" y="65332"/>
                  </a:lnTo>
                  <a:close/>
                  <a:moveTo>
                    <a:pt x="319975" y="1324931"/>
                  </a:moveTo>
                  <a:lnTo>
                    <a:pt x="307078" y="1313368"/>
                  </a:lnTo>
                  <a:lnTo>
                    <a:pt x="311002" y="1305944"/>
                  </a:lnTo>
                  <a:lnTo>
                    <a:pt x="287525" y="1286716"/>
                  </a:lnTo>
                  <a:lnTo>
                    <a:pt x="274476" y="1295588"/>
                  </a:lnTo>
                  <a:lnTo>
                    <a:pt x="265276" y="1269845"/>
                  </a:lnTo>
                  <a:lnTo>
                    <a:pt x="254491" y="1271571"/>
                  </a:lnTo>
                  <a:lnTo>
                    <a:pt x="241499" y="1254070"/>
                  </a:lnTo>
                  <a:lnTo>
                    <a:pt x="245157" y="1244975"/>
                  </a:lnTo>
                  <a:lnTo>
                    <a:pt x="233487" y="1235788"/>
                  </a:lnTo>
                  <a:lnTo>
                    <a:pt x="217211" y="1251137"/>
                  </a:lnTo>
                  <a:lnTo>
                    <a:pt x="188004" y="1222611"/>
                  </a:lnTo>
                  <a:lnTo>
                    <a:pt x="191098" y="1215317"/>
                  </a:lnTo>
                  <a:lnTo>
                    <a:pt x="176634" y="1209953"/>
                  </a:lnTo>
                  <a:lnTo>
                    <a:pt x="155986" y="1219196"/>
                  </a:lnTo>
                  <a:lnTo>
                    <a:pt x="140732" y="1208877"/>
                  </a:lnTo>
                  <a:lnTo>
                    <a:pt x="133813" y="1192117"/>
                  </a:lnTo>
                  <a:lnTo>
                    <a:pt x="120971" y="1191597"/>
                  </a:lnTo>
                  <a:lnTo>
                    <a:pt x="108848" y="1168862"/>
                  </a:lnTo>
                  <a:lnTo>
                    <a:pt x="93989" y="1161029"/>
                  </a:lnTo>
                  <a:lnTo>
                    <a:pt x="82994" y="1172128"/>
                  </a:lnTo>
                  <a:lnTo>
                    <a:pt x="70871" y="1149392"/>
                  </a:lnTo>
                  <a:lnTo>
                    <a:pt x="39627" y="1134804"/>
                  </a:lnTo>
                  <a:lnTo>
                    <a:pt x="35987" y="1122629"/>
                  </a:lnTo>
                  <a:lnTo>
                    <a:pt x="24146" y="1117711"/>
                  </a:lnTo>
                  <a:lnTo>
                    <a:pt x="18057" y="1100821"/>
                  </a:lnTo>
                  <a:lnTo>
                    <a:pt x="4952" y="1098650"/>
                  </a:lnTo>
                  <a:lnTo>
                    <a:pt x="2784" y="1074337"/>
                  </a:lnTo>
                  <a:lnTo>
                    <a:pt x="4916" y="1066337"/>
                  </a:lnTo>
                  <a:lnTo>
                    <a:pt x="2860" y="1064129"/>
                  </a:lnTo>
                  <a:lnTo>
                    <a:pt x="4256" y="1062199"/>
                  </a:lnTo>
                  <a:lnTo>
                    <a:pt x="5481" y="1064556"/>
                  </a:lnTo>
                  <a:lnTo>
                    <a:pt x="7348" y="1054905"/>
                  </a:lnTo>
                  <a:lnTo>
                    <a:pt x="21078" y="1028902"/>
                  </a:lnTo>
                  <a:lnTo>
                    <a:pt x="49269" y="1008264"/>
                  </a:lnTo>
                  <a:lnTo>
                    <a:pt x="59586" y="976861"/>
                  </a:lnTo>
                  <a:lnTo>
                    <a:pt x="72975" y="959415"/>
                  </a:lnTo>
                  <a:lnTo>
                    <a:pt x="61869" y="948427"/>
                  </a:lnTo>
                  <a:lnTo>
                    <a:pt x="55421" y="923947"/>
                  </a:lnTo>
                  <a:lnTo>
                    <a:pt x="60249" y="906167"/>
                  </a:lnTo>
                  <a:lnTo>
                    <a:pt x="80578" y="884229"/>
                  </a:lnTo>
                  <a:lnTo>
                    <a:pt x="80429" y="867247"/>
                  </a:lnTo>
                  <a:lnTo>
                    <a:pt x="96250" y="875784"/>
                  </a:lnTo>
                  <a:lnTo>
                    <a:pt x="117764" y="861308"/>
                  </a:lnTo>
                  <a:lnTo>
                    <a:pt x="129021" y="889277"/>
                  </a:lnTo>
                  <a:lnTo>
                    <a:pt x="155194" y="898724"/>
                  </a:lnTo>
                  <a:lnTo>
                    <a:pt x="174127" y="878698"/>
                  </a:lnTo>
                  <a:lnTo>
                    <a:pt x="171883" y="864593"/>
                  </a:lnTo>
                  <a:lnTo>
                    <a:pt x="155535" y="852733"/>
                  </a:lnTo>
                  <a:lnTo>
                    <a:pt x="167059" y="807540"/>
                  </a:lnTo>
                  <a:lnTo>
                    <a:pt x="178334" y="814240"/>
                  </a:lnTo>
                  <a:lnTo>
                    <a:pt x="194270" y="807466"/>
                  </a:lnTo>
                  <a:lnTo>
                    <a:pt x="203338" y="832373"/>
                  </a:lnTo>
                  <a:lnTo>
                    <a:pt x="203488" y="849355"/>
                  </a:lnTo>
                  <a:lnTo>
                    <a:pt x="218891" y="876675"/>
                  </a:lnTo>
                  <a:lnTo>
                    <a:pt x="226302" y="901861"/>
                  </a:lnTo>
                  <a:lnTo>
                    <a:pt x="240406" y="899615"/>
                  </a:lnTo>
                  <a:lnTo>
                    <a:pt x="257622" y="906241"/>
                  </a:lnTo>
                  <a:lnTo>
                    <a:pt x="266655" y="898835"/>
                  </a:lnTo>
                  <a:lnTo>
                    <a:pt x="273464" y="856092"/>
                  </a:lnTo>
                  <a:lnTo>
                    <a:pt x="286382" y="846385"/>
                  </a:lnTo>
                  <a:lnTo>
                    <a:pt x="304729" y="849411"/>
                  </a:lnTo>
                  <a:lnTo>
                    <a:pt x="330449" y="845328"/>
                  </a:lnTo>
                  <a:lnTo>
                    <a:pt x="347665" y="851935"/>
                  </a:lnTo>
                  <a:lnTo>
                    <a:pt x="371857" y="848947"/>
                  </a:lnTo>
                  <a:lnTo>
                    <a:pt x="412984" y="834748"/>
                  </a:lnTo>
                  <a:lnTo>
                    <a:pt x="395223" y="846070"/>
                  </a:lnTo>
                  <a:lnTo>
                    <a:pt x="393619" y="857391"/>
                  </a:lnTo>
                  <a:lnTo>
                    <a:pt x="414115" y="868583"/>
                  </a:lnTo>
                  <a:lnTo>
                    <a:pt x="418393" y="906167"/>
                  </a:lnTo>
                  <a:lnTo>
                    <a:pt x="437723" y="888646"/>
                  </a:lnTo>
                  <a:lnTo>
                    <a:pt x="461930" y="939221"/>
                  </a:lnTo>
                  <a:lnTo>
                    <a:pt x="476884" y="952993"/>
                  </a:lnTo>
                  <a:lnTo>
                    <a:pt x="488968" y="980833"/>
                  </a:lnTo>
                  <a:lnTo>
                    <a:pt x="503393" y="991300"/>
                  </a:lnTo>
                  <a:lnTo>
                    <a:pt x="530416" y="979348"/>
                  </a:lnTo>
                  <a:lnTo>
                    <a:pt x="553364" y="995254"/>
                  </a:lnTo>
                  <a:lnTo>
                    <a:pt x="517871" y="1050228"/>
                  </a:lnTo>
                  <a:lnTo>
                    <a:pt x="535483" y="1059322"/>
                  </a:lnTo>
                  <a:lnTo>
                    <a:pt x="534256" y="1094400"/>
                  </a:lnTo>
                  <a:lnTo>
                    <a:pt x="542307" y="1107559"/>
                  </a:lnTo>
                  <a:lnTo>
                    <a:pt x="526032" y="1122908"/>
                  </a:lnTo>
                  <a:lnTo>
                    <a:pt x="509724" y="1105944"/>
                  </a:lnTo>
                  <a:lnTo>
                    <a:pt x="498768" y="1111939"/>
                  </a:lnTo>
                  <a:lnTo>
                    <a:pt x="485041" y="1100525"/>
                  </a:lnTo>
                  <a:lnTo>
                    <a:pt x="458057" y="1107355"/>
                  </a:lnTo>
                  <a:lnTo>
                    <a:pt x="455115" y="1094233"/>
                  </a:lnTo>
                  <a:lnTo>
                    <a:pt x="385668" y="1053401"/>
                  </a:lnTo>
                  <a:lnTo>
                    <a:pt x="370074" y="1051620"/>
                  </a:lnTo>
                  <a:lnTo>
                    <a:pt x="372940" y="1074986"/>
                  </a:lnTo>
                  <a:lnTo>
                    <a:pt x="385666" y="1090818"/>
                  </a:lnTo>
                  <a:lnTo>
                    <a:pt x="390794" y="1107002"/>
                  </a:lnTo>
                  <a:lnTo>
                    <a:pt x="387758" y="1125358"/>
                  </a:lnTo>
                  <a:lnTo>
                    <a:pt x="377329" y="1134656"/>
                  </a:lnTo>
                  <a:lnTo>
                    <a:pt x="387361" y="1160287"/>
                  </a:lnTo>
                  <a:lnTo>
                    <a:pt x="374311" y="1169159"/>
                  </a:lnTo>
                  <a:lnTo>
                    <a:pt x="360074" y="1170569"/>
                  </a:lnTo>
                  <a:lnTo>
                    <a:pt x="355811" y="1186568"/>
                  </a:lnTo>
                  <a:lnTo>
                    <a:pt x="344213" y="1204571"/>
                  </a:lnTo>
                  <a:lnTo>
                    <a:pt x="343006" y="1218361"/>
                  </a:lnTo>
                  <a:lnTo>
                    <a:pt x="359035" y="1217507"/>
                  </a:lnTo>
                  <a:lnTo>
                    <a:pt x="376080" y="1228402"/>
                  </a:lnTo>
                  <a:lnTo>
                    <a:pt x="395050" y="1203272"/>
                  </a:lnTo>
                  <a:lnTo>
                    <a:pt x="415189" y="1206872"/>
                  </a:lnTo>
                  <a:lnTo>
                    <a:pt x="436043" y="1225673"/>
                  </a:lnTo>
                  <a:lnTo>
                    <a:pt x="403457" y="1261475"/>
                  </a:lnTo>
                  <a:lnTo>
                    <a:pt x="396689" y="1261698"/>
                  </a:lnTo>
                  <a:lnTo>
                    <a:pt x="374833" y="1284730"/>
                  </a:lnTo>
                  <a:lnTo>
                    <a:pt x="383977" y="1299430"/>
                  </a:lnTo>
                  <a:lnTo>
                    <a:pt x="362253" y="1323298"/>
                  </a:lnTo>
                  <a:lnTo>
                    <a:pt x="331102" y="1314649"/>
                  </a:lnTo>
                  <a:lnTo>
                    <a:pt x="319975" y="1324931"/>
                  </a:lnTo>
                  <a:close/>
                  <a:moveTo>
                    <a:pt x="1282144" y="20390"/>
                  </a:moveTo>
                  <a:lnTo>
                    <a:pt x="1288268" y="16017"/>
                  </a:lnTo>
                  <a:lnTo>
                    <a:pt x="1287953" y="19467"/>
                  </a:lnTo>
                  <a:lnTo>
                    <a:pt x="1282144" y="20390"/>
                  </a:lnTo>
                  <a:close/>
                  <a:moveTo>
                    <a:pt x="1282144" y="20390"/>
                  </a:moveTo>
                  <a:lnTo>
                    <a:pt x="1286449" y="36715"/>
                  </a:lnTo>
                  <a:lnTo>
                    <a:pt x="1304156" y="51758"/>
                  </a:lnTo>
                  <a:lnTo>
                    <a:pt x="1287767" y="45009"/>
                  </a:lnTo>
                  <a:lnTo>
                    <a:pt x="1267222" y="22765"/>
                  </a:lnTo>
                  <a:lnTo>
                    <a:pt x="1282144" y="20390"/>
                  </a:lnTo>
                  <a:close/>
                  <a:moveTo>
                    <a:pt x="976296" y="584395"/>
                  </a:moveTo>
                  <a:lnTo>
                    <a:pt x="973716" y="578865"/>
                  </a:lnTo>
                  <a:lnTo>
                    <a:pt x="951648" y="573872"/>
                  </a:lnTo>
                  <a:lnTo>
                    <a:pt x="970245" y="562402"/>
                  </a:lnTo>
                  <a:lnTo>
                    <a:pt x="961021" y="557911"/>
                  </a:lnTo>
                  <a:lnTo>
                    <a:pt x="956864" y="542413"/>
                  </a:lnTo>
                  <a:lnTo>
                    <a:pt x="988527" y="538237"/>
                  </a:lnTo>
                  <a:lnTo>
                    <a:pt x="1002874" y="521496"/>
                  </a:lnTo>
                  <a:lnTo>
                    <a:pt x="1016552" y="521868"/>
                  </a:lnTo>
                  <a:lnTo>
                    <a:pt x="1014956" y="511920"/>
                  </a:lnTo>
                  <a:lnTo>
                    <a:pt x="1033701" y="517432"/>
                  </a:lnTo>
                  <a:lnTo>
                    <a:pt x="1025554" y="498326"/>
                  </a:lnTo>
                  <a:lnTo>
                    <a:pt x="1043909" y="501361"/>
                  </a:lnTo>
                  <a:lnTo>
                    <a:pt x="1038341" y="487788"/>
                  </a:lnTo>
                  <a:lnTo>
                    <a:pt x="1056159" y="487504"/>
                  </a:lnTo>
                  <a:lnTo>
                    <a:pt x="1043408" y="476779"/>
                  </a:lnTo>
                  <a:lnTo>
                    <a:pt x="1047491" y="465073"/>
                  </a:lnTo>
                  <a:lnTo>
                    <a:pt x="1056233" y="477287"/>
                  </a:lnTo>
                  <a:lnTo>
                    <a:pt x="1077930" y="458531"/>
                  </a:lnTo>
                  <a:lnTo>
                    <a:pt x="1088063" y="468822"/>
                  </a:lnTo>
                  <a:lnTo>
                    <a:pt x="1090810" y="453930"/>
                  </a:lnTo>
                  <a:lnTo>
                    <a:pt x="1104470" y="454306"/>
                  </a:lnTo>
                  <a:lnTo>
                    <a:pt x="1134723" y="435888"/>
                  </a:lnTo>
                  <a:lnTo>
                    <a:pt x="1154860" y="439486"/>
                  </a:lnTo>
                  <a:lnTo>
                    <a:pt x="1156865" y="430665"/>
                  </a:lnTo>
                  <a:lnTo>
                    <a:pt x="1171713" y="438506"/>
                  </a:lnTo>
                  <a:lnTo>
                    <a:pt x="1176241" y="424180"/>
                  </a:lnTo>
                  <a:lnTo>
                    <a:pt x="1187433" y="424952"/>
                  </a:lnTo>
                  <a:lnTo>
                    <a:pt x="1207756" y="440427"/>
                  </a:lnTo>
                  <a:lnTo>
                    <a:pt x="1264345" y="427172"/>
                  </a:lnTo>
                  <a:lnTo>
                    <a:pt x="1294894" y="405305"/>
                  </a:lnTo>
                  <a:lnTo>
                    <a:pt x="1307348" y="403325"/>
                  </a:lnTo>
                  <a:lnTo>
                    <a:pt x="1322066" y="410336"/>
                  </a:lnTo>
                  <a:lnTo>
                    <a:pt x="1327058" y="425700"/>
                  </a:lnTo>
                  <a:lnTo>
                    <a:pt x="1323755" y="442384"/>
                  </a:lnTo>
                  <a:lnTo>
                    <a:pt x="1309018" y="456634"/>
                  </a:lnTo>
                  <a:lnTo>
                    <a:pt x="1282255" y="470245"/>
                  </a:lnTo>
                  <a:lnTo>
                    <a:pt x="1208517" y="487931"/>
                  </a:lnTo>
                  <a:lnTo>
                    <a:pt x="1194838" y="487554"/>
                  </a:lnTo>
                  <a:lnTo>
                    <a:pt x="1156939" y="495284"/>
                  </a:lnTo>
                  <a:lnTo>
                    <a:pt x="1121230" y="522220"/>
                  </a:lnTo>
                  <a:lnTo>
                    <a:pt x="1108145" y="536214"/>
                  </a:lnTo>
                  <a:lnTo>
                    <a:pt x="1097139" y="531166"/>
                  </a:lnTo>
                  <a:lnTo>
                    <a:pt x="1089028" y="544362"/>
                  </a:lnTo>
                  <a:lnTo>
                    <a:pt x="1074255" y="526303"/>
                  </a:lnTo>
                  <a:lnTo>
                    <a:pt x="1074719" y="555981"/>
                  </a:lnTo>
                  <a:lnTo>
                    <a:pt x="1063527" y="555220"/>
                  </a:lnTo>
                  <a:lnTo>
                    <a:pt x="1039288" y="584581"/>
                  </a:lnTo>
                  <a:lnTo>
                    <a:pt x="1004024" y="608913"/>
                  </a:lnTo>
                  <a:lnTo>
                    <a:pt x="986708" y="596348"/>
                  </a:lnTo>
                  <a:lnTo>
                    <a:pt x="996155" y="607614"/>
                  </a:lnTo>
                  <a:lnTo>
                    <a:pt x="990272" y="618750"/>
                  </a:lnTo>
                  <a:lnTo>
                    <a:pt x="971489" y="618341"/>
                  </a:lnTo>
                  <a:lnTo>
                    <a:pt x="983590" y="624912"/>
                  </a:lnTo>
                  <a:lnTo>
                    <a:pt x="975219" y="636456"/>
                  </a:lnTo>
                  <a:lnTo>
                    <a:pt x="966960" y="632651"/>
                  </a:lnTo>
                  <a:lnTo>
                    <a:pt x="942851" y="662866"/>
                  </a:lnTo>
                  <a:lnTo>
                    <a:pt x="943463" y="672109"/>
                  </a:lnTo>
                  <a:lnTo>
                    <a:pt x="927187" y="687458"/>
                  </a:lnTo>
                  <a:lnTo>
                    <a:pt x="932142" y="691783"/>
                  </a:lnTo>
                  <a:lnTo>
                    <a:pt x="926444" y="714797"/>
                  </a:lnTo>
                  <a:lnTo>
                    <a:pt x="925108" y="743917"/>
                  </a:lnTo>
                  <a:lnTo>
                    <a:pt x="934629" y="782373"/>
                  </a:lnTo>
                  <a:lnTo>
                    <a:pt x="944744" y="797777"/>
                  </a:lnTo>
                  <a:lnTo>
                    <a:pt x="936411" y="804199"/>
                  </a:lnTo>
                  <a:lnTo>
                    <a:pt x="900312" y="791244"/>
                  </a:lnTo>
                  <a:lnTo>
                    <a:pt x="892164" y="772128"/>
                  </a:lnTo>
                  <a:lnTo>
                    <a:pt x="878560" y="782800"/>
                  </a:lnTo>
                  <a:lnTo>
                    <a:pt x="870579" y="759396"/>
                  </a:lnTo>
                  <a:lnTo>
                    <a:pt x="862988" y="759748"/>
                  </a:lnTo>
                  <a:lnTo>
                    <a:pt x="846154" y="739481"/>
                  </a:lnTo>
                  <a:lnTo>
                    <a:pt x="858849" y="739147"/>
                  </a:lnTo>
                  <a:lnTo>
                    <a:pt x="857828" y="727417"/>
                  </a:lnTo>
                  <a:lnTo>
                    <a:pt x="876574" y="732929"/>
                  </a:lnTo>
                  <a:lnTo>
                    <a:pt x="863062" y="712124"/>
                  </a:lnTo>
                  <a:lnTo>
                    <a:pt x="865921" y="698056"/>
                  </a:lnTo>
                  <a:lnTo>
                    <a:pt x="835111" y="680851"/>
                  </a:lnTo>
                  <a:lnTo>
                    <a:pt x="831604" y="669492"/>
                  </a:lnTo>
                  <a:lnTo>
                    <a:pt x="840883" y="647610"/>
                  </a:lnTo>
                  <a:lnTo>
                    <a:pt x="861577" y="633264"/>
                  </a:lnTo>
                  <a:lnTo>
                    <a:pt x="871025" y="644529"/>
                  </a:lnTo>
                  <a:lnTo>
                    <a:pt x="899588" y="610212"/>
                  </a:lnTo>
                  <a:lnTo>
                    <a:pt x="893853" y="600914"/>
                  </a:lnTo>
                  <a:lnTo>
                    <a:pt x="903727" y="593397"/>
                  </a:lnTo>
                  <a:lnTo>
                    <a:pt x="918445" y="600413"/>
                  </a:lnTo>
                  <a:lnTo>
                    <a:pt x="925368" y="579756"/>
                  </a:lnTo>
                  <a:lnTo>
                    <a:pt x="943501" y="576007"/>
                  </a:lnTo>
                  <a:lnTo>
                    <a:pt x="951314" y="582428"/>
                  </a:lnTo>
                  <a:lnTo>
                    <a:pt x="972064" y="579125"/>
                  </a:lnTo>
                  <a:lnTo>
                    <a:pt x="976296" y="584395"/>
                  </a:lnTo>
                  <a:close/>
                  <a:moveTo>
                    <a:pt x="1114437" y="62379"/>
                  </a:moveTo>
                  <a:lnTo>
                    <a:pt x="1124738" y="52237"/>
                  </a:lnTo>
                  <a:lnTo>
                    <a:pt x="1111894" y="51728"/>
                  </a:lnTo>
                  <a:lnTo>
                    <a:pt x="1113231" y="38758"/>
                  </a:lnTo>
                  <a:lnTo>
                    <a:pt x="1131809" y="48560"/>
                  </a:lnTo>
                  <a:lnTo>
                    <a:pt x="1127206" y="35685"/>
                  </a:lnTo>
                  <a:lnTo>
                    <a:pt x="1144058" y="34705"/>
                  </a:lnTo>
                  <a:lnTo>
                    <a:pt x="1149664" y="43168"/>
                  </a:lnTo>
                  <a:lnTo>
                    <a:pt x="1159927" y="38135"/>
                  </a:lnTo>
                  <a:lnTo>
                    <a:pt x="1158646" y="24731"/>
                  </a:lnTo>
                  <a:lnTo>
                    <a:pt x="1183962" y="18152"/>
                  </a:lnTo>
                  <a:lnTo>
                    <a:pt x="1180046" y="25579"/>
                  </a:lnTo>
                  <a:lnTo>
                    <a:pt x="1184705" y="49501"/>
                  </a:lnTo>
                  <a:lnTo>
                    <a:pt x="1170989" y="54232"/>
                  </a:lnTo>
                  <a:lnTo>
                    <a:pt x="1140495" y="49729"/>
                  </a:lnTo>
                  <a:lnTo>
                    <a:pt x="1135280" y="65017"/>
                  </a:lnTo>
                  <a:lnTo>
                    <a:pt x="1149738" y="70369"/>
                  </a:lnTo>
                  <a:lnTo>
                    <a:pt x="1141107" y="80249"/>
                  </a:lnTo>
                  <a:lnTo>
                    <a:pt x="1154470" y="84074"/>
                  </a:lnTo>
                  <a:lnTo>
                    <a:pt x="1151872" y="99796"/>
                  </a:lnTo>
                  <a:lnTo>
                    <a:pt x="1137748" y="85885"/>
                  </a:lnTo>
                  <a:lnTo>
                    <a:pt x="1139381" y="69466"/>
                  </a:lnTo>
                  <a:lnTo>
                    <a:pt x="1128542" y="60136"/>
                  </a:lnTo>
                  <a:lnTo>
                    <a:pt x="1114437" y="62379"/>
                  </a:lnTo>
                  <a:close/>
                  <a:moveTo>
                    <a:pt x="1288268" y="16017"/>
                  </a:moveTo>
                  <a:lnTo>
                    <a:pt x="1288305" y="10908"/>
                  </a:lnTo>
                  <a:lnTo>
                    <a:pt x="1291256" y="2784"/>
                  </a:lnTo>
                  <a:lnTo>
                    <a:pt x="1305900" y="3857"/>
                  </a:lnTo>
                  <a:lnTo>
                    <a:pt x="1288268" y="1601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177">
              <a:extLst>
                <a:ext uri="{FF2B5EF4-FFF2-40B4-BE49-F238E27FC236}">
                  <a16:creationId xmlns:a16="http://schemas.microsoft.com/office/drawing/2014/main" id="{231CEB0C-38BC-4D94-95C1-CFD9D56F9FC7}"/>
                </a:ext>
              </a:extLst>
            </p:cNvPr>
            <p:cNvSpPr/>
            <p:nvPr/>
          </p:nvSpPr>
          <p:spPr>
            <a:xfrm>
              <a:off x="3768668" y="6322544"/>
              <a:ext cx="315517" cy="265405"/>
            </a:xfrm>
            <a:custGeom>
              <a:avLst/>
              <a:gdLst>
                <a:gd name="connsiteX0" fmla="*/ 219581 w 315517"/>
                <a:gd name="connsiteY0" fmla="*/ 29900 h 265404"/>
                <a:gd name="connsiteX1" fmla="*/ 207926 w 315517"/>
                <a:gd name="connsiteY1" fmla="*/ 36841 h 265404"/>
                <a:gd name="connsiteX2" fmla="*/ 196289 w 315517"/>
                <a:gd name="connsiteY2" fmla="*/ 59967 h 265404"/>
                <a:gd name="connsiteX3" fmla="*/ 209912 w 315517"/>
                <a:gd name="connsiteY3" fmla="*/ 65442 h 265404"/>
                <a:gd name="connsiteX4" fmla="*/ 199314 w 315517"/>
                <a:gd name="connsiteY4" fmla="*/ 79046 h 265404"/>
                <a:gd name="connsiteX5" fmla="*/ 227803 w 315517"/>
                <a:gd name="connsiteY5" fmla="*/ 92372 h 265404"/>
                <a:gd name="connsiteX6" fmla="*/ 235413 w 315517"/>
                <a:gd name="connsiteY6" fmla="*/ 92001 h 265404"/>
                <a:gd name="connsiteX7" fmla="*/ 244118 w 315517"/>
                <a:gd name="connsiteY7" fmla="*/ 71919 h 265404"/>
                <a:gd name="connsiteX8" fmla="*/ 257184 w 315517"/>
                <a:gd name="connsiteY8" fmla="*/ 79195 h 265404"/>
                <a:gd name="connsiteX9" fmla="*/ 265684 w 315517"/>
                <a:gd name="connsiteY9" fmla="*/ 105902 h 265404"/>
                <a:gd name="connsiteX10" fmla="*/ 285617 w 315517"/>
                <a:gd name="connsiteY10" fmla="*/ 118875 h 265404"/>
                <a:gd name="connsiteX11" fmla="*/ 313865 w 315517"/>
                <a:gd name="connsiteY11" fmla="*/ 146715 h 265404"/>
                <a:gd name="connsiteX12" fmla="*/ 297236 w 315517"/>
                <a:gd name="connsiteY12" fmla="*/ 154454 h 265404"/>
                <a:gd name="connsiteX13" fmla="*/ 309151 w 315517"/>
                <a:gd name="connsiteY13" fmla="*/ 186582 h 265404"/>
                <a:gd name="connsiteX14" fmla="*/ 313884 w 315517"/>
                <a:gd name="connsiteY14" fmla="*/ 200278 h 265404"/>
                <a:gd name="connsiteX15" fmla="*/ 273071 w 315517"/>
                <a:gd name="connsiteY15" fmla="*/ 227190 h 265404"/>
                <a:gd name="connsiteX16" fmla="*/ 259838 w 315517"/>
                <a:gd name="connsiteY16" fmla="*/ 224184 h 265404"/>
                <a:gd name="connsiteX17" fmla="*/ 235469 w 315517"/>
                <a:gd name="connsiteY17" fmla="*/ 231459 h 265404"/>
                <a:gd name="connsiteX18" fmla="*/ 226059 w 315517"/>
                <a:gd name="connsiteY18" fmla="*/ 252524 h 265404"/>
                <a:gd name="connsiteX19" fmla="*/ 196419 w 315517"/>
                <a:gd name="connsiteY19" fmla="*/ 264031 h 265404"/>
                <a:gd name="connsiteX20" fmla="*/ 174277 w 315517"/>
                <a:gd name="connsiteY20" fmla="*/ 253100 h 265404"/>
                <a:gd name="connsiteX21" fmla="*/ 161136 w 315517"/>
                <a:gd name="connsiteY21" fmla="*/ 234781 h 265404"/>
                <a:gd name="connsiteX22" fmla="*/ 148609 w 315517"/>
                <a:gd name="connsiteY22" fmla="*/ 230828 h 265404"/>
                <a:gd name="connsiteX23" fmla="*/ 157369 w 315517"/>
                <a:gd name="connsiteY23" fmla="*/ 221771 h 265404"/>
                <a:gd name="connsiteX24" fmla="*/ 147755 w 315517"/>
                <a:gd name="connsiteY24" fmla="*/ 214811 h 265404"/>
                <a:gd name="connsiteX25" fmla="*/ 126559 w 315517"/>
                <a:gd name="connsiteY25" fmla="*/ 241983 h 265404"/>
                <a:gd name="connsiteX26" fmla="*/ 93616 w 315517"/>
                <a:gd name="connsiteY26" fmla="*/ 232777 h 265404"/>
                <a:gd name="connsiteX27" fmla="*/ 76466 w 315517"/>
                <a:gd name="connsiteY27" fmla="*/ 237194 h 265404"/>
                <a:gd name="connsiteX28" fmla="*/ 58074 w 315517"/>
                <a:gd name="connsiteY28" fmla="*/ 201856 h 265404"/>
                <a:gd name="connsiteX29" fmla="*/ 18096 w 315517"/>
                <a:gd name="connsiteY29" fmla="*/ 191203 h 265404"/>
                <a:gd name="connsiteX30" fmla="*/ 7814 w 315517"/>
                <a:gd name="connsiteY30" fmla="*/ 163938 h 265404"/>
                <a:gd name="connsiteX31" fmla="*/ 31607 w 315517"/>
                <a:gd name="connsiteY31" fmla="*/ 158445 h 265404"/>
                <a:gd name="connsiteX32" fmla="*/ 29269 w 315517"/>
                <a:gd name="connsiteY32" fmla="*/ 138400 h 265404"/>
                <a:gd name="connsiteX33" fmla="*/ 2784 w 315517"/>
                <a:gd name="connsiteY33" fmla="*/ 132405 h 265404"/>
                <a:gd name="connsiteX34" fmla="*/ 21418 w 315517"/>
                <a:gd name="connsiteY34" fmla="*/ 115850 h 265404"/>
                <a:gd name="connsiteX35" fmla="*/ 52506 w 315517"/>
                <a:gd name="connsiteY35" fmla="*/ 97290 h 265404"/>
                <a:gd name="connsiteX36" fmla="*/ 64514 w 315517"/>
                <a:gd name="connsiteY36" fmla="*/ 97940 h 265404"/>
                <a:gd name="connsiteX37" fmla="*/ 78601 w 315517"/>
                <a:gd name="connsiteY37" fmla="*/ 79529 h 265404"/>
                <a:gd name="connsiteX38" fmla="*/ 89124 w 315517"/>
                <a:gd name="connsiteY38" fmla="*/ 76151 h 265404"/>
                <a:gd name="connsiteX39" fmla="*/ 96919 w 315517"/>
                <a:gd name="connsiteY39" fmla="*/ 50260 h 265404"/>
                <a:gd name="connsiteX40" fmla="*/ 122588 w 315517"/>
                <a:gd name="connsiteY40" fmla="*/ 51281 h 265404"/>
                <a:gd name="connsiteX41" fmla="*/ 138401 w 315517"/>
                <a:gd name="connsiteY41" fmla="*/ 43653 h 265404"/>
                <a:gd name="connsiteX42" fmla="*/ 139607 w 315517"/>
                <a:gd name="connsiteY42" fmla="*/ 29863 h 265404"/>
                <a:gd name="connsiteX43" fmla="*/ 129418 w 315517"/>
                <a:gd name="connsiteY43" fmla="*/ 24666 h 265404"/>
                <a:gd name="connsiteX44" fmla="*/ 138698 w 315517"/>
                <a:gd name="connsiteY44" fmla="*/ 2784 h 265404"/>
                <a:gd name="connsiteX45" fmla="*/ 155123 w 315517"/>
                <a:gd name="connsiteY45" fmla="*/ 4436 h 265404"/>
                <a:gd name="connsiteX46" fmla="*/ 180327 w 315517"/>
                <a:gd name="connsiteY46" fmla="*/ 13177 h 265404"/>
                <a:gd name="connsiteX47" fmla="*/ 193375 w 315517"/>
                <a:gd name="connsiteY47" fmla="*/ 4287 h 265404"/>
                <a:gd name="connsiteX48" fmla="*/ 209206 w 315517"/>
                <a:gd name="connsiteY48" fmla="*/ 12825 h 265404"/>
                <a:gd name="connsiteX49" fmla="*/ 219600 w 315517"/>
                <a:gd name="connsiteY49" fmla="*/ 8630 h 265404"/>
                <a:gd name="connsiteX50" fmla="*/ 219581 w 315517"/>
                <a:gd name="connsiteY50" fmla="*/ 29900 h 265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15517" h="265404">
                  <a:moveTo>
                    <a:pt x="219581" y="29900"/>
                  </a:moveTo>
                  <a:lnTo>
                    <a:pt x="207926" y="36841"/>
                  </a:lnTo>
                  <a:lnTo>
                    <a:pt x="196289" y="59967"/>
                  </a:lnTo>
                  <a:lnTo>
                    <a:pt x="209912" y="65442"/>
                  </a:lnTo>
                  <a:lnTo>
                    <a:pt x="199314" y="79046"/>
                  </a:lnTo>
                  <a:lnTo>
                    <a:pt x="227803" y="92372"/>
                  </a:lnTo>
                  <a:lnTo>
                    <a:pt x="235413" y="92001"/>
                  </a:lnTo>
                  <a:lnTo>
                    <a:pt x="244118" y="71919"/>
                  </a:lnTo>
                  <a:lnTo>
                    <a:pt x="257184" y="79195"/>
                  </a:lnTo>
                  <a:lnTo>
                    <a:pt x="265684" y="105902"/>
                  </a:lnTo>
                  <a:lnTo>
                    <a:pt x="285617" y="118875"/>
                  </a:lnTo>
                  <a:lnTo>
                    <a:pt x="313865" y="146715"/>
                  </a:lnTo>
                  <a:lnTo>
                    <a:pt x="297236" y="154454"/>
                  </a:lnTo>
                  <a:lnTo>
                    <a:pt x="309151" y="186582"/>
                  </a:lnTo>
                  <a:lnTo>
                    <a:pt x="313884" y="200278"/>
                  </a:lnTo>
                  <a:lnTo>
                    <a:pt x="273071" y="227190"/>
                  </a:lnTo>
                  <a:lnTo>
                    <a:pt x="259838" y="224184"/>
                  </a:lnTo>
                  <a:lnTo>
                    <a:pt x="235469" y="231459"/>
                  </a:lnTo>
                  <a:lnTo>
                    <a:pt x="226059" y="252524"/>
                  </a:lnTo>
                  <a:lnTo>
                    <a:pt x="196419" y="264031"/>
                  </a:lnTo>
                  <a:lnTo>
                    <a:pt x="174277" y="253100"/>
                  </a:lnTo>
                  <a:lnTo>
                    <a:pt x="161136" y="234781"/>
                  </a:lnTo>
                  <a:lnTo>
                    <a:pt x="148609" y="230828"/>
                  </a:lnTo>
                  <a:lnTo>
                    <a:pt x="157369" y="221771"/>
                  </a:lnTo>
                  <a:lnTo>
                    <a:pt x="147755" y="214811"/>
                  </a:lnTo>
                  <a:lnTo>
                    <a:pt x="126559" y="241983"/>
                  </a:lnTo>
                  <a:lnTo>
                    <a:pt x="93616" y="232777"/>
                  </a:lnTo>
                  <a:lnTo>
                    <a:pt x="76466" y="237194"/>
                  </a:lnTo>
                  <a:lnTo>
                    <a:pt x="58074" y="201856"/>
                  </a:lnTo>
                  <a:lnTo>
                    <a:pt x="18096" y="191203"/>
                  </a:lnTo>
                  <a:lnTo>
                    <a:pt x="7814" y="163938"/>
                  </a:lnTo>
                  <a:lnTo>
                    <a:pt x="31607" y="158445"/>
                  </a:lnTo>
                  <a:lnTo>
                    <a:pt x="29269" y="138400"/>
                  </a:lnTo>
                  <a:lnTo>
                    <a:pt x="2784" y="132405"/>
                  </a:lnTo>
                  <a:lnTo>
                    <a:pt x="21418" y="115850"/>
                  </a:lnTo>
                  <a:lnTo>
                    <a:pt x="52506" y="97290"/>
                  </a:lnTo>
                  <a:lnTo>
                    <a:pt x="64514" y="97940"/>
                  </a:lnTo>
                  <a:lnTo>
                    <a:pt x="78601" y="79529"/>
                  </a:lnTo>
                  <a:lnTo>
                    <a:pt x="89124" y="76151"/>
                  </a:lnTo>
                  <a:lnTo>
                    <a:pt x="96919" y="50260"/>
                  </a:lnTo>
                  <a:lnTo>
                    <a:pt x="122588" y="51281"/>
                  </a:lnTo>
                  <a:lnTo>
                    <a:pt x="138401" y="43653"/>
                  </a:lnTo>
                  <a:lnTo>
                    <a:pt x="139607" y="29863"/>
                  </a:lnTo>
                  <a:lnTo>
                    <a:pt x="129418" y="24666"/>
                  </a:lnTo>
                  <a:lnTo>
                    <a:pt x="138698" y="2784"/>
                  </a:lnTo>
                  <a:lnTo>
                    <a:pt x="155123" y="4436"/>
                  </a:lnTo>
                  <a:lnTo>
                    <a:pt x="180327" y="13177"/>
                  </a:lnTo>
                  <a:lnTo>
                    <a:pt x="193375" y="4287"/>
                  </a:lnTo>
                  <a:lnTo>
                    <a:pt x="209206" y="12825"/>
                  </a:lnTo>
                  <a:lnTo>
                    <a:pt x="219600" y="8630"/>
                  </a:lnTo>
                  <a:lnTo>
                    <a:pt x="219581" y="2990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180">
              <a:extLst>
                <a:ext uri="{FF2B5EF4-FFF2-40B4-BE49-F238E27FC236}">
                  <a16:creationId xmlns:a16="http://schemas.microsoft.com/office/drawing/2014/main" id="{126CEBC3-C960-4197-A918-6960BCB69BC7}"/>
                </a:ext>
              </a:extLst>
            </p:cNvPr>
            <p:cNvSpPr/>
            <p:nvPr/>
          </p:nvSpPr>
          <p:spPr>
            <a:xfrm>
              <a:off x="1491691" y="6268999"/>
              <a:ext cx="193022" cy="304380"/>
            </a:xfrm>
            <a:custGeom>
              <a:avLst/>
              <a:gdLst>
                <a:gd name="connsiteX0" fmla="*/ 122194 w 193022"/>
                <a:gd name="connsiteY0" fmla="*/ 2784 h 304380"/>
                <a:gd name="connsiteX1" fmla="*/ 156248 w 193022"/>
                <a:gd name="connsiteY1" fmla="*/ 29677 h 304380"/>
                <a:gd name="connsiteX2" fmla="*/ 171519 w 193022"/>
                <a:gd name="connsiteY2" fmla="*/ 56162 h 304380"/>
                <a:gd name="connsiteX3" fmla="*/ 159641 w 193022"/>
                <a:gd name="connsiteY3" fmla="*/ 56347 h 304380"/>
                <a:gd name="connsiteX4" fmla="*/ 149607 w 193022"/>
                <a:gd name="connsiteY4" fmla="*/ 68151 h 304380"/>
                <a:gd name="connsiteX5" fmla="*/ 167595 w 193022"/>
                <a:gd name="connsiteY5" fmla="*/ 101021 h 304380"/>
                <a:gd name="connsiteX6" fmla="*/ 162256 w 193022"/>
                <a:gd name="connsiteY6" fmla="*/ 131626 h 304380"/>
                <a:gd name="connsiteX7" fmla="*/ 150659 w 193022"/>
                <a:gd name="connsiteY7" fmla="*/ 149629 h 304380"/>
                <a:gd name="connsiteX8" fmla="*/ 170817 w 193022"/>
                <a:gd name="connsiteY8" fmla="*/ 131960 h 304380"/>
                <a:gd name="connsiteX9" fmla="*/ 190825 w 193022"/>
                <a:gd name="connsiteY9" fmla="*/ 134744 h 304380"/>
                <a:gd name="connsiteX10" fmla="*/ 168687 w 193022"/>
                <a:gd name="connsiteY10" fmla="*/ 139959 h 304380"/>
                <a:gd name="connsiteX11" fmla="*/ 150621 w 193022"/>
                <a:gd name="connsiteY11" fmla="*/ 154733 h 304380"/>
                <a:gd name="connsiteX12" fmla="*/ 131651 w 193022"/>
                <a:gd name="connsiteY12" fmla="*/ 179863 h 304380"/>
                <a:gd name="connsiteX13" fmla="*/ 137872 w 193022"/>
                <a:gd name="connsiteY13" fmla="*/ 197587 h 304380"/>
                <a:gd name="connsiteX14" fmla="*/ 135626 w 193022"/>
                <a:gd name="connsiteY14" fmla="*/ 220899 h 304380"/>
                <a:gd name="connsiteX15" fmla="*/ 144919 w 193022"/>
                <a:gd name="connsiteY15" fmla="*/ 290015 h 304380"/>
                <a:gd name="connsiteX16" fmla="*/ 123308 w 193022"/>
                <a:gd name="connsiteY16" fmla="*/ 298553 h 304380"/>
                <a:gd name="connsiteX17" fmla="*/ 101378 w 193022"/>
                <a:gd name="connsiteY17" fmla="*/ 294395 h 304380"/>
                <a:gd name="connsiteX18" fmla="*/ 82389 w 193022"/>
                <a:gd name="connsiteY18" fmla="*/ 303360 h 304380"/>
                <a:gd name="connsiteX19" fmla="*/ 53313 w 193022"/>
                <a:gd name="connsiteY19" fmla="*/ 275668 h 304380"/>
                <a:gd name="connsiteX20" fmla="*/ 46925 w 193022"/>
                <a:gd name="connsiteY20" fmla="*/ 224815 h 304380"/>
                <a:gd name="connsiteX21" fmla="*/ 11722 w 193022"/>
                <a:gd name="connsiteY21" fmla="*/ 185338 h 304380"/>
                <a:gd name="connsiteX22" fmla="*/ 2784 w 193022"/>
                <a:gd name="connsiteY22" fmla="*/ 161247 h 304380"/>
                <a:gd name="connsiteX23" fmla="*/ 19154 w 193022"/>
                <a:gd name="connsiteY23" fmla="*/ 151837 h 304380"/>
                <a:gd name="connsiteX24" fmla="*/ 52303 w 193022"/>
                <a:gd name="connsiteY24" fmla="*/ 151670 h 304380"/>
                <a:gd name="connsiteX25" fmla="*/ 61071 w 193022"/>
                <a:gd name="connsiteY25" fmla="*/ 142613 h 304380"/>
                <a:gd name="connsiteX26" fmla="*/ 71914 w 193022"/>
                <a:gd name="connsiteY26" fmla="*/ 151949 h 304380"/>
                <a:gd name="connsiteX27" fmla="*/ 85359 w 193022"/>
                <a:gd name="connsiteY27" fmla="*/ 145564 h 304380"/>
                <a:gd name="connsiteX28" fmla="*/ 90696 w 193022"/>
                <a:gd name="connsiteY28" fmla="*/ 114941 h 304380"/>
                <a:gd name="connsiteX29" fmla="*/ 120867 w 193022"/>
                <a:gd name="connsiteY29" fmla="*/ 106737 h 304380"/>
                <a:gd name="connsiteX30" fmla="*/ 113722 w 193022"/>
                <a:gd name="connsiteY30" fmla="*/ 83222 h 304380"/>
                <a:gd name="connsiteX31" fmla="*/ 99750 w 193022"/>
                <a:gd name="connsiteY31" fmla="*/ 86303 h 304380"/>
                <a:gd name="connsiteX32" fmla="*/ 95544 w 193022"/>
                <a:gd name="connsiteY32" fmla="*/ 75910 h 304380"/>
                <a:gd name="connsiteX33" fmla="*/ 72240 w 193022"/>
                <a:gd name="connsiteY33" fmla="*/ 52394 h 304380"/>
                <a:gd name="connsiteX34" fmla="*/ 79085 w 193022"/>
                <a:gd name="connsiteY34" fmla="*/ 41964 h 304380"/>
                <a:gd name="connsiteX35" fmla="*/ 60681 w 193022"/>
                <a:gd name="connsiteY35" fmla="*/ 27877 h 304380"/>
                <a:gd name="connsiteX36" fmla="*/ 79859 w 193022"/>
                <a:gd name="connsiteY36" fmla="*/ 30772 h 304380"/>
                <a:gd name="connsiteX37" fmla="*/ 84160 w 193022"/>
                <a:gd name="connsiteY37" fmla="*/ 9688 h 304380"/>
                <a:gd name="connsiteX38" fmla="*/ 109145 w 193022"/>
                <a:gd name="connsiteY38" fmla="*/ 11656 h 304380"/>
                <a:gd name="connsiteX39" fmla="*/ 122194 w 193022"/>
                <a:gd name="connsiteY39" fmla="*/ 2784 h 30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93022" h="304380">
                  <a:moveTo>
                    <a:pt x="122194" y="2784"/>
                  </a:moveTo>
                  <a:lnTo>
                    <a:pt x="156248" y="29677"/>
                  </a:lnTo>
                  <a:lnTo>
                    <a:pt x="171519" y="56162"/>
                  </a:lnTo>
                  <a:lnTo>
                    <a:pt x="159641" y="56347"/>
                  </a:lnTo>
                  <a:lnTo>
                    <a:pt x="149607" y="68151"/>
                  </a:lnTo>
                  <a:lnTo>
                    <a:pt x="167595" y="101021"/>
                  </a:lnTo>
                  <a:lnTo>
                    <a:pt x="162256" y="131626"/>
                  </a:lnTo>
                  <a:lnTo>
                    <a:pt x="150659" y="149629"/>
                  </a:lnTo>
                  <a:lnTo>
                    <a:pt x="170817" y="131960"/>
                  </a:lnTo>
                  <a:lnTo>
                    <a:pt x="190825" y="134744"/>
                  </a:lnTo>
                  <a:lnTo>
                    <a:pt x="168687" y="139959"/>
                  </a:lnTo>
                  <a:lnTo>
                    <a:pt x="150621" y="154733"/>
                  </a:lnTo>
                  <a:lnTo>
                    <a:pt x="131651" y="179863"/>
                  </a:lnTo>
                  <a:lnTo>
                    <a:pt x="137872" y="197587"/>
                  </a:lnTo>
                  <a:lnTo>
                    <a:pt x="135626" y="220899"/>
                  </a:lnTo>
                  <a:lnTo>
                    <a:pt x="144919" y="290015"/>
                  </a:lnTo>
                  <a:lnTo>
                    <a:pt x="123308" y="298553"/>
                  </a:lnTo>
                  <a:lnTo>
                    <a:pt x="101378" y="294395"/>
                  </a:lnTo>
                  <a:lnTo>
                    <a:pt x="82389" y="303360"/>
                  </a:lnTo>
                  <a:lnTo>
                    <a:pt x="53313" y="275668"/>
                  </a:lnTo>
                  <a:lnTo>
                    <a:pt x="46925" y="224815"/>
                  </a:lnTo>
                  <a:lnTo>
                    <a:pt x="11722" y="185338"/>
                  </a:lnTo>
                  <a:lnTo>
                    <a:pt x="2784" y="161247"/>
                  </a:lnTo>
                  <a:lnTo>
                    <a:pt x="19154" y="151837"/>
                  </a:lnTo>
                  <a:lnTo>
                    <a:pt x="52303" y="151670"/>
                  </a:lnTo>
                  <a:lnTo>
                    <a:pt x="61071" y="142613"/>
                  </a:lnTo>
                  <a:lnTo>
                    <a:pt x="71914" y="151949"/>
                  </a:lnTo>
                  <a:lnTo>
                    <a:pt x="85359" y="145564"/>
                  </a:lnTo>
                  <a:lnTo>
                    <a:pt x="90696" y="114941"/>
                  </a:lnTo>
                  <a:lnTo>
                    <a:pt x="120867" y="106737"/>
                  </a:lnTo>
                  <a:lnTo>
                    <a:pt x="113722" y="83222"/>
                  </a:lnTo>
                  <a:lnTo>
                    <a:pt x="99750" y="86303"/>
                  </a:lnTo>
                  <a:lnTo>
                    <a:pt x="95544" y="75910"/>
                  </a:lnTo>
                  <a:lnTo>
                    <a:pt x="72240" y="52394"/>
                  </a:lnTo>
                  <a:lnTo>
                    <a:pt x="79085" y="41964"/>
                  </a:lnTo>
                  <a:lnTo>
                    <a:pt x="60681" y="27877"/>
                  </a:lnTo>
                  <a:lnTo>
                    <a:pt x="79859" y="30772"/>
                  </a:lnTo>
                  <a:lnTo>
                    <a:pt x="84160" y="9688"/>
                  </a:lnTo>
                  <a:lnTo>
                    <a:pt x="109145" y="11656"/>
                  </a:lnTo>
                  <a:lnTo>
                    <a:pt x="122194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192">
              <a:extLst>
                <a:ext uri="{FF2B5EF4-FFF2-40B4-BE49-F238E27FC236}">
                  <a16:creationId xmlns:a16="http://schemas.microsoft.com/office/drawing/2014/main" id="{207D4F48-F677-4744-A914-345DD9CB0F08}"/>
                </a:ext>
              </a:extLst>
            </p:cNvPr>
            <p:cNvSpPr/>
            <p:nvPr/>
          </p:nvSpPr>
          <p:spPr>
            <a:xfrm>
              <a:off x="3450051" y="6195353"/>
              <a:ext cx="475132" cy="293245"/>
            </a:xfrm>
            <a:custGeom>
              <a:avLst/>
              <a:gdLst>
                <a:gd name="connsiteX0" fmla="*/ 326431 w 475131"/>
                <a:gd name="connsiteY0" fmla="*/ 291129 h 293244"/>
                <a:gd name="connsiteX1" fmla="*/ 311768 w 475131"/>
                <a:gd name="connsiteY1" fmla="*/ 273887 h 293244"/>
                <a:gd name="connsiteX2" fmla="*/ 290981 w 475131"/>
                <a:gd name="connsiteY2" fmla="*/ 266147 h 293244"/>
                <a:gd name="connsiteX3" fmla="*/ 255569 w 475131"/>
                <a:gd name="connsiteY3" fmla="*/ 273479 h 293244"/>
                <a:gd name="connsiteX4" fmla="*/ 240944 w 475131"/>
                <a:gd name="connsiteY4" fmla="*/ 288567 h 293244"/>
                <a:gd name="connsiteX5" fmla="*/ 202729 w 475131"/>
                <a:gd name="connsiteY5" fmla="*/ 283594 h 293244"/>
                <a:gd name="connsiteX6" fmla="*/ 187232 w 475131"/>
                <a:gd name="connsiteY6" fmla="*/ 287751 h 293244"/>
                <a:gd name="connsiteX7" fmla="*/ 183761 w 475131"/>
                <a:gd name="connsiteY7" fmla="*/ 271288 h 293244"/>
                <a:gd name="connsiteX8" fmla="*/ 165238 w 475131"/>
                <a:gd name="connsiteY8" fmla="*/ 272551 h 293244"/>
                <a:gd name="connsiteX9" fmla="*/ 170602 w 475131"/>
                <a:gd name="connsiteY9" fmla="*/ 258092 h 293244"/>
                <a:gd name="connsiteX10" fmla="*/ 145695 w 475131"/>
                <a:gd name="connsiteY10" fmla="*/ 245880 h 293244"/>
                <a:gd name="connsiteX11" fmla="*/ 133204 w 475131"/>
                <a:gd name="connsiteY11" fmla="*/ 252970 h 293244"/>
                <a:gd name="connsiteX12" fmla="*/ 132666 w 475131"/>
                <a:gd name="connsiteY12" fmla="*/ 270917 h 293244"/>
                <a:gd name="connsiteX13" fmla="*/ 109076 w 475131"/>
                <a:gd name="connsiteY13" fmla="*/ 283185 h 293244"/>
                <a:gd name="connsiteX14" fmla="*/ 82814 w 475131"/>
                <a:gd name="connsiteY14" fmla="*/ 230383 h 293244"/>
                <a:gd name="connsiteX15" fmla="*/ 11526 w 475131"/>
                <a:gd name="connsiteY15" fmla="*/ 103100 h 293244"/>
                <a:gd name="connsiteX16" fmla="*/ 2784 w 475131"/>
                <a:gd name="connsiteY16" fmla="*/ 90887 h 293244"/>
                <a:gd name="connsiteX17" fmla="*/ 25167 w 475131"/>
                <a:gd name="connsiteY17" fmla="*/ 71158 h 293244"/>
                <a:gd name="connsiteX18" fmla="*/ 27320 w 475131"/>
                <a:gd name="connsiteY18" fmla="*/ 79324 h 293244"/>
                <a:gd name="connsiteX19" fmla="*/ 44878 w 475131"/>
                <a:gd name="connsiteY19" fmla="*/ 77394 h 293244"/>
                <a:gd name="connsiteX20" fmla="*/ 58482 w 475131"/>
                <a:gd name="connsiteY20" fmla="*/ 66723 h 293244"/>
                <a:gd name="connsiteX21" fmla="*/ 85691 w 475131"/>
                <a:gd name="connsiteY21" fmla="*/ 66630 h 293244"/>
                <a:gd name="connsiteX22" fmla="*/ 106812 w 475131"/>
                <a:gd name="connsiteY22" fmla="*/ 49666 h 293244"/>
                <a:gd name="connsiteX23" fmla="*/ 145231 w 475131"/>
                <a:gd name="connsiteY23" fmla="*/ 29102 h 293244"/>
                <a:gd name="connsiteX24" fmla="*/ 158316 w 475131"/>
                <a:gd name="connsiteY24" fmla="*/ 15108 h 293244"/>
                <a:gd name="connsiteX25" fmla="*/ 167985 w 475131"/>
                <a:gd name="connsiteY25" fmla="*/ 33129 h 293244"/>
                <a:gd name="connsiteX26" fmla="*/ 185209 w 475131"/>
                <a:gd name="connsiteY26" fmla="*/ 39755 h 293244"/>
                <a:gd name="connsiteX27" fmla="*/ 189273 w 475131"/>
                <a:gd name="connsiteY27" fmla="*/ 49313 h 293244"/>
                <a:gd name="connsiteX28" fmla="*/ 204214 w 475131"/>
                <a:gd name="connsiteY28" fmla="*/ 46938 h 293244"/>
                <a:gd name="connsiteX29" fmla="*/ 203936 w 475131"/>
                <a:gd name="connsiteY29" fmla="*/ 66537 h 293244"/>
                <a:gd name="connsiteX30" fmla="*/ 235562 w 475131"/>
                <a:gd name="connsiteY30" fmla="*/ 83612 h 293244"/>
                <a:gd name="connsiteX31" fmla="*/ 247069 w 475131"/>
                <a:gd name="connsiteY31" fmla="*/ 59670 h 293244"/>
                <a:gd name="connsiteX32" fmla="*/ 268357 w 475131"/>
                <a:gd name="connsiteY32" fmla="*/ 38437 h 293244"/>
                <a:gd name="connsiteX33" fmla="*/ 278936 w 475131"/>
                <a:gd name="connsiteY33" fmla="*/ 46103 h 293244"/>
                <a:gd name="connsiteX34" fmla="*/ 286211 w 475131"/>
                <a:gd name="connsiteY34" fmla="*/ 33037 h 293244"/>
                <a:gd name="connsiteX35" fmla="*/ 320547 w 475131"/>
                <a:gd name="connsiteY35" fmla="*/ 24183 h 293244"/>
                <a:gd name="connsiteX36" fmla="*/ 329883 w 475131"/>
                <a:gd name="connsiteY36" fmla="*/ 29492 h 293244"/>
                <a:gd name="connsiteX37" fmla="*/ 340926 w 475131"/>
                <a:gd name="connsiteY37" fmla="*/ 13289 h 293244"/>
                <a:gd name="connsiteX38" fmla="*/ 358817 w 475131"/>
                <a:gd name="connsiteY38" fmla="*/ 2784 h 293244"/>
                <a:gd name="connsiteX39" fmla="*/ 376913 w 475131"/>
                <a:gd name="connsiteY39" fmla="*/ 20305 h 293244"/>
                <a:gd name="connsiteX40" fmla="*/ 384263 w 475131"/>
                <a:gd name="connsiteY40" fmla="*/ 18300 h 293244"/>
                <a:gd name="connsiteX41" fmla="*/ 411360 w 475131"/>
                <a:gd name="connsiteY41" fmla="*/ 33538 h 293244"/>
                <a:gd name="connsiteX42" fmla="*/ 431034 w 475131"/>
                <a:gd name="connsiteY42" fmla="*/ 61025 h 293244"/>
                <a:gd name="connsiteX43" fmla="*/ 445065 w 475131"/>
                <a:gd name="connsiteY43" fmla="*/ 69005 h 293244"/>
                <a:gd name="connsiteX44" fmla="*/ 458205 w 475131"/>
                <a:gd name="connsiteY44" fmla="*/ 66054 h 293244"/>
                <a:gd name="connsiteX45" fmla="*/ 445882 w 475131"/>
                <a:gd name="connsiteY45" fmla="*/ 90126 h 293244"/>
                <a:gd name="connsiteX46" fmla="*/ 465704 w 475131"/>
                <a:gd name="connsiteY46" fmla="*/ 97179 h 293244"/>
                <a:gd name="connsiteX47" fmla="*/ 460748 w 475131"/>
                <a:gd name="connsiteY47" fmla="*/ 114124 h 293244"/>
                <a:gd name="connsiteX48" fmla="*/ 473740 w 475131"/>
                <a:gd name="connsiteY48" fmla="*/ 131626 h 293244"/>
                <a:gd name="connsiteX49" fmla="*/ 457315 w 475131"/>
                <a:gd name="connsiteY49" fmla="*/ 129974 h 293244"/>
                <a:gd name="connsiteX50" fmla="*/ 448035 w 475131"/>
                <a:gd name="connsiteY50" fmla="*/ 151875 h 293244"/>
                <a:gd name="connsiteX51" fmla="*/ 458224 w 475131"/>
                <a:gd name="connsiteY51" fmla="*/ 157053 h 293244"/>
                <a:gd name="connsiteX52" fmla="*/ 457018 w 475131"/>
                <a:gd name="connsiteY52" fmla="*/ 170843 h 293244"/>
                <a:gd name="connsiteX53" fmla="*/ 441205 w 475131"/>
                <a:gd name="connsiteY53" fmla="*/ 178471 h 293244"/>
                <a:gd name="connsiteX54" fmla="*/ 415536 w 475131"/>
                <a:gd name="connsiteY54" fmla="*/ 177450 h 293244"/>
                <a:gd name="connsiteX55" fmla="*/ 407741 w 475131"/>
                <a:gd name="connsiteY55" fmla="*/ 203341 h 293244"/>
                <a:gd name="connsiteX56" fmla="*/ 397218 w 475131"/>
                <a:gd name="connsiteY56" fmla="*/ 206719 h 293244"/>
                <a:gd name="connsiteX57" fmla="*/ 383131 w 475131"/>
                <a:gd name="connsiteY57" fmla="*/ 225130 h 293244"/>
                <a:gd name="connsiteX58" fmla="*/ 371123 w 475131"/>
                <a:gd name="connsiteY58" fmla="*/ 224481 h 293244"/>
                <a:gd name="connsiteX59" fmla="*/ 340035 w 475131"/>
                <a:gd name="connsiteY59" fmla="*/ 243040 h 293244"/>
                <a:gd name="connsiteX60" fmla="*/ 321419 w 475131"/>
                <a:gd name="connsiteY60" fmla="*/ 259596 h 293244"/>
                <a:gd name="connsiteX61" fmla="*/ 347886 w 475131"/>
                <a:gd name="connsiteY61" fmla="*/ 265591 h 293244"/>
                <a:gd name="connsiteX62" fmla="*/ 350224 w 475131"/>
                <a:gd name="connsiteY62" fmla="*/ 285635 h 293244"/>
                <a:gd name="connsiteX63" fmla="*/ 326431 w 475131"/>
                <a:gd name="connsiteY63" fmla="*/ 291129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75131" h="293244">
                  <a:moveTo>
                    <a:pt x="326431" y="291129"/>
                  </a:moveTo>
                  <a:lnTo>
                    <a:pt x="311768" y="273887"/>
                  </a:lnTo>
                  <a:lnTo>
                    <a:pt x="290981" y="266147"/>
                  </a:lnTo>
                  <a:lnTo>
                    <a:pt x="255569" y="273479"/>
                  </a:lnTo>
                  <a:lnTo>
                    <a:pt x="240944" y="288567"/>
                  </a:lnTo>
                  <a:lnTo>
                    <a:pt x="202729" y="283594"/>
                  </a:lnTo>
                  <a:lnTo>
                    <a:pt x="187232" y="287751"/>
                  </a:lnTo>
                  <a:lnTo>
                    <a:pt x="183761" y="271288"/>
                  </a:lnTo>
                  <a:lnTo>
                    <a:pt x="165238" y="272551"/>
                  </a:lnTo>
                  <a:lnTo>
                    <a:pt x="170602" y="258092"/>
                  </a:lnTo>
                  <a:lnTo>
                    <a:pt x="145695" y="245880"/>
                  </a:lnTo>
                  <a:lnTo>
                    <a:pt x="133204" y="252970"/>
                  </a:lnTo>
                  <a:lnTo>
                    <a:pt x="132666" y="270917"/>
                  </a:lnTo>
                  <a:lnTo>
                    <a:pt x="109076" y="283185"/>
                  </a:lnTo>
                  <a:lnTo>
                    <a:pt x="82814" y="230383"/>
                  </a:lnTo>
                  <a:lnTo>
                    <a:pt x="11526" y="103100"/>
                  </a:lnTo>
                  <a:lnTo>
                    <a:pt x="2784" y="90887"/>
                  </a:lnTo>
                  <a:lnTo>
                    <a:pt x="25167" y="71158"/>
                  </a:lnTo>
                  <a:lnTo>
                    <a:pt x="27320" y="79324"/>
                  </a:lnTo>
                  <a:lnTo>
                    <a:pt x="44878" y="77394"/>
                  </a:lnTo>
                  <a:lnTo>
                    <a:pt x="58482" y="66723"/>
                  </a:lnTo>
                  <a:lnTo>
                    <a:pt x="85691" y="66630"/>
                  </a:lnTo>
                  <a:lnTo>
                    <a:pt x="106812" y="49666"/>
                  </a:lnTo>
                  <a:lnTo>
                    <a:pt x="145231" y="29102"/>
                  </a:lnTo>
                  <a:lnTo>
                    <a:pt x="158316" y="15108"/>
                  </a:lnTo>
                  <a:lnTo>
                    <a:pt x="167985" y="33129"/>
                  </a:lnTo>
                  <a:lnTo>
                    <a:pt x="185209" y="39755"/>
                  </a:lnTo>
                  <a:lnTo>
                    <a:pt x="189273" y="49313"/>
                  </a:lnTo>
                  <a:lnTo>
                    <a:pt x="204214" y="46938"/>
                  </a:lnTo>
                  <a:lnTo>
                    <a:pt x="203936" y="66537"/>
                  </a:lnTo>
                  <a:lnTo>
                    <a:pt x="235562" y="83612"/>
                  </a:lnTo>
                  <a:lnTo>
                    <a:pt x="247069" y="59670"/>
                  </a:lnTo>
                  <a:lnTo>
                    <a:pt x="268357" y="38437"/>
                  </a:lnTo>
                  <a:lnTo>
                    <a:pt x="278936" y="46103"/>
                  </a:lnTo>
                  <a:lnTo>
                    <a:pt x="286211" y="33037"/>
                  </a:lnTo>
                  <a:lnTo>
                    <a:pt x="320547" y="24183"/>
                  </a:lnTo>
                  <a:lnTo>
                    <a:pt x="329883" y="29492"/>
                  </a:lnTo>
                  <a:lnTo>
                    <a:pt x="340926" y="13289"/>
                  </a:lnTo>
                  <a:lnTo>
                    <a:pt x="358817" y="2784"/>
                  </a:lnTo>
                  <a:lnTo>
                    <a:pt x="376913" y="20305"/>
                  </a:lnTo>
                  <a:lnTo>
                    <a:pt x="384263" y="18300"/>
                  </a:lnTo>
                  <a:lnTo>
                    <a:pt x="411360" y="33538"/>
                  </a:lnTo>
                  <a:lnTo>
                    <a:pt x="431034" y="61025"/>
                  </a:lnTo>
                  <a:lnTo>
                    <a:pt x="445065" y="69005"/>
                  </a:lnTo>
                  <a:lnTo>
                    <a:pt x="458205" y="66054"/>
                  </a:lnTo>
                  <a:lnTo>
                    <a:pt x="445882" y="90126"/>
                  </a:lnTo>
                  <a:lnTo>
                    <a:pt x="465704" y="97179"/>
                  </a:lnTo>
                  <a:lnTo>
                    <a:pt x="460748" y="114124"/>
                  </a:lnTo>
                  <a:lnTo>
                    <a:pt x="473740" y="131626"/>
                  </a:lnTo>
                  <a:lnTo>
                    <a:pt x="457315" y="129974"/>
                  </a:lnTo>
                  <a:lnTo>
                    <a:pt x="448035" y="151875"/>
                  </a:lnTo>
                  <a:lnTo>
                    <a:pt x="458224" y="157053"/>
                  </a:lnTo>
                  <a:lnTo>
                    <a:pt x="457018" y="170843"/>
                  </a:lnTo>
                  <a:lnTo>
                    <a:pt x="441205" y="178471"/>
                  </a:lnTo>
                  <a:lnTo>
                    <a:pt x="415536" y="177450"/>
                  </a:lnTo>
                  <a:lnTo>
                    <a:pt x="407741" y="203341"/>
                  </a:lnTo>
                  <a:lnTo>
                    <a:pt x="397218" y="206719"/>
                  </a:lnTo>
                  <a:lnTo>
                    <a:pt x="383131" y="225130"/>
                  </a:lnTo>
                  <a:lnTo>
                    <a:pt x="371123" y="224481"/>
                  </a:lnTo>
                  <a:lnTo>
                    <a:pt x="340035" y="243040"/>
                  </a:lnTo>
                  <a:lnTo>
                    <a:pt x="321419" y="259596"/>
                  </a:lnTo>
                  <a:lnTo>
                    <a:pt x="347886" y="265591"/>
                  </a:lnTo>
                  <a:lnTo>
                    <a:pt x="350224" y="285635"/>
                  </a:lnTo>
                  <a:lnTo>
                    <a:pt x="326431" y="29112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207">
              <a:extLst>
                <a:ext uri="{FF2B5EF4-FFF2-40B4-BE49-F238E27FC236}">
                  <a16:creationId xmlns:a16="http://schemas.microsoft.com/office/drawing/2014/main" id="{FA0C115A-B827-4BC2-B31E-DE61FDFEAFA9}"/>
                </a:ext>
              </a:extLst>
            </p:cNvPr>
            <p:cNvSpPr/>
            <p:nvPr/>
          </p:nvSpPr>
          <p:spPr>
            <a:xfrm>
              <a:off x="3552038" y="4108566"/>
              <a:ext cx="701562" cy="697848"/>
            </a:xfrm>
            <a:custGeom>
              <a:avLst/>
              <a:gdLst>
                <a:gd name="connsiteX0" fmla="*/ 25186 w 701562"/>
                <a:gd name="connsiteY0" fmla="*/ 681552 h 697847"/>
                <a:gd name="connsiteX1" fmla="*/ 25761 w 701562"/>
                <a:gd name="connsiteY1" fmla="*/ 695918 h 697847"/>
                <a:gd name="connsiteX2" fmla="*/ 10301 w 701562"/>
                <a:gd name="connsiteY2" fmla="*/ 694971 h 697847"/>
                <a:gd name="connsiteX3" fmla="*/ 2784 w 701562"/>
                <a:gd name="connsiteY3" fmla="*/ 685116 h 697847"/>
                <a:gd name="connsiteX4" fmla="*/ 16166 w 701562"/>
                <a:gd name="connsiteY4" fmla="*/ 667688 h 697847"/>
                <a:gd name="connsiteX5" fmla="*/ 25186 w 701562"/>
                <a:gd name="connsiteY5" fmla="*/ 681552 h 697847"/>
                <a:gd name="connsiteX6" fmla="*/ 321419 w 701562"/>
                <a:gd name="connsiteY6" fmla="*/ 351237 h 697847"/>
                <a:gd name="connsiteX7" fmla="*/ 314608 w 701562"/>
                <a:gd name="connsiteY7" fmla="*/ 356572 h 697847"/>
                <a:gd name="connsiteX8" fmla="*/ 311490 w 701562"/>
                <a:gd name="connsiteY8" fmla="*/ 331558 h 697847"/>
                <a:gd name="connsiteX9" fmla="*/ 329326 w 701562"/>
                <a:gd name="connsiteY9" fmla="*/ 310010 h 697847"/>
                <a:gd name="connsiteX10" fmla="*/ 330773 w 701562"/>
                <a:gd name="connsiteY10" fmla="*/ 319134 h 697847"/>
                <a:gd name="connsiteX11" fmla="*/ 320176 w 701562"/>
                <a:gd name="connsiteY11" fmla="*/ 332725 h 697847"/>
                <a:gd name="connsiteX12" fmla="*/ 321419 w 701562"/>
                <a:gd name="connsiteY12" fmla="*/ 351237 h 697847"/>
                <a:gd name="connsiteX13" fmla="*/ 204028 w 701562"/>
                <a:gd name="connsiteY13" fmla="*/ 126691 h 697847"/>
                <a:gd name="connsiteX14" fmla="*/ 193653 w 701562"/>
                <a:gd name="connsiteY14" fmla="*/ 109631 h 697847"/>
                <a:gd name="connsiteX15" fmla="*/ 234244 w 701562"/>
                <a:gd name="connsiteY15" fmla="*/ 113382 h 697847"/>
                <a:gd name="connsiteX16" fmla="*/ 223442 w 701562"/>
                <a:gd name="connsiteY16" fmla="*/ 136361 h 697847"/>
                <a:gd name="connsiteX17" fmla="*/ 204028 w 701562"/>
                <a:gd name="connsiteY17" fmla="*/ 126691 h 697847"/>
                <a:gd name="connsiteX18" fmla="*/ 695437 w 701562"/>
                <a:gd name="connsiteY18" fmla="*/ 445657 h 697847"/>
                <a:gd name="connsiteX19" fmla="*/ 676803 w 701562"/>
                <a:gd name="connsiteY19" fmla="*/ 462231 h 697847"/>
                <a:gd name="connsiteX20" fmla="*/ 669639 w 701562"/>
                <a:gd name="connsiteY20" fmla="*/ 459967 h 697847"/>
                <a:gd name="connsiteX21" fmla="*/ 669658 w 701562"/>
                <a:gd name="connsiteY21" fmla="*/ 438716 h 697847"/>
                <a:gd name="connsiteX22" fmla="*/ 699520 w 701562"/>
                <a:gd name="connsiteY22" fmla="*/ 433956 h 697847"/>
                <a:gd name="connsiteX23" fmla="*/ 696440 w 701562"/>
                <a:gd name="connsiteY23" fmla="*/ 441259 h 697847"/>
                <a:gd name="connsiteX24" fmla="*/ 695437 w 701562"/>
                <a:gd name="connsiteY24" fmla="*/ 445657 h 697847"/>
                <a:gd name="connsiteX25" fmla="*/ 354604 w 701562"/>
                <a:gd name="connsiteY25" fmla="*/ 233701 h 697847"/>
                <a:gd name="connsiteX26" fmla="*/ 356367 w 701562"/>
                <a:gd name="connsiteY26" fmla="*/ 201956 h 697847"/>
                <a:gd name="connsiteX27" fmla="*/ 352934 w 701562"/>
                <a:gd name="connsiteY27" fmla="*/ 142972 h 697847"/>
                <a:gd name="connsiteX28" fmla="*/ 362121 w 701562"/>
                <a:gd name="connsiteY28" fmla="*/ 115147 h 697847"/>
                <a:gd name="connsiteX29" fmla="*/ 375317 w 701562"/>
                <a:gd name="connsiteY29" fmla="*/ 123252 h 697847"/>
                <a:gd name="connsiteX30" fmla="*/ 380161 w 701562"/>
                <a:gd name="connsiteY30" fmla="*/ 159050 h 697847"/>
                <a:gd name="connsiteX31" fmla="*/ 381405 w 701562"/>
                <a:gd name="connsiteY31" fmla="*/ 140143 h 697847"/>
                <a:gd name="connsiteX32" fmla="*/ 390351 w 701562"/>
                <a:gd name="connsiteY32" fmla="*/ 126815 h 697847"/>
                <a:gd name="connsiteX33" fmla="*/ 409152 w 701562"/>
                <a:gd name="connsiteY33" fmla="*/ 143384 h 697847"/>
                <a:gd name="connsiteX34" fmla="*/ 420195 w 701562"/>
                <a:gd name="connsiteY34" fmla="*/ 143326 h 697847"/>
                <a:gd name="connsiteX35" fmla="*/ 430997 w 701562"/>
                <a:gd name="connsiteY35" fmla="*/ 157766 h 697847"/>
                <a:gd name="connsiteX36" fmla="*/ 430885 w 701562"/>
                <a:gd name="connsiteY36" fmla="*/ 173092 h 697847"/>
                <a:gd name="connsiteX37" fmla="*/ 451023 w 701562"/>
                <a:gd name="connsiteY37" fmla="*/ 176691 h 697847"/>
                <a:gd name="connsiteX38" fmla="*/ 459931 w 701562"/>
                <a:gd name="connsiteY38" fmla="*/ 168473 h 697847"/>
                <a:gd name="connsiteX39" fmla="*/ 460247 w 701562"/>
                <a:gd name="connsiteY39" fmla="*/ 181177 h 697847"/>
                <a:gd name="connsiteX40" fmla="*/ 475651 w 701562"/>
                <a:gd name="connsiteY40" fmla="*/ 171073 h 697847"/>
                <a:gd name="connsiteX41" fmla="*/ 479029 w 701562"/>
                <a:gd name="connsiteY41" fmla="*/ 181591 h 697847"/>
                <a:gd name="connsiteX42" fmla="*/ 460655 w 701562"/>
                <a:gd name="connsiteY42" fmla="*/ 183666 h 697847"/>
                <a:gd name="connsiteX43" fmla="*/ 451171 w 701562"/>
                <a:gd name="connsiteY43" fmla="*/ 177521 h 697847"/>
                <a:gd name="connsiteX44" fmla="*/ 426839 w 701562"/>
                <a:gd name="connsiteY44" fmla="*/ 179690 h 697847"/>
                <a:gd name="connsiteX45" fmla="*/ 416928 w 701562"/>
                <a:gd name="connsiteY45" fmla="*/ 192320 h 697847"/>
                <a:gd name="connsiteX46" fmla="*/ 380885 w 701562"/>
                <a:gd name="connsiteY46" fmla="*/ 211663 h 697847"/>
                <a:gd name="connsiteX47" fmla="*/ 368543 w 701562"/>
                <a:gd name="connsiteY47" fmla="*/ 235735 h 697847"/>
                <a:gd name="connsiteX48" fmla="*/ 354604 w 701562"/>
                <a:gd name="connsiteY48" fmla="*/ 233701 h 697847"/>
                <a:gd name="connsiteX49" fmla="*/ 226597 w 701562"/>
                <a:gd name="connsiteY49" fmla="*/ 156266 h 697847"/>
                <a:gd name="connsiteX50" fmla="*/ 242725 w 701562"/>
                <a:gd name="connsiteY50" fmla="*/ 123937 h 697847"/>
                <a:gd name="connsiteX51" fmla="*/ 247625 w 701562"/>
                <a:gd name="connsiteY51" fmla="*/ 95943 h 697847"/>
                <a:gd name="connsiteX52" fmla="*/ 280198 w 701562"/>
                <a:gd name="connsiteY52" fmla="*/ 81409 h 697847"/>
                <a:gd name="connsiteX53" fmla="*/ 297737 w 701562"/>
                <a:gd name="connsiteY53" fmla="*/ 100730 h 697847"/>
                <a:gd name="connsiteX54" fmla="*/ 295361 w 701562"/>
                <a:gd name="connsiteY54" fmla="*/ 85800 h 697847"/>
                <a:gd name="connsiteX55" fmla="*/ 304474 w 701562"/>
                <a:gd name="connsiteY55" fmla="*/ 84347 h 697847"/>
                <a:gd name="connsiteX56" fmla="*/ 322310 w 701562"/>
                <a:gd name="connsiteY56" fmla="*/ 100219 h 697847"/>
                <a:gd name="connsiteX57" fmla="*/ 323498 w 701562"/>
                <a:gd name="connsiteY57" fmla="*/ 107684 h 697847"/>
                <a:gd name="connsiteX58" fmla="*/ 328658 w 701562"/>
                <a:gd name="connsiteY58" fmla="*/ 140032 h 697847"/>
                <a:gd name="connsiteX59" fmla="*/ 321326 w 701562"/>
                <a:gd name="connsiteY59" fmla="*/ 142049 h 697847"/>
                <a:gd name="connsiteX60" fmla="*/ 341334 w 701562"/>
                <a:gd name="connsiteY60" fmla="*/ 160975 h 697847"/>
                <a:gd name="connsiteX61" fmla="*/ 337511 w 701562"/>
                <a:gd name="connsiteY61" fmla="*/ 174339 h 697847"/>
                <a:gd name="connsiteX62" fmla="*/ 313420 w 701562"/>
                <a:gd name="connsiteY62" fmla="*/ 183276 h 697847"/>
                <a:gd name="connsiteX63" fmla="*/ 295807 w 701562"/>
                <a:gd name="connsiteY63" fmla="*/ 174172 h 697847"/>
                <a:gd name="connsiteX64" fmla="*/ 268153 w 701562"/>
                <a:gd name="connsiteY64" fmla="*/ 176869 h 697847"/>
                <a:gd name="connsiteX65" fmla="*/ 255124 w 701562"/>
                <a:gd name="connsiteY65" fmla="*/ 164484 h 697847"/>
                <a:gd name="connsiteX66" fmla="*/ 250428 w 701562"/>
                <a:gd name="connsiteY66" fmla="*/ 145672 h 697847"/>
                <a:gd name="connsiteX67" fmla="*/ 241482 w 701562"/>
                <a:gd name="connsiteY67" fmla="*/ 142844 h 697847"/>
                <a:gd name="connsiteX68" fmla="*/ 226597 w 701562"/>
                <a:gd name="connsiteY68" fmla="*/ 156266 h 697847"/>
                <a:gd name="connsiteX69" fmla="*/ 273721 w 701562"/>
                <a:gd name="connsiteY69" fmla="*/ 78185 h 697847"/>
                <a:gd name="connsiteX70" fmla="*/ 241556 w 701562"/>
                <a:gd name="connsiteY70" fmla="*/ 95208 h 697847"/>
                <a:gd name="connsiteX71" fmla="*/ 237028 w 701562"/>
                <a:gd name="connsiteY71" fmla="*/ 109534 h 697847"/>
                <a:gd name="connsiteX72" fmla="*/ 199314 w 701562"/>
                <a:gd name="connsiteY72" fmla="*/ 91723 h 697847"/>
                <a:gd name="connsiteX73" fmla="*/ 201226 w 701562"/>
                <a:gd name="connsiteY73" fmla="*/ 76962 h 697847"/>
                <a:gd name="connsiteX74" fmla="*/ 211341 w 701562"/>
                <a:gd name="connsiteY74" fmla="*/ 71099 h 697847"/>
                <a:gd name="connsiteX75" fmla="*/ 213587 w 701562"/>
                <a:gd name="connsiteY75" fmla="*/ 47780 h 697847"/>
                <a:gd name="connsiteX76" fmla="*/ 204028 w 701562"/>
                <a:gd name="connsiteY76" fmla="*/ 51852 h 697847"/>
                <a:gd name="connsiteX77" fmla="*/ 207907 w 701562"/>
                <a:gd name="connsiteY77" fmla="*/ 33380 h 697847"/>
                <a:gd name="connsiteX78" fmla="*/ 185413 w 701562"/>
                <a:gd name="connsiteY78" fmla="*/ 31004 h 697847"/>
                <a:gd name="connsiteX79" fmla="*/ 168542 w 701562"/>
                <a:gd name="connsiteY79" fmla="*/ 31986 h 697847"/>
                <a:gd name="connsiteX80" fmla="*/ 168059 w 701562"/>
                <a:gd name="connsiteY80" fmla="*/ 23560 h 697847"/>
                <a:gd name="connsiteX81" fmla="*/ 184782 w 701562"/>
                <a:gd name="connsiteY81" fmla="*/ 21748 h 697847"/>
                <a:gd name="connsiteX82" fmla="*/ 207072 w 701562"/>
                <a:gd name="connsiteY82" fmla="*/ 33512 h 697847"/>
                <a:gd name="connsiteX83" fmla="*/ 226541 w 701562"/>
                <a:gd name="connsiteY83" fmla="*/ 16808 h 697847"/>
                <a:gd name="connsiteX84" fmla="*/ 234504 w 701562"/>
                <a:gd name="connsiteY84" fmla="*/ 2784 h 697847"/>
                <a:gd name="connsiteX85" fmla="*/ 256423 w 701562"/>
                <a:gd name="connsiteY85" fmla="*/ 28213 h 697847"/>
                <a:gd name="connsiteX86" fmla="*/ 272774 w 701562"/>
                <a:gd name="connsiteY86" fmla="*/ 40069 h 697847"/>
                <a:gd name="connsiteX87" fmla="*/ 264570 w 701562"/>
                <a:gd name="connsiteY87" fmla="*/ 47326 h 697847"/>
                <a:gd name="connsiteX88" fmla="*/ 273721 w 701562"/>
                <a:gd name="connsiteY88" fmla="*/ 78185 h 697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701562" h="697847">
                  <a:moveTo>
                    <a:pt x="25186" y="681552"/>
                  </a:moveTo>
                  <a:lnTo>
                    <a:pt x="25761" y="695918"/>
                  </a:lnTo>
                  <a:lnTo>
                    <a:pt x="10301" y="694971"/>
                  </a:lnTo>
                  <a:lnTo>
                    <a:pt x="2784" y="685116"/>
                  </a:lnTo>
                  <a:lnTo>
                    <a:pt x="16166" y="667688"/>
                  </a:lnTo>
                  <a:lnTo>
                    <a:pt x="25186" y="681552"/>
                  </a:lnTo>
                  <a:close/>
                  <a:moveTo>
                    <a:pt x="321419" y="351237"/>
                  </a:moveTo>
                  <a:lnTo>
                    <a:pt x="314608" y="356572"/>
                  </a:lnTo>
                  <a:lnTo>
                    <a:pt x="311490" y="331558"/>
                  </a:lnTo>
                  <a:lnTo>
                    <a:pt x="329326" y="310010"/>
                  </a:lnTo>
                  <a:lnTo>
                    <a:pt x="330773" y="319134"/>
                  </a:lnTo>
                  <a:lnTo>
                    <a:pt x="320176" y="332725"/>
                  </a:lnTo>
                  <a:lnTo>
                    <a:pt x="321419" y="351237"/>
                  </a:lnTo>
                  <a:close/>
                  <a:moveTo>
                    <a:pt x="204028" y="126691"/>
                  </a:moveTo>
                  <a:lnTo>
                    <a:pt x="193653" y="109631"/>
                  </a:lnTo>
                  <a:lnTo>
                    <a:pt x="234244" y="113382"/>
                  </a:lnTo>
                  <a:lnTo>
                    <a:pt x="223442" y="136361"/>
                  </a:lnTo>
                  <a:lnTo>
                    <a:pt x="204028" y="126691"/>
                  </a:lnTo>
                  <a:close/>
                  <a:moveTo>
                    <a:pt x="695437" y="445657"/>
                  </a:moveTo>
                  <a:lnTo>
                    <a:pt x="676803" y="462231"/>
                  </a:lnTo>
                  <a:lnTo>
                    <a:pt x="669639" y="459967"/>
                  </a:lnTo>
                  <a:lnTo>
                    <a:pt x="669658" y="438716"/>
                  </a:lnTo>
                  <a:lnTo>
                    <a:pt x="699520" y="433956"/>
                  </a:lnTo>
                  <a:lnTo>
                    <a:pt x="696440" y="441259"/>
                  </a:lnTo>
                  <a:lnTo>
                    <a:pt x="695437" y="445657"/>
                  </a:lnTo>
                  <a:close/>
                  <a:moveTo>
                    <a:pt x="354604" y="233701"/>
                  </a:moveTo>
                  <a:lnTo>
                    <a:pt x="356367" y="201956"/>
                  </a:lnTo>
                  <a:lnTo>
                    <a:pt x="352934" y="142972"/>
                  </a:lnTo>
                  <a:lnTo>
                    <a:pt x="362121" y="115147"/>
                  </a:lnTo>
                  <a:lnTo>
                    <a:pt x="375317" y="123252"/>
                  </a:lnTo>
                  <a:lnTo>
                    <a:pt x="380161" y="159050"/>
                  </a:lnTo>
                  <a:lnTo>
                    <a:pt x="381405" y="140143"/>
                  </a:lnTo>
                  <a:lnTo>
                    <a:pt x="390351" y="126815"/>
                  </a:lnTo>
                  <a:lnTo>
                    <a:pt x="409152" y="143384"/>
                  </a:lnTo>
                  <a:lnTo>
                    <a:pt x="420195" y="143326"/>
                  </a:lnTo>
                  <a:lnTo>
                    <a:pt x="430997" y="157766"/>
                  </a:lnTo>
                  <a:lnTo>
                    <a:pt x="430885" y="173092"/>
                  </a:lnTo>
                  <a:lnTo>
                    <a:pt x="451023" y="176691"/>
                  </a:lnTo>
                  <a:lnTo>
                    <a:pt x="459931" y="168473"/>
                  </a:lnTo>
                  <a:lnTo>
                    <a:pt x="460247" y="181177"/>
                  </a:lnTo>
                  <a:lnTo>
                    <a:pt x="475651" y="171073"/>
                  </a:lnTo>
                  <a:lnTo>
                    <a:pt x="479029" y="181591"/>
                  </a:lnTo>
                  <a:lnTo>
                    <a:pt x="460655" y="183666"/>
                  </a:lnTo>
                  <a:lnTo>
                    <a:pt x="451171" y="177521"/>
                  </a:lnTo>
                  <a:lnTo>
                    <a:pt x="426839" y="179690"/>
                  </a:lnTo>
                  <a:lnTo>
                    <a:pt x="416928" y="192320"/>
                  </a:lnTo>
                  <a:lnTo>
                    <a:pt x="380885" y="211663"/>
                  </a:lnTo>
                  <a:lnTo>
                    <a:pt x="368543" y="235735"/>
                  </a:lnTo>
                  <a:lnTo>
                    <a:pt x="354604" y="233701"/>
                  </a:lnTo>
                  <a:close/>
                  <a:moveTo>
                    <a:pt x="226597" y="156266"/>
                  </a:moveTo>
                  <a:lnTo>
                    <a:pt x="242725" y="123937"/>
                  </a:lnTo>
                  <a:lnTo>
                    <a:pt x="247625" y="95943"/>
                  </a:lnTo>
                  <a:lnTo>
                    <a:pt x="280198" y="81409"/>
                  </a:lnTo>
                  <a:lnTo>
                    <a:pt x="297737" y="100730"/>
                  </a:lnTo>
                  <a:lnTo>
                    <a:pt x="295361" y="85800"/>
                  </a:lnTo>
                  <a:lnTo>
                    <a:pt x="304474" y="84347"/>
                  </a:lnTo>
                  <a:lnTo>
                    <a:pt x="322310" y="100219"/>
                  </a:lnTo>
                  <a:lnTo>
                    <a:pt x="323498" y="107684"/>
                  </a:lnTo>
                  <a:lnTo>
                    <a:pt x="328658" y="140032"/>
                  </a:lnTo>
                  <a:lnTo>
                    <a:pt x="321326" y="142049"/>
                  </a:lnTo>
                  <a:lnTo>
                    <a:pt x="341334" y="160975"/>
                  </a:lnTo>
                  <a:lnTo>
                    <a:pt x="337511" y="174339"/>
                  </a:lnTo>
                  <a:lnTo>
                    <a:pt x="313420" y="183276"/>
                  </a:lnTo>
                  <a:lnTo>
                    <a:pt x="295807" y="174172"/>
                  </a:lnTo>
                  <a:lnTo>
                    <a:pt x="268153" y="176869"/>
                  </a:lnTo>
                  <a:lnTo>
                    <a:pt x="255124" y="164484"/>
                  </a:lnTo>
                  <a:lnTo>
                    <a:pt x="250428" y="145672"/>
                  </a:lnTo>
                  <a:lnTo>
                    <a:pt x="241482" y="142844"/>
                  </a:lnTo>
                  <a:lnTo>
                    <a:pt x="226597" y="156266"/>
                  </a:lnTo>
                  <a:close/>
                  <a:moveTo>
                    <a:pt x="273721" y="78185"/>
                  </a:moveTo>
                  <a:lnTo>
                    <a:pt x="241556" y="95208"/>
                  </a:lnTo>
                  <a:lnTo>
                    <a:pt x="237028" y="109534"/>
                  </a:lnTo>
                  <a:lnTo>
                    <a:pt x="199314" y="91723"/>
                  </a:lnTo>
                  <a:lnTo>
                    <a:pt x="201226" y="76962"/>
                  </a:lnTo>
                  <a:lnTo>
                    <a:pt x="211341" y="71099"/>
                  </a:lnTo>
                  <a:lnTo>
                    <a:pt x="213587" y="47780"/>
                  </a:lnTo>
                  <a:lnTo>
                    <a:pt x="204028" y="51852"/>
                  </a:lnTo>
                  <a:lnTo>
                    <a:pt x="207907" y="33380"/>
                  </a:lnTo>
                  <a:lnTo>
                    <a:pt x="185413" y="31004"/>
                  </a:lnTo>
                  <a:lnTo>
                    <a:pt x="168542" y="31986"/>
                  </a:lnTo>
                  <a:lnTo>
                    <a:pt x="168059" y="23560"/>
                  </a:lnTo>
                  <a:lnTo>
                    <a:pt x="184782" y="21748"/>
                  </a:lnTo>
                  <a:lnTo>
                    <a:pt x="207072" y="33512"/>
                  </a:lnTo>
                  <a:lnTo>
                    <a:pt x="226541" y="16808"/>
                  </a:lnTo>
                  <a:lnTo>
                    <a:pt x="234504" y="2784"/>
                  </a:lnTo>
                  <a:lnTo>
                    <a:pt x="256423" y="28213"/>
                  </a:lnTo>
                  <a:lnTo>
                    <a:pt x="272774" y="40069"/>
                  </a:lnTo>
                  <a:lnTo>
                    <a:pt x="264570" y="47326"/>
                  </a:lnTo>
                  <a:lnTo>
                    <a:pt x="273721" y="78185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208">
              <a:extLst>
                <a:ext uri="{FF2B5EF4-FFF2-40B4-BE49-F238E27FC236}">
                  <a16:creationId xmlns:a16="http://schemas.microsoft.com/office/drawing/2014/main" id="{3FB15024-AC5A-4120-A932-A21BF89469F1}"/>
                </a:ext>
              </a:extLst>
            </p:cNvPr>
            <p:cNvSpPr/>
            <p:nvPr/>
          </p:nvSpPr>
          <p:spPr>
            <a:xfrm>
              <a:off x="4010002" y="6150123"/>
              <a:ext cx="512252" cy="360060"/>
            </a:xfrm>
            <a:custGeom>
              <a:avLst/>
              <a:gdLst>
                <a:gd name="connsiteX0" fmla="*/ 364738 w 512251"/>
                <a:gd name="connsiteY0" fmla="*/ 11563 h 360059"/>
                <a:gd name="connsiteX1" fmla="*/ 371846 w 512251"/>
                <a:gd name="connsiteY1" fmla="*/ 2784 h 360059"/>
                <a:gd name="connsiteX2" fmla="*/ 396141 w 512251"/>
                <a:gd name="connsiteY2" fmla="*/ 5717 h 360059"/>
                <a:gd name="connsiteX3" fmla="*/ 414274 w 512251"/>
                <a:gd name="connsiteY3" fmla="*/ 18133 h 360059"/>
                <a:gd name="connsiteX4" fmla="*/ 432389 w 512251"/>
                <a:gd name="connsiteY4" fmla="*/ 14402 h 360059"/>
                <a:gd name="connsiteX5" fmla="*/ 449222 w 512251"/>
                <a:gd name="connsiteY5" fmla="*/ 18541 h 360059"/>
                <a:gd name="connsiteX6" fmla="*/ 453157 w 512251"/>
                <a:gd name="connsiteY6" fmla="*/ 27264 h 360059"/>
                <a:gd name="connsiteX7" fmla="*/ 471179 w 512251"/>
                <a:gd name="connsiteY7" fmla="*/ 17595 h 360059"/>
                <a:gd name="connsiteX8" fmla="*/ 488736 w 512251"/>
                <a:gd name="connsiteY8" fmla="*/ 15646 h 360059"/>
                <a:gd name="connsiteX9" fmla="*/ 501802 w 512251"/>
                <a:gd name="connsiteY9" fmla="*/ 22921 h 360059"/>
                <a:gd name="connsiteX10" fmla="*/ 486825 w 512251"/>
                <a:gd name="connsiteY10" fmla="*/ 30401 h 360059"/>
                <a:gd name="connsiteX11" fmla="*/ 493061 w 512251"/>
                <a:gd name="connsiteY11" fmla="*/ 48126 h 360059"/>
                <a:gd name="connsiteX12" fmla="*/ 484597 w 512251"/>
                <a:gd name="connsiteY12" fmla="*/ 69878 h 360059"/>
                <a:gd name="connsiteX13" fmla="*/ 489070 w 512251"/>
                <a:gd name="connsiteY13" fmla="*/ 81923 h 360059"/>
                <a:gd name="connsiteX14" fmla="*/ 506034 w 512251"/>
                <a:gd name="connsiteY14" fmla="*/ 86878 h 360059"/>
                <a:gd name="connsiteX15" fmla="*/ 497942 w 512251"/>
                <a:gd name="connsiteY15" fmla="*/ 116240 h 360059"/>
                <a:gd name="connsiteX16" fmla="*/ 485711 w 512251"/>
                <a:gd name="connsiteY16" fmla="*/ 124982 h 360059"/>
                <a:gd name="connsiteX17" fmla="*/ 485303 w 512251"/>
                <a:gd name="connsiteY17" fmla="*/ 143764 h 360059"/>
                <a:gd name="connsiteX18" fmla="*/ 477266 w 512251"/>
                <a:gd name="connsiteY18" fmla="*/ 146734 h 360059"/>
                <a:gd name="connsiteX19" fmla="*/ 474649 w 512251"/>
                <a:gd name="connsiteY19" fmla="*/ 183723 h 360059"/>
                <a:gd name="connsiteX20" fmla="*/ 493543 w 512251"/>
                <a:gd name="connsiteY20" fmla="*/ 206236 h 360059"/>
                <a:gd name="connsiteX21" fmla="*/ 510359 w 512251"/>
                <a:gd name="connsiteY21" fmla="*/ 210357 h 360059"/>
                <a:gd name="connsiteX22" fmla="*/ 509950 w 512251"/>
                <a:gd name="connsiteY22" fmla="*/ 245286 h 360059"/>
                <a:gd name="connsiteX23" fmla="*/ 475837 w 512251"/>
                <a:gd name="connsiteY23" fmla="*/ 282183 h 360059"/>
                <a:gd name="connsiteX24" fmla="*/ 455310 w 512251"/>
                <a:gd name="connsiteY24" fmla="*/ 276095 h 360059"/>
                <a:gd name="connsiteX25" fmla="*/ 424315 w 512251"/>
                <a:gd name="connsiteY25" fmla="*/ 284429 h 360059"/>
                <a:gd name="connsiteX26" fmla="*/ 395046 w 512251"/>
                <a:gd name="connsiteY26" fmla="*/ 282276 h 360059"/>
                <a:gd name="connsiteX27" fmla="*/ 379344 w 512251"/>
                <a:gd name="connsiteY27" fmla="*/ 295824 h 360059"/>
                <a:gd name="connsiteX28" fmla="*/ 355012 w 512251"/>
                <a:gd name="connsiteY28" fmla="*/ 297996 h 360059"/>
                <a:gd name="connsiteX29" fmla="*/ 345658 w 512251"/>
                <a:gd name="connsiteY29" fmla="*/ 292688 h 360059"/>
                <a:gd name="connsiteX30" fmla="*/ 330421 w 512251"/>
                <a:gd name="connsiteY30" fmla="*/ 298516 h 360059"/>
                <a:gd name="connsiteX31" fmla="*/ 311323 w 512251"/>
                <a:gd name="connsiteY31" fmla="*/ 285394 h 360059"/>
                <a:gd name="connsiteX32" fmla="*/ 301115 w 512251"/>
                <a:gd name="connsiteY32" fmla="*/ 264050 h 360059"/>
                <a:gd name="connsiteX33" fmla="*/ 236397 w 512251"/>
                <a:gd name="connsiteY33" fmla="*/ 274351 h 360059"/>
                <a:gd name="connsiteX34" fmla="*/ 231237 w 512251"/>
                <a:gd name="connsiteY34" fmla="*/ 263270 h 360059"/>
                <a:gd name="connsiteX35" fmla="*/ 216927 w 512251"/>
                <a:gd name="connsiteY35" fmla="*/ 274889 h 360059"/>
                <a:gd name="connsiteX36" fmla="*/ 195992 w 512251"/>
                <a:gd name="connsiteY36" fmla="*/ 266314 h 360059"/>
                <a:gd name="connsiteX37" fmla="*/ 191203 w 512251"/>
                <a:gd name="connsiteY37" fmla="*/ 278991 h 360059"/>
                <a:gd name="connsiteX38" fmla="*/ 169767 w 512251"/>
                <a:gd name="connsiteY38" fmla="*/ 283241 h 360059"/>
                <a:gd name="connsiteX39" fmla="*/ 154975 w 512251"/>
                <a:gd name="connsiteY39" fmla="*/ 302617 h 360059"/>
                <a:gd name="connsiteX40" fmla="*/ 134763 w 512251"/>
                <a:gd name="connsiteY40" fmla="*/ 309225 h 360059"/>
                <a:gd name="connsiteX41" fmla="*/ 120713 w 512251"/>
                <a:gd name="connsiteY41" fmla="*/ 322513 h 360059"/>
                <a:gd name="connsiteX42" fmla="*/ 88122 w 512251"/>
                <a:gd name="connsiteY42" fmla="*/ 342168 h 360059"/>
                <a:gd name="connsiteX43" fmla="*/ 84577 w 512251"/>
                <a:gd name="connsiteY43" fmla="*/ 352079 h 360059"/>
                <a:gd name="connsiteX44" fmla="*/ 67818 w 512251"/>
                <a:gd name="connsiteY44" fmla="*/ 359002 h 360059"/>
                <a:gd name="connsiteX45" fmla="*/ 55902 w 512251"/>
                <a:gd name="connsiteY45" fmla="*/ 326875 h 360059"/>
                <a:gd name="connsiteX46" fmla="*/ 72532 w 512251"/>
                <a:gd name="connsiteY46" fmla="*/ 319136 h 360059"/>
                <a:gd name="connsiteX47" fmla="*/ 44302 w 512251"/>
                <a:gd name="connsiteY47" fmla="*/ 291296 h 360059"/>
                <a:gd name="connsiteX48" fmla="*/ 24369 w 512251"/>
                <a:gd name="connsiteY48" fmla="*/ 278323 h 360059"/>
                <a:gd name="connsiteX49" fmla="*/ 15869 w 512251"/>
                <a:gd name="connsiteY49" fmla="*/ 251615 h 360059"/>
                <a:gd name="connsiteX50" fmla="*/ 2784 w 512251"/>
                <a:gd name="connsiteY50" fmla="*/ 244321 h 360059"/>
                <a:gd name="connsiteX51" fmla="*/ 25798 w 512251"/>
                <a:gd name="connsiteY51" fmla="*/ 233872 h 360059"/>
                <a:gd name="connsiteX52" fmla="*/ 27821 w 512251"/>
                <a:gd name="connsiteY52" fmla="*/ 241203 h 360059"/>
                <a:gd name="connsiteX53" fmla="*/ 54102 w 512251"/>
                <a:gd name="connsiteY53" fmla="*/ 235320 h 360059"/>
                <a:gd name="connsiteX54" fmla="*/ 71065 w 512251"/>
                <a:gd name="connsiteY54" fmla="*/ 219005 h 360059"/>
                <a:gd name="connsiteX55" fmla="*/ 64421 w 512251"/>
                <a:gd name="connsiteY55" fmla="*/ 203916 h 360059"/>
                <a:gd name="connsiteX56" fmla="*/ 67688 w 512251"/>
                <a:gd name="connsiteY56" fmla="*/ 192335 h 360059"/>
                <a:gd name="connsiteX57" fmla="*/ 84447 w 512251"/>
                <a:gd name="connsiteY57" fmla="*/ 185412 h 360059"/>
                <a:gd name="connsiteX58" fmla="*/ 106701 w 512251"/>
                <a:gd name="connsiteY58" fmla="*/ 202283 h 360059"/>
                <a:gd name="connsiteX59" fmla="*/ 142372 w 512251"/>
                <a:gd name="connsiteY59" fmla="*/ 196604 h 360059"/>
                <a:gd name="connsiteX60" fmla="*/ 165832 w 512251"/>
                <a:gd name="connsiteY60" fmla="*/ 199685 h 360059"/>
                <a:gd name="connsiteX61" fmla="*/ 209151 w 512251"/>
                <a:gd name="connsiteY61" fmla="*/ 188549 h 360059"/>
                <a:gd name="connsiteX62" fmla="*/ 230346 w 512251"/>
                <a:gd name="connsiteY62" fmla="*/ 161359 h 360059"/>
                <a:gd name="connsiteX63" fmla="*/ 244786 w 512251"/>
                <a:gd name="connsiteY63" fmla="*/ 150557 h 360059"/>
                <a:gd name="connsiteX64" fmla="*/ 245472 w 512251"/>
                <a:gd name="connsiteY64" fmla="*/ 133445 h 360059"/>
                <a:gd name="connsiteX65" fmla="*/ 257443 w 512251"/>
                <a:gd name="connsiteY65" fmla="*/ 101763 h 360059"/>
                <a:gd name="connsiteX66" fmla="*/ 274500 w 512251"/>
                <a:gd name="connsiteY66" fmla="*/ 91407 h 360059"/>
                <a:gd name="connsiteX67" fmla="*/ 271419 w 512251"/>
                <a:gd name="connsiteY67" fmla="*/ 61284 h 360059"/>
                <a:gd name="connsiteX68" fmla="*/ 300836 w 512251"/>
                <a:gd name="connsiteY68" fmla="*/ 42985 h 360059"/>
                <a:gd name="connsiteX69" fmla="*/ 307555 w 512251"/>
                <a:gd name="connsiteY69" fmla="*/ 47866 h 360059"/>
                <a:gd name="connsiteX70" fmla="*/ 323702 w 512251"/>
                <a:gd name="connsiteY70" fmla="*/ 31700 h 360059"/>
                <a:gd name="connsiteX71" fmla="*/ 340833 w 512251"/>
                <a:gd name="connsiteY71" fmla="*/ 32368 h 360059"/>
                <a:gd name="connsiteX72" fmla="*/ 344656 w 512251"/>
                <a:gd name="connsiteY72" fmla="*/ 19005 h 360059"/>
                <a:gd name="connsiteX73" fmla="*/ 355662 w 512251"/>
                <a:gd name="connsiteY73" fmla="*/ 24054 h 360059"/>
                <a:gd name="connsiteX74" fmla="*/ 364738 w 512251"/>
                <a:gd name="connsiteY74" fmla="*/ 11563 h 360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12251" h="360059">
                  <a:moveTo>
                    <a:pt x="364738" y="11563"/>
                  </a:moveTo>
                  <a:lnTo>
                    <a:pt x="371846" y="2784"/>
                  </a:lnTo>
                  <a:lnTo>
                    <a:pt x="396141" y="5717"/>
                  </a:lnTo>
                  <a:lnTo>
                    <a:pt x="414274" y="18133"/>
                  </a:lnTo>
                  <a:lnTo>
                    <a:pt x="432389" y="14402"/>
                  </a:lnTo>
                  <a:lnTo>
                    <a:pt x="449222" y="18541"/>
                  </a:lnTo>
                  <a:lnTo>
                    <a:pt x="453157" y="27264"/>
                  </a:lnTo>
                  <a:lnTo>
                    <a:pt x="471179" y="17595"/>
                  </a:lnTo>
                  <a:lnTo>
                    <a:pt x="488736" y="15646"/>
                  </a:lnTo>
                  <a:lnTo>
                    <a:pt x="501802" y="22921"/>
                  </a:lnTo>
                  <a:lnTo>
                    <a:pt x="486825" y="30401"/>
                  </a:lnTo>
                  <a:lnTo>
                    <a:pt x="493061" y="48126"/>
                  </a:lnTo>
                  <a:lnTo>
                    <a:pt x="484597" y="69878"/>
                  </a:lnTo>
                  <a:lnTo>
                    <a:pt x="489070" y="81923"/>
                  </a:lnTo>
                  <a:lnTo>
                    <a:pt x="506034" y="86878"/>
                  </a:lnTo>
                  <a:lnTo>
                    <a:pt x="497942" y="116240"/>
                  </a:lnTo>
                  <a:lnTo>
                    <a:pt x="485711" y="124982"/>
                  </a:lnTo>
                  <a:lnTo>
                    <a:pt x="485303" y="143764"/>
                  </a:lnTo>
                  <a:lnTo>
                    <a:pt x="477266" y="146734"/>
                  </a:lnTo>
                  <a:lnTo>
                    <a:pt x="474649" y="183723"/>
                  </a:lnTo>
                  <a:lnTo>
                    <a:pt x="493543" y="206236"/>
                  </a:lnTo>
                  <a:lnTo>
                    <a:pt x="510359" y="210357"/>
                  </a:lnTo>
                  <a:lnTo>
                    <a:pt x="509950" y="245286"/>
                  </a:lnTo>
                  <a:lnTo>
                    <a:pt x="475837" y="282183"/>
                  </a:lnTo>
                  <a:lnTo>
                    <a:pt x="455310" y="276095"/>
                  </a:lnTo>
                  <a:lnTo>
                    <a:pt x="424315" y="284429"/>
                  </a:lnTo>
                  <a:lnTo>
                    <a:pt x="395046" y="282276"/>
                  </a:lnTo>
                  <a:lnTo>
                    <a:pt x="379344" y="295824"/>
                  </a:lnTo>
                  <a:lnTo>
                    <a:pt x="355012" y="297996"/>
                  </a:lnTo>
                  <a:lnTo>
                    <a:pt x="345658" y="292688"/>
                  </a:lnTo>
                  <a:lnTo>
                    <a:pt x="330421" y="298516"/>
                  </a:lnTo>
                  <a:lnTo>
                    <a:pt x="311323" y="285394"/>
                  </a:lnTo>
                  <a:lnTo>
                    <a:pt x="301115" y="264050"/>
                  </a:lnTo>
                  <a:lnTo>
                    <a:pt x="236397" y="274351"/>
                  </a:lnTo>
                  <a:lnTo>
                    <a:pt x="231237" y="263270"/>
                  </a:lnTo>
                  <a:lnTo>
                    <a:pt x="216927" y="274889"/>
                  </a:lnTo>
                  <a:lnTo>
                    <a:pt x="195992" y="266314"/>
                  </a:lnTo>
                  <a:lnTo>
                    <a:pt x="191203" y="278991"/>
                  </a:lnTo>
                  <a:lnTo>
                    <a:pt x="169767" y="283241"/>
                  </a:lnTo>
                  <a:lnTo>
                    <a:pt x="154975" y="302617"/>
                  </a:lnTo>
                  <a:lnTo>
                    <a:pt x="134763" y="309225"/>
                  </a:lnTo>
                  <a:lnTo>
                    <a:pt x="120713" y="322513"/>
                  </a:lnTo>
                  <a:lnTo>
                    <a:pt x="88122" y="342168"/>
                  </a:lnTo>
                  <a:lnTo>
                    <a:pt x="84577" y="352079"/>
                  </a:lnTo>
                  <a:lnTo>
                    <a:pt x="67818" y="359002"/>
                  </a:lnTo>
                  <a:lnTo>
                    <a:pt x="55902" y="326875"/>
                  </a:lnTo>
                  <a:lnTo>
                    <a:pt x="72532" y="319136"/>
                  </a:lnTo>
                  <a:lnTo>
                    <a:pt x="44302" y="291296"/>
                  </a:lnTo>
                  <a:lnTo>
                    <a:pt x="24369" y="278323"/>
                  </a:lnTo>
                  <a:lnTo>
                    <a:pt x="15869" y="251615"/>
                  </a:lnTo>
                  <a:lnTo>
                    <a:pt x="2784" y="244321"/>
                  </a:lnTo>
                  <a:lnTo>
                    <a:pt x="25798" y="233872"/>
                  </a:lnTo>
                  <a:lnTo>
                    <a:pt x="27821" y="241203"/>
                  </a:lnTo>
                  <a:lnTo>
                    <a:pt x="54102" y="235320"/>
                  </a:lnTo>
                  <a:lnTo>
                    <a:pt x="71065" y="219005"/>
                  </a:lnTo>
                  <a:lnTo>
                    <a:pt x="64421" y="203916"/>
                  </a:lnTo>
                  <a:lnTo>
                    <a:pt x="67688" y="192335"/>
                  </a:lnTo>
                  <a:lnTo>
                    <a:pt x="84447" y="185412"/>
                  </a:lnTo>
                  <a:lnTo>
                    <a:pt x="106701" y="202283"/>
                  </a:lnTo>
                  <a:lnTo>
                    <a:pt x="142372" y="196604"/>
                  </a:lnTo>
                  <a:lnTo>
                    <a:pt x="165832" y="199685"/>
                  </a:lnTo>
                  <a:lnTo>
                    <a:pt x="209151" y="188549"/>
                  </a:lnTo>
                  <a:lnTo>
                    <a:pt x="230346" y="161359"/>
                  </a:lnTo>
                  <a:lnTo>
                    <a:pt x="244786" y="150557"/>
                  </a:lnTo>
                  <a:lnTo>
                    <a:pt x="245472" y="133445"/>
                  </a:lnTo>
                  <a:lnTo>
                    <a:pt x="257443" y="101763"/>
                  </a:lnTo>
                  <a:lnTo>
                    <a:pt x="274500" y="91407"/>
                  </a:lnTo>
                  <a:lnTo>
                    <a:pt x="271419" y="61284"/>
                  </a:lnTo>
                  <a:lnTo>
                    <a:pt x="300836" y="42985"/>
                  </a:lnTo>
                  <a:lnTo>
                    <a:pt x="307555" y="47866"/>
                  </a:lnTo>
                  <a:lnTo>
                    <a:pt x="323702" y="31700"/>
                  </a:lnTo>
                  <a:lnTo>
                    <a:pt x="340833" y="32368"/>
                  </a:lnTo>
                  <a:lnTo>
                    <a:pt x="344656" y="19005"/>
                  </a:lnTo>
                  <a:lnTo>
                    <a:pt x="355662" y="24054"/>
                  </a:lnTo>
                  <a:lnTo>
                    <a:pt x="364738" y="1156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210">
              <a:extLst>
                <a:ext uri="{FF2B5EF4-FFF2-40B4-BE49-F238E27FC236}">
                  <a16:creationId xmlns:a16="http://schemas.microsoft.com/office/drawing/2014/main" id="{6BA53D33-EA72-4706-A1FC-E5B6334B55E7}"/>
                </a:ext>
              </a:extLst>
            </p:cNvPr>
            <p:cNvSpPr/>
            <p:nvPr/>
          </p:nvSpPr>
          <p:spPr>
            <a:xfrm>
              <a:off x="4988773" y="5390861"/>
              <a:ext cx="538235" cy="840758"/>
            </a:xfrm>
            <a:custGeom>
              <a:avLst/>
              <a:gdLst>
                <a:gd name="connsiteX0" fmla="*/ 151059 w 538235"/>
                <a:gd name="connsiteY0" fmla="*/ 2784 h 840758"/>
                <a:gd name="connsiteX1" fmla="*/ 172105 w 538235"/>
                <a:gd name="connsiteY1" fmla="*/ 33463 h 840758"/>
                <a:gd name="connsiteX2" fmla="*/ 183780 w 538235"/>
                <a:gd name="connsiteY2" fmla="*/ 42669 h 840758"/>
                <a:gd name="connsiteX3" fmla="*/ 194860 w 538235"/>
                <a:gd name="connsiteY3" fmla="*/ 37491 h 840758"/>
                <a:gd name="connsiteX4" fmla="*/ 220733 w 538235"/>
                <a:gd name="connsiteY4" fmla="*/ 50390 h 840758"/>
                <a:gd name="connsiteX5" fmla="*/ 226597 w 538235"/>
                <a:gd name="connsiteY5" fmla="*/ 60505 h 840758"/>
                <a:gd name="connsiteX6" fmla="*/ 240963 w 538235"/>
                <a:gd name="connsiteY6" fmla="*/ 59930 h 840758"/>
                <a:gd name="connsiteX7" fmla="*/ 238791 w 538235"/>
                <a:gd name="connsiteY7" fmla="*/ 73033 h 840758"/>
                <a:gd name="connsiteX8" fmla="*/ 262214 w 538235"/>
                <a:gd name="connsiteY8" fmla="*/ 81199 h 840758"/>
                <a:gd name="connsiteX9" fmla="*/ 275651 w 538235"/>
                <a:gd name="connsiteY9" fmla="*/ 74815 h 840758"/>
                <a:gd name="connsiteX10" fmla="*/ 292207 w 538235"/>
                <a:gd name="connsiteY10" fmla="*/ 77283 h 840758"/>
                <a:gd name="connsiteX11" fmla="*/ 282110 w 538235"/>
                <a:gd name="connsiteY11" fmla="*/ 99295 h 840758"/>
                <a:gd name="connsiteX12" fmla="*/ 299277 w 538235"/>
                <a:gd name="connsiteY12" fmla="*/ 111025 h 840758"/>
                <a:gd name="connsiteX13" fmla="*/ 320510 w 538235"/>
                <a:gd name="connsiteY13" fmla="*/ 78731 h 840758"/>
                <a:gd name="connsiteX14" fmla="*/ 328862 w 538235"/>
                <a:gd name="connsiteY14" fmla="*/ 72309 h 840758"/>
                <a:gd name="connsiteX15" fmla="*/ 343710 w 538235"/>
                <a:gd name="connsiteY15" fmla="*/ 80141 h 840758"/>
                <a:gd name="connsiteX16" fmla="*/ 359189 w 538235"/>
                <a:gd name="connsiteY16" fmla="*/ 97253 h 840758"/>
                <a:gd name="connsiteX17" fmla="*/ 372756 w 538235"/>
                <a:gd name="connsiteY17" fmla="*/ 75520 h 840758"/>
                <a:gd name="connsiteX18" fmla="*/ 382797 w 538235"/>
                <a:gd name="connsiteY18" fmla="*/ 79881 h 840758"/>
                <a:gd name="connsiteX19" fmla="*/ 404271 w 538235"/>
                <a:gd name="connsiteY19" fmla="*/ 107925 h 840758"/>
                <a:gd name="connsiteX20" fmla="*/ 403862 w 538235"/>
                <a:gd name="connsiteY20" fmla="*/ 126708 h 840758"/>
                <a:gd name="connsiteX21" fmla="*/ 413161 w 538235"/>
                <a:gd name="connsiteY21" fmla="*/ 120973 h 840758"/>
                <a:gd name="connsiteX22" fmla="*/ 426060 w 538235"/>
                <a:gd name="connsiteY22" fmla="*/ 132535 h 840758"/>
                <a:gd name="connsiteX23" fmla="*/ 438903 w 538235"/>
                <a:gd name="connsiteY23" fmla="*/ 133037 h 840758"/>
                <a:gd name="connsiteX24" fmla="*/ 424983 w 538235"/>
                <a:gd name="connsiteY24" fmla="*/ 147161 h 840758"/>
                <a:gd name="connsiteX25" fmla="*/ 441910 w 538235"/>
                <a:gd name="connsiteY25" fmla="*/ 173386 h 840758"/>
                <a:gd name="connsiteX26" fmla="*/ 460952 w 538235"/>
                <a:gd name="connsiteY26" fmla="*/ 175446 h 840758"/>
                <a:gd name="connsiteX27" fmla="*/ 485266 w 538235"/>
                <a:gd name="connsiteY27" fmla="*/ 194544 h 840758"/>
                <a:gd name="connsiteX28" fmla="*/ 461101 w 538235"/>
                <a:gd name="connsiteY28" fmla="*/ 229863 h 840758"/>
                <a:gd name="connsiteX29" fmla="*/ 449019 w 538235"/>
                <a:gd name="connsiteY29" fmla="*/ 239440 h 840758"/>
                <a:gd name="connsiteX30" fmla="*/ 445659 w 538235"/>
                <a:gd name="connsiteY30" fmla="*/ 282480 h 840758"/>
                <a:gd name="connsiteX31" fmla="*/ 441131 w 538235"/>
                <a:gd name="connsiteY31" fmla="*/ 296808 h 840758"/>
                <a:gd name="connsiteX32" fmla="*/ 449222 w 538235"/>
                <a:gd name="connsiteY32" fmla="*/ 304882 h 840758"/>
                <a:gd name="connsiteX33" fmla="*/ 462307 w 538235"/>
                <a:gd name="connsiteY33" fmla="*/ 290887 h 840758"/>
                <a:gd name="connsiteX34" fmla="*/ 477805 w 538235"/>
                <a:gd name="connsiteY34" fmla="*/ 286730 h 840758"/>
                <a:gd name="connsiteX35" fmla="*/ 483502 w 538235"/>
                <a:gd name="connsiteY35" fmla="*/ 301132 h 840758"/>
                <a:gd name="connsiteX36" fmla="*/ 500986 w 538235"/>
                <a:gd name="connsiteY36" fmla="*/ 309410 h 840758"/>
                <a:gd name="connsiteX37" fmla="*/ 502360 w 538235"/>
                <a:gd name="connsiteY37" fmla="*/ 328749 h 840758"/>
                <a:gd name="connsiteX38" fmla="*/ 494973 w 538235"/>
                <a:gd name="connsiteY38" fmla="*/ 357127 h 840758"/>
                <a:gd name="connsiteX39" fmla="*/ 508169 w 538235"/>
                <a:gd name="connsiteY39" fmla="*/ 402654 h 840758"/>
                <a:gd name="connsiteX40" fmla="*/ 506777 w 538235"/>
                <a:gd name="connsiteY40" fmla="*/ 420732 h 840758"/>
                <a:gd name="connsiteX41" fmla="*/ 513477 w 538235"/>
                <a:gd name="connsiteY41" fmla="*/ 430735 h 840758"/>
                <a:gd name="connsiteX42" fmla="*/ 515296 w 538235"/>
                <a:gd name="connsiteY42" fmla="*/ 463605 h 840758"/>
                <a:gd name="connsiteX43" fmla="*/ 525559 w 538235"/>
                <a:gd name="connsiteY43" fmla="*/ 458575 h 840758"/>
                <a:gd name="connsiteX44" fmla="*/ 535674 w 538235"/>
                <a:gd name="connsiteY44" fmla="*/ 473961 h 840758"/>
                <a:gd name="connsiteX45" fmla="*/ 531146 w 538235"/>
                <a:gd name="connsiteY45" fmla="*/ 488289 h 840758"/>
                <a:gd name="connsiteX46" fmla="*/ 513347 w 538235"/>
                <a:gd name="connsiteY46" fmla="*/ 504733 h 840758"/>
                <a:gd name="connsiteX47" fmla="*/ 505645 w 538235"/>
                <a:gd name="connsiteY47" fmla="*/ 536582 h 840758"/>
                <a:gd name="connsiteX48" fmla="*/ 494843 w 538235"/>
                <a:gd name="connsiteY48" fmla="*/ 559559 h 840758"/>
                <a:gd name="connsiteX49" fmla="*/ 467560 w 538235"/>
                <a:gd name="connsiteY49" fmla="*/ 569841 h 840758"/>
                <a:gd name="connsiteX50" fmla="*/ 405199 w 538235"/>
                <a:gd name="connsiteY50" fmla="*/ 578917 h 840758"/>
                <a:gd name="connsiteX51" fmla="*/ 390110 w 538235"/>
                <a:gd name="connsiteY51" fmla="*/ 601727 h 840758"/>
                <a:gd name="connsiteX52" fmla="*/ 373034 w 538235"/>
                <a:gd name="connsiteY52" fmla="*/ 612102 h 840758"/>
                <a:gd name="connsiteX53" fmla="*/ 331071 w 538235"/>
                <a:gd name="connsiteY53" fmla="*/ 610264 h 840758"/>
                <a:gd name="connsiteX54" fmla="*/ 309021 w 538235"/>
                <a:gd name="connsiteY54" fmla="*/ 621437 h 840758"/>
                <a:gd name="connsiteX55" fmla="*/ 287622 w 538235"/>
                <a:gd name="connsiteY55" fmla="*/ 658000 h 840758"/>
                <a:gd name="connsiteX56" fmla="*/ 278472 w 538235"/>
                <a:gd name="connsiteY56" fmla="*/ 680717 h 840758"/>
                <a:gd name="connsiteX57" fmla="*/ 279845 w 538235"/>
                <a:gd name="connsiteY57" fmla="*/ 700056 h 840758"/>
                <a:gd name="connsiteX58" fmla="*/ 269507 w 538235"/>
                <a:gd name="connsiteY58" fmla="*/ 715313 h 840758"/>
                <a:gd name="connsiteX59" fmla="*/ 253583 w 538235"/>
                <a:gd name="connsiteY59" fmla="*/ 722105 h 840758"/>
                <a:gd name="connsiteX60" fmla="*/ 239496 w 538235"/>
                <a:gd name="connsiteY60" fmla="*/ 740498 h 840758"/>
                <a:gd name="connsiteX61" fmla="*/ 209077 w 538235"/>
                <a:gd name="connsiteY61" fmla="*/ 763197 h 840758"/>
                <a:gd name="connsiteX62" fmla="*/ 188401 w 538235"/>
                <a:gd name="connsiteY62" fmla="*/ 793691 h 840758"/>
                <a:gd name="connsiteX63" fmla="*/ 166835 w 538235"/>
                <a:gd name="connsiteY63" fmla="*/ 797124 h 840758"/>
                <a:gd name="connsiteX64" fmla="*/ 160821 w 538235"/>
                <a:gd name="connsiteY64" fmla="*/ 807443 h 840758"/>
                <a:gd name="connsiteX65" fmla="*/ 105327 w 538235"/>
                <a:gd name="connsiteY65" fmla="*/ 822217 h 840758"/>
                <a:gd name="connsiteX66" fmla="*/ 75780 w 538235"/>
                <a:gd name="connsiteY66" fmla="*/ 839682 h 840758"/>
                <a:gd name="connsiteX67" fmla="*/ 35487 w 538235"/>
                <a:gd name="connsiteY67" fmla="*/ 832481 h 840758"/>
                <a:gd name="connsiteX68" fmla="*/ 26652 w 538235"/>
                <a:gd name="connsiteY68" fmla="*/ 814329 h 840758"/>
                <a:gd name="connsiteX69" fmla="*/ 15999 w 538235"/>
                <a:gd name="connsiteY69" fmla="*/ 816872 h 840758"/>
                <a:gd name="connsiteX70" fmla="*/ 10709 w 538235"/>
                <a:gd name="connsiteY70" fmla="*/ 804956 h 840758"/>
                <a:gd name="connsiteX71" fmla="*/ 15535 w 538235"/>
                <a:gd name="connsiteY71" fmla="*/ 787176 h 840758"/>
                <a:gd name="connsiteX72" fmla="*/ 42409 w 538235"/>
                <a:gd name="connsiteY72" fmla="*/ 758241 h 840758"/>
                <a:gd name="connsiteX73" fmla="*/ 13920 w 538235"/>
                <a:gd name="connsiteY73" fmla="*/ 761063 h 840758"/>
                <a:gd name="connsiteX74" fmla="*/ 8222 w 538235"/>
                <a:gd name="connsiteY74" fmla="*/ 730513 h 840758"/>
                <a:gd name="connsiteX75" fmla="*/ 14106 w 538235"/>
                <a:gd name="connsiteY75" fmla="*/ 719377 h 840758"/>
                <a:gd name="connsiteX76" fmla="*/ 2784 w 538235"/>
                <a:gd name="connsiteY76" fmla="*/ 717781 h 840758"/>
                <a:gd name="connsiteX77" fmla="*/ 3508 w 538235"/>
                <a:gd name="connsiteY77" fmla="*/ 695546 h 840758"/>
                <a:gd name="connsiteX78" fmla="*/ 38920 w 538235"/>
                <a:gd name="connsiteY78" fmla="*/ 688215 h 840758"/>
                <a:gd name="connsiteX79" fmla="*/ 66389 w 538235"/>
                <a:gd name="connsiteY79" fmla="*/ 652376 h 840758"/>
                <a:gd name="connsiteX80" fmla="*/ 99054 w 538235"/>
                <a:gd name="connsiteY80" fmla="*/ 643783 h 840758"/>
                <a:gd name="connsiteX81" fmla="*/ 107573 w 538235"/>
                <a:gd name="connsiteY81" fmla="*/ 611805 h 840758"/>
                <a:gd name="connsiteX82" fmla="*/ 126987 w 538235"/>
                <a:gd name="connsiteY82" fmla="*/ 584058 h 840758"/>
                <a:gd name="connsiteX83" fmla="*/ 131329 w 538235"/>
                <a:gd name="connsiteY83" fmla="*/ 557851 h 840758"/>
                <a:gd name="connsiteX84" fmla="*/ 148479 w 538235"/>
                <a:gd name="connsiteY84" fmla="*/ 553416 h 840758"/>
                <a:gd name="connsiteX85" fmla="*/ 149815 w 538235"/>
                <a:gd name="connsiteY85" fmla="*/ 540461 h 840758"/>
                <a:gd name="connsiteX86" fmla="*/ 166890 w 538235"/>
                <a:gd name="connsiteY86" fmla="*/ 530086 h 840758"/>
                <a:gd name="connsiteX87" fmla="*/ 174593 w 538235"/>
                <a:gd name="connsiteY87" fmla="*/ 514403 h 840758"/>
                <a:gd name="connsiteX88" fmla="*/ 189440 w 538235"/>
                <a:gd name="connsiteY88" fmla="*/ 506088 h 840758"/>
                <a:gd name="connsiteX89" fmla="*/ 201820 w 538235"/>
                <a:gd name="connsiteY89" fmla="*/ 476912 h 840758"/>
                <a:gd name="connsiteX90" fmla="*/ 196233 w 538235"/>
                <a:gd name="connsiteY90" fmla="*/ 447179 h 840758"/>
                <a:gd name="connsiteX91" fmla="*/ 174704 w 538235"/>
                <a:gd name="connsiteY91" fmla="*/ 445509 h 840758"/>
                <a:gd name="connsiteX92" fmla="*/ 151226 w 538235"/>
                <a:gd name="connsiteY92" fmla="*/ 426281 h 840758"/>
                <a:gd name="connsiteX93" fmla="*/ 183130 w 538235"/>
                <a:gd name="connsiteY93" fmla="*/ 370175 h 840758"/>
                <a:gd name="connsiteX94" fmla="*/ 192299 w 538235"/>
                <a:gd name="connsiteY94" fmla="*/ 326188 h 840758"/>
                <a:gd name="connsiteX95" fmla="*/ 210134 w 538235"/>
                <a:gd name="connsiteY95" fmla="*/ 304640 h 840758"/>
                <a:gd name="connsiteX96" fmla="*/ 228342 w 538235"/>
                <a:gd name="connsiteY96" fmla="*/ 290702 h 840758"/>
                <a:gd name="connsiteX97" fmla="*/ 226170 w 538235"/>
                <a:gd name="connsiteY97" fmla="*/ 266389 h 840758"/>
                <a:gd name="connsiteX98" fmla="*/ 205977 w 538235"/>
                <a:gd name="connsiteY98" fmla="*/ 251726 h 840758"/>
                <a:gd name="connsiteX99" fmla="*/ 190072 w 538235"/>
                <a:gd name="connsiteY99" fmla="*/ 253415 h 840758"/>
                <a:gd name="connsiteX100" fmla="*/ 179622 w 538235"/>
                <a:gd name="connsiteY100" fmla="*/ 246567 h 840758"/>
                <a:gd name="connsiteX101" fmla="*/ 164496 w 538235"/>
                <a:gd name="connsiteY101" fmla="*/ 258333 h 840758"/>
                <a:gd name="connsiteX102" fmla="*/ 146660 w 538235"/>
                <a:gd name="connsiteY102" fmla="*/ 242465 h 840758"/>
                <a:gd name="connsiteX103" fmla="*/ 137102 w 538235"/>
                <a:gd name="connsiteY103" fmla="*/ 225279 h 840758"/>
                <a:gd name="connsiteX104" fmla="*/ 127061 w 538235"/>
                <a:gd name="connsiteY104" fmla="*/ 220917 h 840758"/>
                <a:gd name="connsiteX105" fmla="*/ 102005 w 538235"/>
                <a:gd name="connsiteY105" fmla="*/ 191741 h 840758"/>
                <a:gd name="connsiteX106" fmla="*/ 93969 w 538235"/>
                <a:gd name="connsiteY106" fmla="*/ 194711 h 840758"/>
                <a:gd name="connsiteX107" fmla="*/ 87120 w 538235"/>
                <a:gd name="connsiteY107" fmla="*/ 167743 h 840758"/>
                <a:gd name="connsiteX108" fmla="*/ 109095 w 538235"/>
                <a:gd name="connsiteY108" fmla="*/ 166797 h 840758"/>
                <a:gd name="connsiteX109" fmla="*/ 116333 w 538235"/>
                <a:gd name="connsiteY109" fmla="*/ 158835 h 840758"/>
                <a:gd name="connsiteX110" fmla="*/ 137640 w 538235"/>
                <a:gd name="connsiteY110" fmla="*/ 153749 h 840758"/>
                <a:gd name="connsiteX111" fmla="*/ 147792 w 538235"/>
                <a:gd name="connsiteY111" fmla="*/ 126615 h 840758"/>
                <a:gd name="connsiteX112" fmla="*/ 157016 w 538235"/>
                <a:gd name="connsiteY112" fmla="*/ 131106 h 840758"/>
                <a:gd name="connsiteX113" fmla="*/ 157944 w 538235"/>
                <a:gd name="connsiteY113" fmla="*/ 115646 h 840758"/>
                <a:gd name="connsiteX114" fmla="*/ 99648 w 538235"/>
                <a:gd name="connsiteY114" fmla="*/ 80698 h 840758"/>
                <a:gd name="connsiteX115" fmla="*/ 106070 w 538235"/>
                <a:gd name="connsiteY115" fmla="*/ 72884 h 840758"/>
                <a:gd name="connsiteX116" fmla="*/ 90702 w 538235"/>
                <a:gd name="connsiteY116" fmla="*/ 40460 h 840758"/>
                <a:gd name="connsiteX117" fmla="*/ 94099 w 538235"/>
                <a:gd name="connsiteY117" fmla="*/ 29714 h 840758"/>
                <a:gd name="connsiteX118" fmla="*/ 119062 w 538235"/>
                <a:gd name="connsiteY118" fmla="*/ 15535 h 840758"/>
                <a:gd name="connsiteX119" fmla="*/ 136582 w 538235"/>
                <a:gd name="connsiteY119" fmla="*/ 18708 h 840758"/>
                <a:gd name="connsiteX120" fmla="*/ 151059 w 538235"/>
                <a:gd name="connsiteY120" fmla="*/ 2784 h 84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38235" h="840758">
                  <a:moveTo>
                    <a:pt x="151059" y="2784"/>
                  </a:moveTo>
                  <a:lnTo>
                    <a:pt x="172105" y="33463"/>
                  </a:lnTo>
                  <a:lnTo>
                    <a:pt x="183780" y="42669"/>
                  </a:lnTo>
                  <a:lnTo>
                    <a:pt x="194860" y="37491"/>
                  </a:lnTo>
                  <a:lnTo>
                    <a:pt x="220733" y="50390"/>
                  </a:lnTo>
                  <a:lnTo>
                    <a:pt x="226597" y="60505"/>
                  </a:lnTo>
                  <a:lnTo>
                    <a:pt x="240963" y="59930"/>
                  </a:lnTo>
                  <a:lnTo>
                    <a:pt x="238791" y="73033"/>
                  </a:lnTo>
                  <a:lnTo>
                    <a:pt x="262214" y="81199"/>
                  </a:lnTo>
                  <a:lnTo>
                    <a:pt x="275651" y="74815"/>
                  </a:lnTo>
                  <a:lnTo>
                    <a:pt x="292207" y="77283"/>
                  </a:lnTo>
                  <a:lnTo>
                    <a:pt x="282110" y="99295"/>
                  </a:lnTo>
                  <a:lnTo>
                    <a:pt x="299277" y="111025"/>
                  </a:lnTo>
                  <a:lnTo>
                    <a:pt x="320510" y="78731"/>
                  </a:lnTo>
                  <a:lnTo>
                    <a:pt x="328862" y="72309"/>
                  </a:lnTo>
                  <a:lnTo>
                    <a:pt x="343710" y="80141"/>
                  </a:lnTo>
                  <a:lnTo>
                    <a:pt x="359189" y="97253"/>
                  </a:lnTo>
                  <a:lnTo>
                    <a:pt x="372756" y="75520"/>
                  </a:lnTo>
                  <a:lnTo>
                    <a:pt x="382797" y="79881"/>
                  </a:lnTo>
                  <a:lnTo>
                    <a:pt x="404271" y="107925"/>
                  </a:lnTo>
                  <a:lnTo>
                    <a:pt x="403862" y="126708"/>
                  </a:lnTo>
                  <a:lnTo>
                    <a:pt x="413161" y="120973"/>
                  </a:lnTo>
                  <a:lnTo>
                    <a:pt x="426060" y="132535"/>
                  </a:lnTo>
                  <a:lnTo>
                    <a:pt x="438903" y="133037"/>
                  </a:lnTo>
                  <a:lnTo>
                    <a:pt x="424983" y="147161"/>
                  </a:lnTo>
                  <a:lnTo>
                    <a:pt x="441910" y="173386"/>
                  </a:lnTo>
                  <a:lnTo>
                    <a:pt x="460952" y="175446"/>
                  </a:lnTo>
                  <a:lnTo>
                    <a:pt x="485266" y="194544"/>
                  </a:lnTo>
                  <a:lnTo>
                    <a:pt x="461101" y="229863"/>
                  </a:lnTo>
                  <a:lnTo>
                    <a:pt x="449019" y="239440"/>
                  </a:lnTo>
                  <a:lnTo>
                    <a:pt x="445659" y="282480"/>
                  </a:lnTo>
                  <a:lnTo>
                    <a:pt x="441131" y="296808"/>
                  </a:lnTo>
                  <a:lnTo>
                    <a:pt x="449222" y="304882"/>
                  </a:lnTo>
                  <a:lnTo>
                    <a:pt x="462307" y="290887"/>
                  </a:lnTo>
                  <a:lnTo>
                    <a:pt x="477805" y="286730"/>
                  </a:lnTo>
                  <a:lnTo>
                    <a:pt x="483502" y="301132"/>
                  </a:lnTo>
                  <a:lnTo>
                    <a:pt x="500986" y="309410"/>
                  </a:lnTo>
                  <a:lnTo>
                    <a:pt x="502360" y="328749"/>
                  </a:lnTo>
                  <a:lnTo>
                    <a:pt x="494973" y="357127"/>
                  </a:lnTo>
                  <a:lnTo>
                    <a:pt x="508169" y="402654"/>
                  </a:lnTo>
                  <a:lnTo>
                    <a:pt x="506777" y="420732"/>
                  </a:lnTo>
                  <a:lnTo>
                    <a:pt x="513477" y="430735"/>
                  </a:lnTo>
                  <a:lnTo>
                    <a:pt x="515296" y="463605"/>
                  </a:lnTo>
                  <a:lnTo>
                    <a:pt x="525559" y="458575"/>
                  </a:lnTo>
                  <a:lnTo>
                    <a:pt x="535674" y="473961"/>
                  </a:lnTo>
                  <a:lnTo>
                    <a:pt x="531146" y="488289"/>
                  </a:lnTo>
                  <a:lnTo>
                    <a:pt x="513347" y="504733"/>
                  </a:lnTo>
                  <a:lnTo>
                    <a:pt x="505645" y="536582"/>
                  </a:lnTo>
                  <a:lnTo>
                    <a:pt x="494843" y="559559"/>
                  </a:lnTo>
                  <a:lnTo>
                    <a:pt x="467560" y="569841"/>
                  </a:lnTo>
                  <a:lnTo>
                    <a:pt x="405199" y="578917"/>
                  </a:lnTo>
                  <a:lnTo>
                    <a:pt x="390110" y="601727"/>
                  </a:lnTo>
                  <a:lnTo>
                    <a:pt x="373034" y="612102"/>
                  </a:lnTo>
                  <a:lnTo>
                    <a:pt x="331071" y="610264"/>
                  </a:lnTo>
                  <a:lnTo>
                    <a:pt x="309021" y="621437"/>
                  </a:lnTo>
                  <a:lnTo>
                    <a:pt x="287622" y="658000"/>
                  </a:lnTo>
                  <a:lnTo>
                    <a:pt x="278472" y="680717"/>
                  </a:lnTo>
                  <a:lnTo>
                    <a:pt x="279845" y="700056"/>
                  </a:lnTo>
                  <a:lnTo>
                    <a:pt x="269507" y="715313"/>
                  </a:lnTo>
                  <a:lnTo>
                    <a:pt x="253583" y="722105"/>
                  </a:lnTo>
                  <a:lnTo>
                    <a:pt x="239496" y="740498"/>
                  </a:lnTo>
                  <a:lnTo>
                    <a:pt x="209077" y="763197"/>
                  </a:lnTo>
                  <a:lnTo>
                    <a:pt x="188401" y="793691"/>
                  </a:lnTo>
                  <a:lnTo>
                    <a:pt x="166835" y="797124"/>
                  </a:lnTo>
                  <a:lnTo>
                    <a:pt x="160821" y="807443"/>
                  </a:lnTo>
                  <a:lnTo>
                    <a:pt x="105327" y="822217"/>
                  </a:lnTo>
                  <a:lnTo>
                    <a:pt x="75780" y="839682"/>
                  </a:lnTo>
                  <a:lnTo>
                    <a:pt x="35487" y="832481"/>
                  </a:lnTo>
                  <a:lnTo>
                    <a:pt x="26652" y="814329"/>
                  </a:lnTo>
                  <a:lnTo>
                    <a:pt x="15999" y="816872"/>
                  </a:lnTo>
                  <a:lnTo>
                    <a:pt x="10709" y="804956"/>
                  </a:lnTo>
                  <a:lnTo>
                    <a:pt x="15535" y="787176"/>
                  </a:lnTo>
                  <a:lnTo>
                    <a:pt x="42409" y="758241"/>
                  </a:lnTo>
                  <a:lnTo>
                    <a:pt x="13920" y="761063"/>
                  </a:lnTo>
                  <a:lnTo>
                    <a:pt x="8222" y="730513"/>
                  </a:lnTo>
                  <a:lnTo>
                    <a:pt x="14106" y="719377"/>
                  </a:lnTo>
                  <a:lnTo>
                    <a:pt x="2784" y="717781"/>
                  </a:lnTo>
                  <a:lnTo>
                    <a:pt x="3508" y="695546"/>
                  </a:lnTo>
                  <a:lnTo>
                    <a:pt x="38920" y="688215"/>
                  </a:lnTo>
                  <a:lnTo>
                    <a:pt x="66389" y="652376"/>
                  </a:lnTo>
                  <a:lnTo>
                    <a:pt x="99054" y="643783"/>
                  </a:lnTo>
                  <a:lnTo>
                    <a:pt x="107573" y="611805"/>
                  </a:lnTo>
                  <a:lnTo>
                    <a:pt x="126987" y="584058"/>
                  </a:lnTo>
                  <a:lnTo>
                    <a:pt x="131329" y="557851"/>
                  </a:lnTo>
                  <a:lnTo>
                    <a:pt x="148479" y="553416"/>
                  </a:lnTo>
                  <a:lnTo>
                    <a:pt x="149815" y="540461"/>
                  </a:lnTo>
                  <a:lnTo>
                    <a:pt x="166890" y="530086"/>
                  </a:lnTo>
                  <a:lnTo>
                    <a:pt x="174593" y="514403"/>
                  </a:lnTo>
                  <a:lnTo>
                    <a:pt x="189440" y="506088"/>
                  </a:lnTo>
                  <a:lnTo>
                    <a:pt x="201820" y="476912"/>
                  </a:lnTo>
                  <a:lnTo>
                    <a:pt x="196233" y="447179"/>
                  </a:lnTo>
                  <a:lnTo>
                    <a:pt x="174704" y="445509"/>
                  </a:lnTo>
                  <a:lnTo>
                    <a:pt x="151226" y="426281"/>
                  </a:lnTo>
                  <a:lnTo>
                    <a:pt x="183130" y="370175"/>
                  </a:lnTo>
                  <a:lnTo>
                    <a:pt x="192299" y="326188"/>
                  </a:lnTo>
                  <a:lnTo>
                    <a:pt x="210134" y="304640"/>
                  </a:lnTo>
                  <a:lnTo>
                    <a:pt x="228342" y="290702"/>
                  </a:lnTo>
                  <a:lnTo>
                    <a:pt x="226170" y="266389"/>
                  </a:lnTo>
                  <a:lnTo>
                    <a:pt x="205977" y="251726"/>
                  </a:lnTo>
                  <a:lnTo>
                    <a:pt x="190072" y="253415"/>
                  </a:lnTo>
                  <a:lnTo>
                    <a:pt x="179622" y="246567"/>
                  </a:lnTo>
                  <a:lnTo>
                    <a:pt x="164496" y="258333"/>
                  </a:lnTo>
                  <a:lnTo>
                    <a:pt x="146660" y="242465"/>
                  </a:lnTo>
                  <a:lnTo>
                    <a:pt x="137102" y="225279"/>
                  </a:lnTo>
                  <a:lnTo>
                    <a:pt x="127061" y="220917"/>
                  </a:lnTo>
                  <a:lnTo>
                    <a:pt x="102005" y="191741"/>
                  </a:lnTo>
                  <a:lnTo>
                    <a:pt x="93969" y="194711"/>
                  </a:lnTo>
                  <a:lnTo>
                    <a:pt x="87120" y="167743"/>
                  </a:lnTo>
                  <a:lnTo>
                    <a:pt x="109095" y="166797"/>
                  </a:lnTo>
                  <a:lnTo>
                    <a:pt x="116333" y="158835"/>
                  </a:lnTo>
                  <a:lnTo>
                    <a:pt x="137640" y="153749"/>
                  </a:lnTo>
                  <a:lnTo>
                    <a:pt x="147792" y="126615"/>
                  </a:lnTo>
                  <a:lnTo>
                    <a:pt x="157016" y="131106"/>
                  </a:lnTo>
                  <a:lnTo>
                    <a:pt x="157944" y="115646"/>
                  </a:lnTo>
                  <a:lnTo>
                    <a:pt x="99648" y="80698"/>
                  </a:lnTo>
                  <a:lnTo>
                    <a:pt x="106070" y="72884"/>
                  </a:lnTo>
                  <a:lnTo>
                    <a:pt x="90702" y="40460"/>
                  </a:lnTo>
                  <a:lnTo>
                    <a:pt x="94099" y="29714"/>
                  </a:lnTo>
                  <a:lnTo>
                    <a:pt x="119062" y="15535"/>
                  </a:lnTo>
                  <a:lnTo>
                    <a:pt x="136582" y="18708"/>
                  </a:lnTo>
                  <a:lnTo>
                    <a:pt x="151059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211">
              <a:extLst>
                <a:ext uri="{FF2B5EF4-FFF2-40B4-BE49-F238E27FC236}">
                  <a16:creationId xmlns:a16="http://schemas.microsoft.com/office/drawing/2014/main" id="{F57DE53A-09DB-404A-987B-70E489077868}"/>
                </a:ext>
              </a:extLst>
            </p:cNvPr>
            <p:cNvSpPr/>
            <p:nvPr/>
          </p:nvSpPr>
          <p:spPr>
            <a:xfrm>
              <a:off x="4491834" y="5531043"/>
              <a:ext cx="727546" cy="762807"/>
            </a:xfrm>
            <a:custGeom>
              <a:avLst/>
              <a:gdLst>
                <a:gd name="connsiteX0" fmla="*/ 512938 w 727545"/>
                <a:gd name="connsiteY0" fmla="*/ 676690 h 762807"/>
                <a:gd name="connsiteX1" fmla="*/ 486621 w 727545"/>
                <a:gd name="connsiteY1" fmla="*/ 687677 h 762807"/>
                <a:gd name="connsiteX2" fmla="*/ 448703 w 727545"/>
                <a:gd name="connsiteY2" fmla="*/ 679251 h 762807"/>
                <a:gd name="connsiteX3" fmla="*/ 430106 w 727545"/>
                <a:gd name="connsiteY3" fmla="*/ 690721 h 762807"/>
                <a:gd name="connsiteX4" fmla="*/ 413810 w 727545"/>
                <a:gd name="connsiteY4" fmla="*/ 689904 h 762807"/>
                <a:gd name="connsiteX5" fmla="*/ 379493 w 727545"/>
                <a:gd name="connsiteY5" fmla="*/ 698776 h 762807"/>
                <a:gd name="connsiteX6" fmla="*/ 339478 w 727545"/>
                <a:gd name="connsiteY6" fmla="*/ 730643 h 762807"/>
                <a:gd name="connsiteX7" fmla="*/ 333168 w 727545"/>
                <a:gd name="connsiteY7" fmla="*/ 744414 h 762807"/>
                <a:gd name="connsiteX8" fmla="*/ 308056 w 727545"/>
                <a:gd name="connsiteY8" fmla="*/ 757759 h 762807"/>
                <a:gd name="connsiteX9" fmla="*/ 246437 w 727545"/>
                <a:gd name="connsiteY9" fmla="*/ 760747 h 762807"/>
                <a:gd name="connsiteX10" fmla="*/ 230439 w 727545"/>
                <a:gd name="connsiteY10" fmla="*/ 756497 h 762807"/>
                <a:gd name="connsiteX11" fmla="*/ 206256 w 727545"/>
                <a:gd name="connsiteY11" fmla="*/ 722068 h 762807"/>
                <a:gd name="connsiteX12" fmla="*/ 201950 w 727545"/>
                <a:gd name="connsiteY12" fmla="*/ 705754 h 762807"/>
                <a:gd name="connsiteX13" fmla="*/ 160339 w 727545"/>
                <a:gd name="connsiteY13" fmla="*/ 711526 h 762807"/>
                <a:gd name="connsiteX14" fmla="*/ 110375 w 727545"/>
                <a:gd name="connsiteY14" fmla="*/ 707573 h 762807"/>
                <a:gd name="connsiteX15" fmla="*/ 85301 w 727545"/>
                <a:gd name="connsiteY15" fmla="*/ 715795 h 762807"/>
                <a:gd name="connsiteX16" fmla="*/ 65739 w 727545"/>
                <a:gd name="connsiteY16" fmla="*/ 710413 h 762807"/>
                <a:gd name="connsiteX17" fmla="*/ 47476 w 727545"/>
                <a:gd name="connsiteY17" fmla="*/ 713308 h 762807"/>
                <a:gd name="connsiteX18" fmla="*/ 24202 w 727545"/>
                <a:gd name="connsiteY18" fmla="*/ 705958 h 762807"/>
                <a:gd name="connsiteX19" fmla="*/ 7238 w 727545"/>
                <a:gd name="connsiteY19" fmla="*/ 701003 h 762807"/>
                <a:gd name="connsiteX20" fmla="*/ 2784 w 727545"/>
                <a:gd name="connsiteY20" fmla="*/ 688958 h 762807"/>
                <a:gd name="connsiteX21" fmla="*/ 11229 w 727545"/>
                <a:gd name="connsiteY21" fmla="*/ 667206 h 762807"/>
                <a:gd name="connsiteX22" fmla="*/ 5011 w 727545"/>
                <a:gd name="connsiteY22" fmla="*/ 649481 h 762807"/>
                <a:gd name="connsiteX23" fmla="*/ 19970 w 727545"/>
                <a:gd name="connsiteY23" fmla="*/ 642001 h 762807"/>
                <a:gd name="connsiteX24" fmla="*/ 22142 w 727545"/>
                <a:gd name="connsiteY24" fmla="*/ 628898 h 762807"/>
                <a:gd name="connsiteX25" fmla="*/ 36414 w 727545"/>
                <a:gd name="connsiteY25" fmla="*/ 622384 h 762807"/>
                <a:gd name="connsiteX26" fmla="*/ 40943 w 727545"/>
                <a:gd name="connsiteY26" fmla="*/ 608056 h 762807"/>
                <a:gd name="connsiteX27" fmla="*/ 57740 w 727545"/>
                <a:gd name="connsiteY27" fmla="*/ 596029 h 762807"/>
                <a:gd name="connsiteX28" fmla="*/ 66760 w 727545"/>
                <a:gd name="connsiteY28" fmla="*/ 609893 h 762807"/>
                <a:gd name="connsiteX29" fmla="*/ 84633 w 727545"/>
                <a:gd name="connsiteY29" fmla="*/ 620658 h 762807"/>
                <a:gd name="connsiteX30" fmla="*/ 134967 w 727545"/>
                <a:gd name="connsiteY30" fmla="*/ 632220 h 762807"/>
                <a:gd name="connsiteX31" fmla="*/ 162788 w 727545"/>
                <a:gd name="connsiteY31" fmla="*/ 641389 h 762807"/>
                <a:gd name="connsiteX32" fmla="*/ 195157 w 727545"/>
                <a:gd name="connsiteY32" fmla="*/ 636248 h 762807"/>
                <a:gd name="connsiteX33" fmla="*/ 212454 w 727545"/>
                <a:gd name="connsiteY33" fmla="*/ 648794 h 762807"/>
                <a:gd name="connsiteX34" fmla="*/ 239626 w 727545"/>
                <a:gd name="connsiteY34" fmla="*/ 653842 h 762807"/>
                <a:gd name="connsiteX35" fmla="*/ 242447 w 727545"/>
                <a:gd name="connsiteY35" fmla="*/ 666148 h 762807"/>
                <a:gd name="connsiteX36" fmla="*/ 255087 w 727545"/>
                <a:gd name="connsiteY36" fmla="*/ 676040 h 762807"/>
                <a:gd name="connsiteX37" fmla="*/ 264812 w 727545"/>
                <a:gd name="connsiteY37" fmla="*/ 667688 h 762807"/>
                <a:gd name="connsiteX38" fmla="*/ 279437 w 727545"/>
                <a:gd name="connsiteY38" fmla="*/ 668765 h 762807"/>
                <a:gd name="connsiteX39" fmla="*/ 286490 w 727545"/>
                <a:gd name="connsiteY39" fmla="*/ 686341 h 762807"/>
                <a:gd name="connsiteX40" fmla="*/ 301541 w 727545"/>
                <a:gd name="connsiteY40" fmla="*/ 668653 h 762807"/>
                <a:gd name="connsiteX41" fmla="*/ 320788 w 727545"/>
                <a:gd name="connsiteY41" fmla="*/ 661341 h 762807"/>
                <a:gd name="connsiteX42" fmla="*/ 312548 w 727545"/>
                <a:gd name="connsiteY42" fmla="*/ 636285 h 762807"/>
                <a:gd name="connsiteX43" fmla="*/ 331052 w 727545"/>
                <a:gd name="connsiteY43" fmla="*/ 618876 h 762807"/>
                <a:gd name="connsiteX44" fmla="*/ 352025 w 727545"/>
                <a:gd name="connsiteY44" fmla="*/ 584930 h 762807"/>
                <a:gd name="connsiteX45" fmla="*/ 359764 w 727545"/>
                <a:gd name="connsiteY45" fmla="*/ 547978 h 762807"/>
                <a:gd name="connsiteX46" fmla="*/ 417485 w 727545"/>
                <a:gd name="connsiteY46" fmla="*/ 456311 h 762807"/>
                <a:gd name="connsiteX47" fmla="*/ 414107 w 727545"/>
                <a:gd name="connsiteY47" fmla="*/ 408371 h 762807"/>
                <a:gd name="connsiteX48" fmla="*/ 415536 w 727545"/>
                <a:gd name="connsiteY48" fmla="*/ 347773 h 762807"/>
                <a:gd name="connsiteX49" fmla="*/ 393784 w 727545"/>
                <a:gd name="connsiteY49" fmla="*/ 355476 h 762807"/>
                <a:gd name="connsiteX50" fmla="*/ 395250 w 727545"/>
                <a:gd name="connsiteY50" fmla="*/ 343337 h 762807"/>
                <a:gd name="connsiteX51" fmla="*/ 378843 w 727545"/>
                <a:gd name="connsiteY51" fmla="*/ 304269 h 762807"/>
                <a:gd name="connsiteX52" fmla="*/ 365109 w 727545"/>
                <a:gd name="connsiteY52" fmla="*/ 292855 h 762807"/>
                <a:gd name="connsiteX53" fmla="*/ 361397 w 727545"/>
                <a:gd name="connsiteY53" fmla="*/ 253471 h 762807"/>
                <a:gd name="connsiteX54" fmla="*/ 372050 w 727545"/>
                <a:gd name="connsiteY54" fmla="*/ 250928 h 762807"/>
                <a:gd name="connsiteX55" fmla="*/ 344118 w 727545"/>
                <a:gd name="connsiteY55" fmla="*/ 235820 h 762807"/>
                <a:gd name="connsiteX56" fmla="*/ 333465 w 727545"/>
                <a:gd name="connsiteY56" fmla="*/ 238363 h 762807"/>
                <a:gd name="connsiteX57" fmla="*/ 328249 w 727545"/>
                <a:gd name="connsiteY57" fmla="*/ 216221 h 762807"/>
                <a:gd name="connsiteX58" fmla="*/ 351505 w 727545"/>
                <a:gd name="connsiteY58" fmla="*/ 191277 h 762807"/>
                <a:gd name="connsiteX59" fmla="*/ 362975 w 727545"/>
                <a:gd name="connsiteY59" fmla="*/ 188586 h 762807"/>
                <a:gd name="connsiteX60" fmla="*/ 368839 w 727545"/>
                <a:gd name="connsiteY60" fmla="*/ 161303 h 762807"/>
                <a:gd name="connsiteX61" fmla="*/ 391520 w 727545"/>
                <a:gd name="connsiteY61" fmla="*/ 159391 h 762807"/>
                <a:gd name="connsiteX62" fmla="*/ 416056 w 727545"/>
                <a:gd name="connsiteY62" fmla="*/ 147829 h 762807"/>
                <a:gd name="connsiteX63" fmla="*/ 422069 w 727545"/>
                <a:gd name="connsiteY63" fmla="*/ 137528 h 762807"/>
                <a:gd name="connsiteX64" fmla="*/ 417893 w 727545"/>
                <a:gd name="connsiteY64" fmla="*/ 122031 h 762807"/>
                <a:gd name="connsiteX65" fmla="*/ 438996 w 727545"/>
                <a:gd name="connsiteY65" fmla="*/ 126318 h 762807"/>
                <a:gd name="connsiteX66" fmla="*/ 465184 w 727545"/>
                <a:gd name="connsiteY66" fmla="*/ 114495 h 762807"/>
                <a:gd name="connsiteX67" fmla="*/ 470121 w 727545"/>
                <a:gd name="connsiteY67" fmla="*/ 102673 h 762807"/>
                <a:gd name="connsiteX68" fmla="*/ 482185 w 727545"/>
                <a:gd name="connsiteY68" fmla="*/ 114347 h 762807"/>
                <a:gd name="connsiteX69" fmla="*/ 509171 w 727545"/>
                <a:gd name="connsiteY69" fmla="*/ 107498 h 762807"/>
                <a:gd name="connsiteX70" fmla="*/ 514869 w 727545"/>
                <a:gd name="connsiteY70" fmla="*/ 100650 h 762807"/>
                <a:gd name="connsiteX71" fmla="*/ 537419 w 727545"/>
                <a:gd name="connsiteY71" fmla="*/ 97903 h 762807"/>
                <a:gd name="connsiteX72" fmla="*/ 537215 w 727545"/>
                <a:gd name="connsiteY72" fmla="*/ 86043 h 762807"/>
                <a:gd name="connsiteX73" fmla="*/ 560563 w 727545"/>
                <a:gd name="connsiteY73" fmla="*/ 67019 h 762807"/>
                <a:gd name="connsiteX74" fmla="*/ 554456 w 727545"/>
                <a:gd name="connsiteY74" fmla="*/ 33964 h 762807"/>
                <a:gd name="connsiteX75" fmla="*/ 568599 w 727545"/>
                <a:gd name="connsiteY75" fmla="*/ 26615 h 762807"/>
                <a:gd name="connsiteX76" fmla="*/ 577452 w 727545"/>
                <a:gd name="connsiteY76" fmla="*/ 7350 h 762807"/>
                <a:gd name="connsiteX77" fmla="*/ 595437 w 727545"/>
                <a:gd name="connsiteY77" fmla="*/ 2784 h 762807"/>
                <a:gd name="connsiteX78" fmla="*/ 584060 w 727545"/>
                <a:gd name="connsiteY78" fmla="*/ 27561 h 762807"/>
                <a:gd name="connsiteX79" fmla="*/ 590908 w 727545"/>
                <a:gd name="connsiteY79" fmla="*/ 54529 h 762807"/>
                <a:gd name="connsiteX80" fmla="*/ 598944 w 727545"/>
                <a:gd name="connsiteY80" fmla="*/ 51559 h 762807"/>
                <a:gd name="connsiteX81" fmla="*/ 624000 w 727545"/>
                <a:gd name="connsiteY81" fmla="*/ 80735 h 762807"/>
                <a:gd name="connsiteX82" fmla="*/ 634060 w 727545"/>
                <a:gd name="connsiteY82" fmla="*/ 85097 h 762807"/>
                <a:gd name="connsiteX83" fmla="*/ 643599 w 727545"/>
                <a:gd name="connsiteY83" fmla="*/ 102283 h 762807"/>
                <a:gd name="connsiteX84" fmla="*/ 661436 w 727545"/>
                <a:gd name="connsiteY84" fmla="*/ 118151 h 762807"/>
                <a:gd name="connsiteX85" fmla="*/ 676580 w 727545"/>
                <a:gd name="connsiteY85" fmla="*/ 106385 h 762807"/>
                <a:gd name="connsiteX86" fmla="*/ 687011 w 727545"/>
                <a:gd name="connsiteY86" fmla="*/ 113233 h 762807"/>
                <a:gd name="connsiteX87" fmla="*/ 702917 w 727545"/>
                <a:gd name="connsiteY87" fmla="*/ 111544 h 762807"/>
                <a:gd name="connsiteX88" fmla="*/ 723110 w 727545"/>
                <a:gd name="connsiteY88" fmla="*/ 126207 h 762807"/>
                <a:gd name="connsiteX89" fmla="*/ 725281 w 727545"/>
                <a:gd name="connsiteY89" fmla="*/ 150520 h 762807"/>
                <a:gd name="connsiteX90" fmla="*/ 707074 w 727545"/>
                <a:gd name="connsiteY90" fmla="*/ 164458 h 762807"/>
                <a:gd name="connsiteX91" fmla="*/ 689238 w 727545"/>
                <a:gd name="connsiteY91" fmla="*/ 186006 h 762807"/>
                <a:gd name="connsiteX92" fmla="*/ 680070 w 727545"/>
                <a:gd name="connsiteY92" fmla="*/ 229993 h 762807"/>
                <a:gd name="connsiteX93" fmla="*/ 648165 w 727545"/>
                <a:gd name="connsiteY93" fmla="*/ 286099 h 762807"/>
                <a:gd name="connsiteX94" fmla="*/ 671644 w 727545"/>
                <a:gd name="connsiteY94" fmla="*/ 305327 h 762807"/>
                <a:gd name="connsiteX95" fmla="*/ 693173 w 727545"/>
                <a:gd name="connsiteY95" fmla="*/ 306997 h 762807"/>
                <a:gd name="connsiteX96" fmla="*/ 698759 w 727545"/>
                <a:gd name="connsiteY96" fmla="*/ 336730 h 762807"/>
                <a:gd name="connsiteX97" fmla="*/ 686380 w 727545"/>
                <a:gd name="connsiteY97" fmla="*/ 365906 h 762807"/>
                <a:gd name="connsiteX98" fmla="*/ 671551 w 727545"/>
                <a:gd name="connsiteY98" fmla="*/ 374221 h 762807"/>
                <a:gd name="connsiteX99" fmla="*/ 663830 w 727545"/>
                <a:gd name="connsiteY99" fmla="*/ 389904 h 762807"/>
                <a:gd name="connsiteX100" fmla="*/ 646755 w 727545"/>
                <a:gd name="connsiteY100" fmla="*/ 400279 h 762807"/>
                <a:gd name="connsiteX101" fmla="*/ 645418 w 727545"/>
                <a:gd name="connsiteY101" fmla="*/ 413234 h 762807"/>
                <a:gd name="connsiteX102" fmla="*/ 628269 w 727545"/>
                <a:gd name="connsiteY102" fmla="*/ 417669 h 762807"/>
                <a:gd name="connsiteX103" fmla="*/ 623926 w 727545"/>
                <a:gd name="connsiteY103" fmla="*/ 443876 h 762807"/>
                <a:gd name="connsiteX104" fmla="*/ 604512 w 727545"/>
                <a:gd name="connsiteY104" fmla="*/ 471623 h 762807"/>
                <a:gd name="connsiteX105" fmla="*/ 595994 w 727545"/>
                <a:gd name="connsiteY105" fmla="*/ 503601 h 762807"/>
                <a:gd name="connsiteX106" fmla="*/ 563328 w 727545"/>
                <a:gd name="connsiteY106" fmla="*/ 512194 h 762807"/>
                <a:gd name="connsiteX107" fmla="*/ 535859 w 727545"/>
                <a:gd name="connsiteY107" fmla="*/ 548033 h 762807"/>
                <a:gd name="connsiteX108" fmla="*/ 500448 w 727545"/>
                <a:gd name="connsiteY108" fmla="*/ 555364 h 762807"/>
                <a:gd name="connsiteX109" fmla="*/ 499724 w 727545"/>
                <a:gd name="connsiteY109" fmla="*/ 577599 h 762807"/>
                <a:gd name="connsiteX110" fmla="*/ 511045 w 727545"/>
                <a:gd name="connsiteY110" fmla="*/ 579195 h 762807"/>
                <a:gd name="connsiteX111" fmla="*/ 505162 w 727545"/>
                <a:gd name="connsiteY111" fmla="*/ 590331 h 762807"/>
                <a:gd name="connsiteX112" fmla="*/ 510878 w 727545"/>
                <a:gd name="connsiteY112" fmla="*/ 620880 h 762807"/>
                <a:gd name="connsiteX113" fmla="*/ 539349 w 727545"/>
                <a:gd name="connsiteY113" fmla="*/ 618059 h 762807"/>
                <a:gd name="connsiteX114" fmla="*/ 512474 w 727545"/>
                <a:gd name="connsiteY114" fmla="*/ 646994 h 762807"/>
                <a:gd name="connsiteX115" fmla="*/ 507649 w 727545"/>
                <a:gd name="connsiteY115" fmla="*/ 664774 h 762807"/>
                <a:gd name="connsiteX116" fmla="*/ 512938 w 727545"/>
                <a:gd name="connsiteY116" fmla="*/ 676690 h 76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727545" h="762807">
                  <a:moveTo>
                    <a:pt x="512938" y="676690"/>
                  </a:moveTo>
                  <a:lnTo>
                    <a:pt x="486621" y="687677"/>
                  </a:lnTo>
                  <a:lnTo>
                    <a:pt x="448703" y="679251"/>
                  </a:lnTo>
                  <a:lnTo>
                    <a:pt x="430106" y="690721"/>
                  </a:lnTo>
                  <a:lnTo>
                    <a:pt x="413810" y="689904"/>
                  </a:lnTo>
                  <a:lnTo>
                    <a:pt x="379493" y="698776"/>
                  </a:lnTo>
                  <a:lnTo>
                    <a:pt x="339478" y="730643"/>
                  </a:lnTo>
                  <a:lnTo>
                    <a:pt x="333168" y="744414"/>
                  </a:lnTo>
                  <a:lnTo>
                    <a:pt x="308056" y="757759"/>
                  </a:lnTo>
                  <a:lnTo>
                    <a:pt x="246437" y="760747"/>
                  </a:lnTo>
                  <a:lnTo>
                    <a:pt x="230439" y="756497"/>
                  </a:lnTo>
                  <a:lnTo>
                    <a:pt x="206256" y="722068"/>
                  </a:lnTo>
                  <a:lnTo>
                    <a:pt x="201950" y="705754"/>
                  </a:lnTo>
                  <a:lnTo>
                    <a:pt x="160339" y="711526"/>
                  </a:lnTo>
                  <a:lnTo>
                    <a:pt x="110375" y="707573"/>
                  </a:lnTo>
                  <a:lnTo>
                    <a:pt x="85301" y="715795"/>
                  </a:lnTo>
                  <a:lnTo>
                    <a:pt x="65739" y="710413"/>
                  </a:lnTo>
                  <a:lnTo>
                    <a:pt x="47476" y="713308"/>
                  </a:lnTo>
                  <a:lnTo>
                    <a:pt x="24202" y="705958"/>
                  </a:lnTo>
                  <a:lnTo>
                    <a:pt x="7238" y="701003"/>
                  </a:lnTo>
                  <a:lnTo>
                    <a:pt x="2784" y="688958"/>
                  </a:lnTo>
                  <a:lnTo>
                    <a:pt x="11229" y="667206"/>
                  </a:lnTo>
                  <a:lnTo>
                    <a:pt x="5011" y="649481"/>
                  </a:lnTo>
                  <a:lnTo>
                    <a:pt x="19970" y="642001"/>
                  </a:lnTo>
                  <a:lnTo>
                    <a:pt x="22142" y="628898"/>
                  </a:lnTo>
                  <a:lnTo>
                    <a:pt x="36414" y="622384"/>
                  </a:lnTo>
                  <a:lnTo>
                    <a:pt x="40943" y="608056"/>
                  </a:lnTo>
                  <a:lnTo>
                    <a:pt x="57740" y="596029"/>
                  </a:lnTo>
                  <a:lnTo>
                    <a:pt x="66760" y="609893"/>
                  </a:lnTo>
                  <a:lnTo>
                    <a:pt x="84633" y="620658"/>
                  </a:lnTo>
                  <a:lnTo>
                    <a:pt x="134967" y="632220"/>
                  </a:lnTo>
                  <a:lnTo>
                    <a:pt x="162788" y="641389"/>
                  </a:lnTo>
                  <a:lnTo>
                    <a:pt x="195157" y="636248"/>
                  </a:lnTo>
                  <a:lnTo>
                    <a:pt x="212454" y="648794"/>
                  </a:lnTo>
                  <a:lnTo>
                    <a:pt x="239626" y="653842"/>
                  </a:lnTo>
                  <a:lnTo>
                    <a:pt x="242447" y="666148"/>
                  </a:lnTo>
                  <a:lnTo>
                    <a:pt x="255087" y="676040"/>
                  </a:lnTo>
                  <a:lnTo>
                    <a:pt x="264812" y="667688"/>
                  </a:lnTo>
                  <a:lnTo>
                    <a:pt x="279437" y="668765"/>
                  </a:lnTo>
                  <a:lnTo>
                    <a:pt x="286490" y="686341"/>
                  </a:lnTo>
                  <a:lnTo>
                    <a:pt x="301541" y="668653"/>
                  </a:lnTo>
                  <a:lnTo>
                    <a:pt x="320788" y="661341"/>
                  </a:lnTo>
                  <a:lnTo>
                    <a:pt x="312548" y="636285"/>
                  </a:lnTo>
                  <a:lnTo>
                    <a:pt x="331052" y="618876"/>
                  </a:lnTo>
                  <a:lnTo>
                    <a:pt x="352025" y="584930"/>
                  </a:lnTo>
                  <a:lnTo>
                    <a:pt x="359764" y="547978"/>
                  </a:lnTo>
                  <a:lnTo>
                    <a:pt x="417485" y="456311"/>
                  </a:lnTo>
                  <a:lnTo>
                    <a:pt x="414107" y="408371"/>
                  </a:lnTo>
                  <a:lnTo>
                    <a:pt x="415536" y="347773"/>
                  </a:lnTo>
                  <a:lnTo>
                    <a:pt x="393784" y="355476"/>
                  </a:lnTo>
                  <a:lnTo>
                    <a:pt x="395250" y="343337"/>
                  </a:lnTo>
                  <a:lnTo>
                    <a:pt x="378843" y="304269"/>
                  </a:lnTo>
                  <a:lnTo>
                    <a:pt x="365109" y="292855"/>
                  </a:lnTo>
                  <a:lnTo>
                    <a:pt x="361397" y="253471"/>
                  </a:lnTo>
                  <a:lnTo>
                    <a:pt x="372050" y="250928"/>
                  </a:lnTo>
                  <a:lnTo>
                    <a:pt x="344118" y="235820"/>
                  </a:lnTo>
                  <a:lnTo>
                    <a:pt x="333465" y="238363"/>
                  </a:lnTo>
                  <a:lnTo>
                    <a:pt x="328249" y="216221"/>
                  </a:lnTo>
                  <a:lnTo>
                    <a:pt x="351505" y="191277"/>
                  </a:lnTo>
                  <a:lnTo>
                    <a:pt x="362975" y="188586"/>
                  </a:lnTo>
                  <a:lnTo>
                    <a:pt x="368839" y="161303"/>
                  </a:lnTo>
                  <a:lnTo>
                    <a:pt x="391520" y="159391"/>
                  </a:lnTo>
                  <a:lnTo>
                    <a:pt x="416056" y="147829"/>
                  </a:lnTo>
                  <a:lnTo>
                    <a:pt x="422069" y="137528"/>
                  </a:lnTo>
                  <a:lnTo>
                    <a:pt x="417893" y="122031"/>
                  </a:lnTo>
                  <a:lnTo>
                    <a:pt x="438996" y="126318"/>
                  </a:lnTo>
                  <a:lnTo>
                    <a:pt x="465184" y="114495"/>
                  </a:lnTo>
                  <a:lnTo>
                    <a:pt x="470121" y="102673"/>
                  </a:lnTo>
                  <a:lnTo>
                    <a:pt x="482185" y="114347"/>
                  </a:lnTo>
                  <a:lnTo>
                    <a:pt x="509171" y="107498"/>
                  </a:lnTo>
                  <a:lnTo>
                    <a:pt x="514869" y="100650"/>
                  </a:lnTo>
                  <a:lnTo>
                    <a:pt x="537419" y="97903"/>
                  </a:lnTo>
                  <a:lnTo>
                    <a:pt x="537215" y="86043"/>
                  </a:lnTo>
                  <a:lnTo>
                    <a:pt x="560563" y="67019"/>
                  </a:lnTo>
                  <a:lnTo>
                    <a:pt x="554456" y="33964"/>
                  </a:lnTo>
                  <a:lnTo>
                    <a:pt x="568599" y="26615"/>
                  </a:lnTo>
                  <a:lnTo>
                    <a:pt x="577452" y="7350"/>
                  </a:lnTo>
                  <a:lnTo>
                    <a:pt x="595437" y="2784"/>
                  </a:lnTo>
                  <a:lnTo>
                    <a:pt x="584060" y="27561"/>
                  </a:lnTo>
                  <a:lnTo>
                    <a:pt x="590908" y="54529"/>
                  </a:lnTo>
                  <a:lnTo>
                    <a:pt x="598944" y="51559"/>
                  </a:lnTo>
                  <a:lnTo>
                    <a:pt x="624000" y="80735"/>
                  </a:lnTo>
                  <a:lnTo>
                    <a:pt x="634060" y="85097"/>
                  </a:lnTo>
                  <a:lnTo>
                    <a:pt x="643599" y="102283"/>
                  </a:lnTo>
                  <a:lnTo>
                    <a:pt x="661436" y="118151"/>
                  </a:lnTo>
                  <a:lnTo>
                    <a:pt x="676580" y="106385"/>
                  </a:lnTo>
                  <a:lnTo>
                    <a:pt x="687011" y="113233"/>
                  </a:lnTo>
                  <a:lnTo>
                    <a:pt x="702917" y="111544"/>
                  </a:lnTo>
                  <a:lnTo>
                    <a:pt x="723110" y="126207"/>
                  </a:lnTo>
                  <a:lnTo>
                    <a:pt x="725281" y="150520"/>
                  </a:lnTo>
                  <a:lnTo>
                    <a:pt x="707074" y="164458"/>
                  </a:lnTo>
                  <a:lnTo>
                    <a:pt x="689238" y="186006"/>
                  </a:lnTo>
                  <a:lnTo>
                    <a:pt x="680070" y="229993"/>
                  </a:lnTo>
                  <a:lnTo>
                    <a:pt x="648165" y="286099"/>
                  </a:lnTo>
                  <a:lnTo>
                    <a:pt x="671644" y="305327"/>
                  </a:lnTo>
                  <a:lnTo>
                    <a:pt x="693173" y="306997"/>
                  </a:lnTo>
                  <a:lnTo>
                    <a:pt x="698759" y="336730"/>
                  </a:lnTo>
                  <a:lnTo>
                    <a:pt x="686380" y="365906"/>
                  </a:lnTo>
                  <a:lnTo>
                    <a:pt x="671551" y="374221"/>
                  </a:lnTo>
                  <a:lnTo>
                    <a:pt x="663830" y="389904"/>
                  </a:lnTo>
                  <a:lnTo>
                    <a:pt x="646755" y="400279"/>
                  </a:lnTo>
                  <a:lnTo>
                    <a:pt x="645418" y="413234"/>
                  </a:lnTo>
                  <a:lnTo>
                    <a:pt x="628269" y="417669"/>
                  </a:lnTo>
                  <a:lnTo>
                    <a:pt x="623926" y="443876"/>
                  </a:lnTo>
                  <a:lnTo>
                    <a:pt x="604512" y="471623"/>
                  </a:lnTo>
                  <a:lnTo>
                    <a:pt x="595994" y="503601"/>
                  </a:lnTo>
                  <a:lnTo>
                    <a:pt x="563328" y="512194"/>
                  </a:lnTo>
                  <a:lnTo>
                    <a:pt x="535859" y="548033"/>
                  </a:lnTo>
                  <a:lnTo>
                    <a:pt x="500448" y="555364"/>
                  </a:lnTo>
                  <a:lnTo>
                    <a:pt x="499724" y="577599"/>
                  </a:lnTo>
                  <a:lnTo>
                    <a:pt x="511045" y="579195"/>
                  </a:lnTo>
                  <a:lnTo>
                    <a:pt x="505162" y="590331"/>
                  </a:lnTo>
                  <a:lnTo>
                    <a:pt x="510878" y="620880"/>
                  </a:lnTo>
                  <a:lnTo>
                    <a:pt x="539349" y="618059"/>
                  </a:lnTo>
                  <a:lnTo>
                    <a:pt x="512474" y="646994"/>
                  </a:lnTo>
                  <a:lnTo>
                    <a:pt x="507649" y="664774"/>
                  </a:lnTo>
                  <a:lnTo>
                    <a:pt x="512938" y="67669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213">
              <a:extLst>
                <a:ext uri="{FF2B5EF4-FFF2-40B4-BE49-F238E27FC236}">
                  <a16:creationId xmlns:a16="http://schemas.microsoft.com/office/drawing/2014/main" id="{96B2EF73-B8AF-462A-B061-B31D16E2B307}"/>
                </a:ext>
              </a:extLst>
            </p:cNvPr>
            <p:cNvSpPr/>
            <p:nvPr/>
          </p:nvSpPr>
          <p:spPr>
            <a:xfrm>
              <a:off x="5034041" y="2822645"/>
              <a:ext cx="775801" cy="1030068"/>
            </a:xfrm>
            <a:custGeom>
              <a:avLst/>
              <a:gdLst>
                <a:gd name="connsiteX0" fmla="*/ 164570 w 775801"/>
                <a:gd name="connsiteY0" fmla="*/ 667773 h 1030067"/>
                <a:gd name="connsiteX1" fmla="*/ 180123 w 775801"/>
                <a:gd name="connsiteY1" fmla="*/ 674653 h 1030067"/>
                <a:gd name="connsiteX2" fmla="*/ 179770 w 775801"/>
                <a:gd name="connsiteY2" fmla="*/ 683211 h 1030067"/>
                <a:gd name="connsiteX3" fmla="*/ 158148 w 775801"/>
                <a:gd name="connsiteY3" fmla="*/ 713016 h 1030067"/>
                <a:gd name="connsiteX4" fmla="*/ 143895 w 775801"/>
                <a:gd name="connsiteY4" fmla="*/ 698274 h 1030067"/>
                <a:gd name="connsiteX5" fmla="*/ 156831 w 775801"/>
                <a:gd name="connsiteY5" fmla="*/ 667301 h 1030067"/>
                <a:gd name="connsiteX6" fmla="*/ 164570 w 775801"/>
                <a:gd name="connsiteY6" fmla="*/ 667773 h 1030067"/>
                <a:gd name="connsiteX7" fmla="*/ 38846 w 775801"/>
                <a:gd name="connsiteY7" fmla="*/ 337399 h 1030067"/>
                <a:gd name="connsiteX8" fmla="*/ 55438 w 775801"/>
                <a:gd name="connsiteY8" fmla="*/ 372178 h 1030067"/>
                <a:gd name="connsiteX9" fmla="*/ 52264 w 775801"/>
                <a:gd name="connsiteY9" fmla="*/ 389691 h 1030067"/>
                <a:gd name="connsiteX10" fmla="*/ 62008 w 775801"/>
                <a:gd name="connsiteY10" fmla="*/ 397494 h 1030067"/>
                <a:gd name="connsiteX11" fmla="*/ 70416 w 775801"/>
                <a:gd name="connsiteY11" fmla="*/ 418268 h 1030067"/>
                <a:gd name="connsiteX12" fmla="*/ 53786 w 775801"/>
                <a:gd name="connsiteY12" fmla="*/ 426017 h 1030067"/>
                <a:gd name="connsiteX13" fmla="*/ 37677 w 775801"/>
                <a:gd name="connsiteY13" fmla="*/ 420927 h 1030067"/>
                <a:gd name="connsiteX14" fmla="*/ 5716 w 775801"/>
                <a:gd name="connsiteY14" fmla="*/ 391145 h 1030067"/>
                <a:gd name="connsiteX15" fmla="*/ 2784 w 775801"/>
                <a:gd name="connsiteY15" fmla="*/ 356742 h 1030067"/>
                <a:gd name="connsiteX16" fmla="*/ 21232 w 775801"/>
                <a:gd name="connsiteY16" fmla="*/ 328296 h 1030067"/>
                <a:gd name="connsiteX17" fmla="*/ 38846 w 775801"/>
                <a:gd name="connsiteY17" fmla="*/ 337399 h 1030067"/>
                <a:gd name="connsiteX18" fmla="*/ 155383 w 775801"/>
                <a:gd name="connsiteY18" fmla="*/ 861427 h 1030067"/>
                <a:gd name="connsiteX19" fmla="*/ 158835 w 775801"/>
                <a:gd name="connsiteY19" fmla="*/ 824309 h 1030067"/>
                <a:gd name="connsiteX20" fmla="*/ 153378 w 775801"/>
                <a:gd name="connsiteY20" fmla="*/ 816676 h 1030067"/>
                <a:gd name="connsiteX21" fmla="*/ 172180 w 775801"/>
                <a:gd name="connsiteY21" fmla="*/ 795826 h 1030067"/>
                <a:gd name="connsiteX22" fmla="*/ 171790 w 775801"/>
                <a:gd name="connsiteY22" fmla="*/ 772073 h 1030067"/>
                <a:gd name="connsiteX23" fmla="*/ 182406 w 775801"/>
                <a:gd name="connsiteY23" fmla="*/ 737218 h 1030067"/>
                <a:gd name="connsiteX24" fmla="*/ 163122 w 775801"/>
                <a:gd name="connsiteY24" fmla="*/ 712223 h 1030067"/>
                <a:gd name="connsiteX25" fmla="*/ 180068 w 775801"/>
                <a:gd name="connsiteY25" fmla="*/ 701024 h 1030067"/>
                <a:gd name="connsiteX26" fmla="*/ 204641 w 775801"/>
                <a:gd name="connsiteY26" fmla="*/ 700516 h 1030067"/>
                <a:gd name="connsiteX27" fmla="*/ 217150 w 775801"/>
                <a:gd name="connsiteY27" fmla="*/ 672162 h 1030067"/>
                <a:gd name="connsiteX28" fmla="*/ 242206 w 775801"/>
                <a:gd name="connsiteY28" fmla="*/ 663923 h 1030067"/>
                <a:gd name="connsiteX29" fmla="*/ 238791 w 775801"/>
                <a:gd name="connsiteY29" fmla="*/ 642359 h 1030067"/>
                <a:gd name="connsiteX30" fmla="*/ 226059 w 775801"/>
                <a:gd name="connsiteY30" fmla="*/ 626525 h 1030067"/>
                <a:gd name="connsiteX31" fmla="*/ 201337 w 775801"/>
                <a:gd name="connsiteY31" fmla="*/ 626204 h 1030067"/>
                <a:gd name="connsiteX32" fmla="*/ 178898 w 775801"/>
                <a:gd name="connsiteY32" fmla="*/ 634877 h 1030067"/>
                <a:gd name="connsiteX33" fmla="*/ 168950 w 775801"/>
                <a:gd name="connsiteY33" fmla="*/ 652617 h 1030067"/>
                <a:gd name="connsiteX34" fmla="*/ 166185 w 775801"/>
                <a:gd name="connsiteY34" fmla="*/ 635198 h 1030067"/>
                <a:gd name="connsiteX35" fmla="*/ 138846 w 775801"/>
                <a:gd name="connsiteY35" fmla="*/ 634445 h 1030067"/>
                <a:gd name="connsiteX36" fmla="*/ 148108 w 775801"/>
                <a:gd name="connsiteY36" fmla="*/ 596405 h 1030067"/>
                <a:gd name="connsiteX37" fmla="*/ 149778 w 775801"/>
                <a:gd name="connsiteY37" fmla="*/ 574877 h 1030067"/>
                <a:gd name="connsiteX38" fmla="*/ 158148 w 775801"/>
                <a:gd name="connsiteY38" fmla="*/ 563340 h 1030067"/>
                <a:gd name="connsiteX39" fmla="*/ 150205 w 775801"/>
                <a:gd name="connsiteY39" fmla="*/ 556102 h 1030067"/>
                <a:gd name="connsiteX40" fmla="*/ 154455 w 775801"/>
                <a:gd name="connsiteY40" fmla="*/ 540115 h 1030067"/>
                <a:gd name="connsiteX41" fmla="*/ 153805 w 775801"/>
                <a:gd name="connsiteY41" fmla="*/ 498550 h 1030067"/>
                <a:gd name="connsiteX42" fmla="*/ 167595 w 775801"/>
                <a:gd name="connsiteY42" fmla="*/ 446182 h 1030067"/>
                <a:gd name="connsiteX43" fmla="*/ 178007 w 775801"/>
                <a:gd name="connsiteY43" fmla="*/ 420714 h 1030067"/>
                <a:gd name="connsiteX44" fmla="*/ 174017 w 775801"/>
                <a:gd name="connsiteY44" fmla="*/ 417095 h 1030067"/>
                <a:gd name="connsiteX45" fmla="*/ 187492 w 775801"/>
                <a:gd name="connsiteY45" fmla="*/ 389439 h 1030067"/>
                <a:gd name="connsiteX46" fmla="*/ 205198 w 775801"/>
                <a:gd name="connsiteY46" fmla="*/ 367063 h 1030067"/>
                <a:gd name="connsiteX47" fmla="*/ 217911 w 775801"/>
                <a:gd name="connsiteY47" fmla="*/ 329324 h 1030067"/>
                <a:gd name="connsiteX48" fmla="*/ 233019 w 775801"/>
                <a:gd name="connsiteY48" fmla="*/ 322668 h 1030067"/>
                <a:gd name="connsiteX49" fmla="*/ 243190 w 775801"/>
                <a:gd name="connsiteY49" fmla="*/ 290434 h 1030067"/>
                <a:gd name="connsiteX50" fmla="*/ 260023 w 775801"/>
                <a:gd name="connsiteY50" fmla="*/ 257141 h 1030067"/>
                <a:gd name="connsiteX51" fmla="*/ 269619 w 775801"/>
                <a:gd name="connsiteY51" fmla="*/ 247961 h 1030067"/>
                <a:gd name="connsiteX52" fmla="*/ 271419 w 775801"/>
                <a:gd name="connsiteY52" fmla="*/ 227262 h 1030067"/>
                <a:gd name="connsiteX53" fmla="*/ 278620 w 775801"/>
                <a:gd name="connsiteY53" fmla="*/ 208260 h 1030067"/>
                <a:gd name="connsiteX54" fmla="*/ 302581 w 775801"/>
                <a:gd name="connsiteY54" fmla="*/ 198496 h 1030067"/>
                <a:gd name="connsiteX55" fmla="*/ 297551 w 775801"/>
                <a:gd name="connsiteY55" fmla="*/ 188240 h 1030067"/>
                <a:gd name="connsiteX56" fmla="*/ 322570 w 775801"/>
                <a:gd name="connsiteY56" fmla="*/ 185111 h 1030067"/>
                <a:gd name="connsiteX57" fmla="*/ 341984 w 775801"/>
                <a:gd name="connsiteY57" fmla="*/ 173516 h 1030067"/>
                <a:gd name="connsiteX58" fmla="*/ 351616 w 775801"/>
                <a:gd name="connsiteY58" fmla="*/ 180491 h 1030067"/>
                <a:gd name="connsiteX59" fmla="*/ 356998 w 775801"/>
                <a:gd name="connsiteY59" fmla="*/ 160924 h 1030067"/>
                <a:gd name="connsiteX60" fmla="*/ 375948 w 775801"/>
                <a:gd name="connsiteY60" fmla="*/ 157058 h 1030067"/>
                <a:gd name="connsiteX61" fmla="*/ 358205 w 775801"/>
                <a:gd name="connsiteY61" fmla="*/ 147124 h 1030067"/>
                <a:gd name="connsiteX62" fmla="*/ 352897 w 775801"/>
                <a:gd name="connsiteY62" fmla="*/ 156475 h 1030067"/>
                <a:gd name="connsiteX63" fmla="*/ 342188 w 775801"/>
                <a:gd name="connsiteY63" fmla="*/ 147973 h 1030067"/>
                <a:gd name="connsiteX64" fmla="*/ 321531 w 775801"/>
                <a:gd name="connsiteY64" fmla="*/ 157212 h 1030067"/>
                <a:gd name="connsiteX65" fmla="*/ 316612 w 775801"/>
                <a:gd name="connsiteY65" fmla="*/ 169049 h 1030067"/>
                <a:gd name="connsiteX66" fmla="*/ 308836 w 775801"/>
                <a:gd name="connsiteY66" fmla="*/ 136269 h 1030067"/>
                <a:gd name="connsiteX67" fmla="*/ 315499 w 775801"/>
                <a:gd name="connsiteY67" fmla="*/ 113949 h 1030067"/>
                <a:gd name="connsiteX68" fmla="*/ 306070 w 775801"/>
                <a:gd name="connsiteY68" fmla="*/ 118850 h 1030067"/>
                <a:gd name="connsiteX69" fmla="*/ 301894 w 775801"/>
                <a:gd name="connsiteY69" fmla="*/ 87200 h 1030067"/>
                <a:gd name="connsiteX70" fmla="*/ 318728 w 775801"/>
                <a:gd name="connsiteY70" fmla="*/ 70064 h 1030067"/>
                <a:gd name="connsiteX71" fmla="*/ 345491 w 775801"/>
                <a:gd name="connsiteY71" fmla="*/ 19034 h 1030067"/>
                <a:gd name="connsiteX72" fmla="*/ 341594 w 775801"/>
                <a:gd name="connsiteY72" fmla="*/ 5197 h 1030067"/>
                <a:gd name="connsiteX73" fmla="*/ 351412 w 775801"/>
                <a:gd name="connsiteY73" fmla="*/ 2784 h 1030067"/>
                <a:gd name="connsiteX74" fmla="*/ 356015 w 775801"/>
                <a:gd name="connsiteY74" fmla="*/ 15659 h 1030067"/>
                <a:gd name="connsiteX75" fmla="*/ 369211 w 775801"/>
                <a:gd name="connsiteY75" fmla="*/ 23764 h 1030067"/>
                <a:gd name="connsiteX76" fmla="*/ 388030 w 775801"/>
                <a:gd name="connsiteY76" fmla="*/ 19069 h 1030067"/>
                <a:gd name="connsiteX77" fmla="*/ 388847 w 775801"/>
                <a:gd name="connsiteY77" fmla="*/ 40201 h 1030067"/>
                <a:gd name="connsiteX78" fmla="*/ 402247 w 775801"/>
                <a:gd name="connsiteY78" fmla="*/ 38919 h 1030067"/>
                <a:gd name="connsiteX79" fmla="*/ 411286 w 775801"/>
                <a:gd name="connsiteY79" fmla="*/ 68947 h 1030067"/>
                <a:gd name="connsiteX80" fmla="*/ 401950 w 775801"/>
                <a:gd name="connsiteY80" fmla="*/ 79788 h 1030067"/>
                <a:gd name="connsiteX81" fmla="*/ 445770 w 775801"/>
                <a:gd name="connsiteY81" fmla="*/ 55806 h 1030067"/>
                <a:gd name="connsiteX82" fmla="*/ 468023 w 775801"/>
                <a:gd name="connsiteY82" fmla="*/ 72677 h 1030067"/>
                <a:gd name="connsiteX83" fmla="*/ 481591 w 775801"/>
                <a:gd name="connsiteY83" fmla="*/ 67117 h 1030067"/>
                <a:gd name="connsiteX84" fmla="*/ 465611 w 775801"/>
                <a:gd name="connsiteY84" fmla="*/ 62857 h 1030067"/>
                <a:gd name="connsiteX85" fmla="*/ 467374 w 775801"/>
                <a:gd name="connsiteY85" fmla="*/ 47267 h 1030067"/>
                <a:gd name="connsiteX86" fmla="*/ 477359 w 775801"/>
                <a:gd name="connsiteY86" fmla="*/ 61838 h 1030067"/>
                <a:gd name="connsiteX87" fmla="*/ 494323 w 775801"/>
                <a:gd name="connsiteY87" fmla="*/ 45531 h 1030067"/>
                <a:gd name="connsiteX88" fmla="*/ 506609 w 775801"/>
                <a:gd name="connsiteY88" fmla="*/ 63986 h 1030067"/>
                <a:gd name="connsiteX89" fmla="*/ 513328 w 775801"/>
                <a:gd name="connsiteY89" fmla="*/ 90131 h 1030067"/>
                <a:gd name="connsiteX90" fmla="*/ 487697 w 775801"/>
                <a:gd name="connsiteY90" fmla="*/ 137581 h 1030067"/>
                <a:gd name="connsiteX91" fmla="*/ 496234 w 775801"/>
                <a:gd name="connsiteY91" fmla="*/ 159183 h 1030067"/>
                <a:gd name="connsiteX92" fmla="*/ 483113 w 775801"/>
                <a:gd name="connsiteY92" fmla="*/ 178279 h 1030067"/>
                <a:gd name="connsiteX93" fmla="*/ 472626 w 775801"/>
                <a:gd name="connsiteY93" fmla="*/ 176545 h 1030067"/>
                <a:gd name="connsiteX94" fmla="*/ 453083 w 775801"/>
                <a:gd name="connsiteY94" fmla="*/ 187310 h 1030067"/>
                <a:gd name="connsiteX95" fmla="*/ 445473 w 775801"/>
                <a:gd name="connsiteY95" fmla="*/ 225087 h 1030067"/>
                <a:gd name="connsiteX96" fmla="*/ 460989 w 775801"/>
                <a:gd name="connsiteY96" fmla="*/ 237076 h 1030067"/>
                <a:gd name="connsiteX97" fmla="*/ 466446 w 775801"/>
                <a:gd name="connsiteY97" fmla="*/ 265974 h 1030067"/>
                <a:gd name="connsiteX98" fmla="*/ 462789 w 775801"/>
                <a:gd name="connsiteY98" fmla="*/ 275061 h 1030067"/>
                <a:gd name="connsiteX99" fmla="*/ 424631 w 775801"/>
                <a:gd name="connsiteY99" fmla="*/ 297286 h 1030067"/>
                <a:gd name="connsiteX100" fmla="*/ 427470 w 775801"/>
                <a:gd name="connsiteY100" fmla="*/ 288333 h 1030067"/>
                <a:gd name="connsiteX101" fmla="*/ 414664 w 775801"/>
                <a:gd name="connsiteY101" fmla="*/ 282715 h 1030067"/>
                <a:gd name="connsiteX102" fmla="*/ 398721 w 775801"/>
                <a:gd name="connsiteY102" fmla="*/ 289502 h 1030067"/>
                <a:gd name="connsiteX103" fmla="*/ 414460 w 775801"/>
                <a:gd name="connsiteY103" fmla="*/ 292104 h 1030067"/>
                <a:gd name="connsiteX104" fmla="*/ 425280 w 775801"/>
                <a:gd name="connsiteY104" fmla="*/ 322698 h 1030067"/>
                <a:gd name="connsiteX105" fmla="*/ 449204 w 775801"/>
                <a:gd name="connsiteY105" fmla="*/ 318041 h 1030067"/>
                <a:gd name="connsiteX106" fmla="*/ 458447 w 775801"/>
                <a:gd name="connsiteY106" fmla="*/ 301263 h 1030067"/>
                <a:gd name="connsiteX107" fmla="*/ 497756 w 775801"/>
                <a:gd name="connsiteY107" fmla="*/ 307765 h 1030067"/>
                <a:gd name="connsiteX108" fmla="*/ 509783 w 775801"/>
                <a:gd name="connsiteY108" fmla="*/ 324560 h 1030067"/>
                <a:gd name="connsiteX109" fmla="*/ 526431 w 775801"/>
                <a:gd name="connsiteY109" fmla="*/ 332967 h 1030067"/>
                <a:gd name="connsiteX110" fmla="*/ 544917 w 775801"/>
                <a:gd name="connsiteY110" fmla="*/ 374250 h 1030067"/>
                <a:gd name="connsiteX111" fmla="*/ 540481 w 775801"/>
                <a:gd name="connsiteY111" fmla="*/ 394513 h 1030067"/>
                <a:gd name="connsiteX112" fmla="*/ 527433 w 775801"/>
                <a:gd name="connsiteY112" fmla="*/ 403394 h 1030067"/>
                <a:gd name="connsiteX113" fmla="*/ 520251 w 775801"/>
                <a:gd name="connsiteY113" fmla="*/ 422396 h 1030067"/>
                <a:gd name="connsiteX114" fmla="*/ 534857 w 775801"/>
                <a:gd name="connsiteY114" fmla="*/ 407314 h 1030067"/>
                <a:gd name="connsiteX115" fmla="*/ 532463 w 775801"/>
                <a:gd name="connsiteY115" fmla="*/ 451067 h 1030067"/>
                <a:gd name="connsiteX116" fmla="*/ 556424 w 775801"/>
                <a:gd name="connsiteY116" fmla="*/ 425146 h 1030067"/>
                <a:gd name="connsiteX117" fmla="*/ 545697 w 775801"/>
                <a:gd name="connsiteY117" fmla="*/ 416644 h 1030067"/>
                <a:gd name="connsiteX118" fmla="*/ 539609 w 775801"/>
                <a:gd name="connsiteY118" fmla="*/ 399755 h 1030067"/>
                <a:gd name="connsiteX119" fmla="*/ 565723 w 775801"/>
                <a:gd name="connsiteY119" fmla="*/ 398151 h 1030067"/>
                <a:gd name="connsiteX120" fmla="*/ 580255 w 775801"/>
                <a:gd name="connsiteY120" fmla="*/ 377132 h 1030067"/>
                <a:gd name="connsiteX121" fmla="*/ 567875 w 775801"/>
                <a:gd name="connsiteY121" fmla="*/ 368895 h 1030067"/>
                <a:gd name="connsiteX122" fmla="*/ 596606 w 775801"/>
                <a:gd name="connsiteY122" fmla="*/ 351570 h 1030067"/>
                <a:gd name="connsiteX123" fmla="*/ 621105 w 775801"/>
                <a:gd name="connsiteY123" fmla="*/ 345122 h 1030067"/>
                <a:gd name="connsiteX124" fmla="*/ 637790 w 775801"/>
                <a:gd name="connsiteY124" fmla="*/ 348420 h 1030067"/>
                <a:gd name="connsiteX125" fmla="*/ 649594 w 775801"/>
                <a:gd name="connsiteY125" fmla="*/ 321029 h 1030067"/>
                <a:gd name="connsiteX126" fmla="*/ 667282 w 775801"/>
                <a:gd name="connsiteY126" fmla="*/ 319916 h 1030067"/>
                <a:gd name="connsiteX127" fmla="*/ 686046 w 775801"/>
                <a:gd name="connsiteY127" fmla="*/ 304175 h 1030067"/>
                <a:gd name="connsiteX128" fmla="*/ 701469 w 775801"/>
                <a:gd name="connsiteY128" fmla="*/ 310226 h 1030067"/>
                <a:gd name="connsiteX129" fmla="*/ 715723 w 775801"/>
                <a:gd name="connsiteY129" fmla="*/ 324966 h 1030067"/>
                <a:gd name="connsiteX130" fmla="*/ 706759 w 775801"/>
                <a:gd name="connsiteY130" fmla="*/ 359558 h 1030067"/>
                <a:gd name="connsiteX131" fmla="*/ 706963 w 775801"/>
                <a:gd name="connsiteY131" fmla="*/ 387589 h 1030067"/>
                <a:gd name="connsiteX132" fmla="*/ 689275 w 775801"/>
                <a:gd name="connsiteY132" fmla="*/ 388702 h 1030067"/>
                <a:gd name="connsiteX133" fmla="*/ 700077 w 775801"/>
                <a:gd name="connsiteY133" fmla="*/ 403142 h 1030067"/>
                <a:gd name="connsiteX134" fmla="*/ 708188 w 775801"/>
                <a:gd name="connsiteY134" fmla="*/ 389946 h 1030067"/>
                <a:gd name="connsiteX135" fmla="*/ 715501 w 775801"/>
                <a:gd name="connsiteY135" fmla="*/ 409192 h 1030067"/>
                <a:gd name="connsiteX136" fmla="*/ 730719 w 775801"/>
                <a:gd name="connsiteY136" fmla="*/ 424630 h 1030067"/>
                <a:gd name="connsiteX137" fmla="*/ 749112 w 775801"/>
                <a:gd name="connsiteY137" fmla="*/ 459974 h 1030067"/>
                <a:gd name="connsiteX138" fmla="*/ 774428 w 775801"/>
                <a:gd name="connsiteY138" fmla="*/ 490813 h 1030067"/>
                <a:gd name="connsiteX139" fmla="*/ 762549 w 775801"/>
                <a:gd name="connsiteY139" fmla="*/ 491002 h 1030067"/>
                <a:gd name="connsiteX140" fmla="*/ 755404 w 775801"/>
                <a:gd name="connsiteY140" fmla="*/ 504896 h 1030067"/>
                <a:gd name="connsiteX141" fmla="*/ 726933 w 775801"/>
                <a:gd name="connsiteY141" fmla="*/ 507724 h 1030067"/>
                <a:gd name="connsiteX142" fmla="*/ 721941 w 775801"/>
                <a:gd name="connsiteY142" fmla="*/ 529779 h 1030067"/>
                <a:gd name="connsiteX143" fmla="*/ 732204 w 775801"/>
                <a:gd name="connsiteY143" fmla="*/ 540902 h 1030067"/>
                <a:gd name="connsiteX144" fmla="*/ 733207 w 775801"/>
                <a:gd name="connsiteY144" fmla="*/ 573908 h 1030067"/>
                <a:gd name="connsiteX145" fmla="*/ 728845 w 775801"/>
                <a:gd name="connsiteY145" fmla="*/ 583957 h 1030067"/>
                <a:gd name="connsiteX146" fmla="*/ 740575 w 775801"/>
                <a:gd name="connsiteY146" fmla="*/ 604202 h 1030067"/>
                <a:gd name="connsiteX147" fmla="*/ 736362 w 775801"/>
                <a:gd name="connsiteY147" fmla="*/ 615080 h 1030067"/>
                <a:gd name="connsiteX148" fmla="*/ 745363 w 775801"/>
                <a:gd name="connsiteY148" fmla="*/ 628953 h 1030067"/>
                <a:gd name="connsiteX149" fmla="*/ 742987 w 775801"/>
                <a:gd name="connsiteY149" fmla="*/ 651442 h 1030067"/>
                <a:gd name="connsiteX150" fmla="*/ 713867 w 775801"/>
                <a:gd name="connsiteY150" fmla="*/ 666279 h 1030067"/>
                <a:gd name="connsiteX151" fmla="*/ 689090 w 775801"/>
                <a:gd name="connsiteY151" fmla="*/ 692331 h 1030067"/>
                <a:gd name="connsiteX152" fmla="*/ 678418 w 775801"/>
                <a:gd name="connsiteY152" fmla="*/ 716141 h 1030067"/>
                <a:gd name="connsiteX153" fmla="*/ 647553 w 775801"/>
                <a:gd name="connsiteY153" fmla="*/ 687884 h 1030067"/>
                <a:gd name="connsiteX154" fmla="*/ 637716 w 775801"/>
                <a:gd name="connsiteY154" fmla="*/ 674142 h 1030067"/>
                <a:gd name="connsiteX155" fmla="*/ 614312 w 775801"/>
                <a:gd name="connsiteY155" fmla="*/ 682117 h 1030067"/>
                <a:gd name="connsiteX156" fmla="*/ 608392 w 775801"/>
                <a:gd name="connsiteY156" fmla="*/ 698367 h 1030067"/>
                <a:gd name="connsiteX157" fmla="*/ 584950 w 775801"/>
                <a:gd name="connsiteY157" fmla="*/ 711451 h 1030067"/>
                <a:gd name="connsiteX158" fmla="*/ 581572 w 775801"/>
                <a:gd name="connsiteY158" fmla="*/ 738352 h 1030067"/>
                <a:gd name="connsiteX159" fmla="*/ 559356 w 775801"/>
                <a:gd name="connsiteY159" fmla="*/ 753790 h 1030067"/>
                <a:gd name="connsiteX160" fmla="*/ 565184 w 775801"/>
                <a:gd name="connsiteY160" fmla="*/ 769022 h 1030067"/>
                <a:gd name="connsiteX161" fmla="*/ 557426 w 775801"/>
                <a:gd name="connsiteY161" fmla="*/ 789814 h 1030067"/>
                <a:gd name="connsiteX162" fmla="*/ 560247 w 775801"/>
                <a:gd name="connsiteY162" fmla="*/ 802125 h 1030067"/>
                <a:gd name="connsiteX163" fmla="*/ 544731 w 775801"/>
                <a:gd name="connsiteY163" fmla="*/ 806292 h 1030067"/>
                <a:gd name="connsiteX164" fmla="*/ 536417 w 775801"/>
                <a:gd name="connsiteY164" fmla="*/ 828875 h 1030067"/>
                <a:gd name="connsiteX165" fmla="*/ 547738 w 775801"/>
                <a:gd name="connsiteY165" fmla="*/ 830477 h 1030067"/>
                <a:gd name="connsiteX166" fmla="*/ 526969 w 775801"/>
                <a:gd name="connsiteY166" fmla="*/ 855039 h 1030067"/>
                <a:gd name="connsiteX167" fmla="*/ 523072 w 775801"/>
                <a:gd name="connsiteY167" fmla="*/ 878623 h 1030067"/>
                <a:gd name="connsiteX168" fmla="*/ 534004 w 775801"/>
                <a:gd name="connsiteY168" fmla="*/ 893890 h 1030067"/>
                <a:gd name="connsiteX169" fmla="*/ 542523 w 775801"/>
                <a:gd name="connsiteY169" fmla="*/ 899339 h 1030067"/>
                <a:gd name="connsiteX170" fmla="*/ 521661 w 775801"/>
                <a:gd name="connsiteY170" fmla="*/ 939228 h 1030067"/>
                <a:gd name="connsiteX171" fmla="*/ 495585 w 775801"/>
                <a:gd name="connsiteY171" fmla="*/ 951878 h 1030067"/>
                <a:gd name="connsiteX172" fmla="*/ 490165 w 775801"/>
                <a:gd name="connsiteY172" fmla="*/ 976554 h 1030067"/>
                <a:gd name="connsiteX173" fmla="*/ 465926 w 775801"/>
                <a:gd name="connsiteY173" fmla="*/ 984660 h 1030067"/>
                <a:gd name="connsiteX174" fmla="*/ 435135 w 775801"/>
                <a:gd name="connsiteY174" fmla="*/ 1021025 h 1030067"/>
                <a:gd name="connsiteX175" fmla="*/ 400299 w 775801"/>
                <a:gd name="connsiteY175" fmla="*/ 1005304 h 1030067"/>
                <a:gd name="connsiteX176" fmla="*/ 386211 w 775801"/>
                <a:gd name="connsiteY176" fmla="*/ 1023705 h 1030067"/>
                <a:gd name="connsiteX177" fmla="*/ 376004 w 775801"/>
                <a:gd name="connsiteY177" fmla="*/ 1023629 h 1030067"/>
                <a:gd name="connsiteX178" fmla="*/ 355142 w 775801"/>
                <a:gd name="connsiteY178" fmla="*/ 1004835 h 1030067"/>
                <a:gd name="connsiteX179" fmla="*/ 334968 w 775801"/>
                <a:gd name="connsiteY179" fmla="*/ 1006344 h 1030067"/>
                <a:gd name="connsiteX180" fmla="*/ 305384 w 775801"/>
                <a:gd name="connsiteY180" fmla="*/ 1028911 h 1030067"/>
                <a:gd name="connsiteX181" fmla="*/ 279734 w 775801"/>
                <a:gd name="connsiteY181" fmla="*/ 1022784 h 1030067"/>
                <a:gd name="connsiteX182" fmla="*/ 279715 w 775801"/>
                <a:gd name="connsiteY182" fmla="*/ 1006630 h 1030067"/>
                <a:gd name="connsiteX183" fmla="*/ 271252 w 775801"/>
                <a:gd name="connsiteY183" fmla="*/ 1012229 h 1030067"/>
                <a:gd name="connsiteX184" fmla="*/ 255161 w 775801"/>
                <a:gd name="connsiteY184" fmla="*/ 1002031 h 1030067"/>
                <a:gd name="connsiteX185" fmla="*/ 249036 w 775801"/>
                <a:gd name="connsiteY185" fmla="*/ 952830 h 1030067"/>
                <a:gd name="connsiteX186" fmla="*/ 253862 w 775801"/>
                <a:gd name="connsiteY186" fmla="*/ 918899 h 1030067"/>
                <a:gd name="connsiteX187" fmla="*/ 247458 w 775801"/>
                <a:gd name="connsiteY187" fmla="*/ 905458 h 1030067"/>
                <a:gd name="connsiteX188" fmla="*/ 260097 w 775801"/>
                <a:gd name="connsiteY188" fmla="*/ 877936 h 1030067"/>
                <a:gd name="connsiteX189" fmla="*/ 238513 w 775801"/>
                <a:gd name="connsiteY189" fmla="*/ 865213 h 1030067"/>
                <a:gd name="connsiteX190" fmla="*/ 222607 w 775801"/>
                <a:gd name="connsiteY190" fmla="*/ 866891 h 1030067"/>
                <a:gd name="connsiteX191" fmla="*/ 218802 w 775801"/>
                <a:gd name="connsiteY191" fmla="*/ 858992 h 1030067"/>
                <a:gd name="connsiteX192" fmla="*/ 198590 w 775801"/>
                <a:gd name="connsiteY192" fmla="*/ 865611 h 1030067"/>
                <a:gd name="connsiteX193" fmla="*/ 192985 w 775801"/>
                <a:gd name="connsiteY193" fmla="*/ 857147 h 1030067"/>
                <a:gd name="connsiteX194" fmla="*/ 164607 w 775801"/>
                <a:gd name="connsiteY194" fmla="*/ 865913 h 1030067"/>
                <a:gd name="connsiteX195" fmla="*/ 155383 w 775801"/>
                <a:gd name="connsiteY195" fmla="*/ 861427 h 103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</a:cxnLst>
              <a:rect l="l" t="t" r="r" b="b"/>
              <a:pathLst>
                <a:path w="775801" h="1030067">
                  <a:moveTo>
                    <a:pt x="164570" y="667773"/>
                  </a:moveTo>
                  <a:lnTo>
                    <a:pt x="180123" y="674653"/>
                  </a:lnTo>
                  <a:lnTo>
                    <a:pt x="179770" y="683211"/>
                  </a:lnTo>
                  <a:lnTo>
                    <a:pt x="158148" y="713016"/>
                  </a:lnTo>
                  <a:lnTo>
                    <a:pt x="143895" y="698274"/>
                  </a:lnTo>
                  <a:lnTo>
                    <a:pt x="156831" y="667301"/>
                  </a:lnTo>
                  <a:lnTo>
                    <a:pt x="164570" y="667773"/>
                  </a:lnTo>
                  <a:close/>
                  <a:moveTo>
                    <a:pt x="38846" y="337399"/>
                  </a:moveTo>
                  <a:lnTo>
                    <a:pt x="55438" y="372178"/>
                  </a:lnTo>
                  <a:lnTo>
                    <a:pt x="52264" y="389691"/>
                  </a:lnTo>
                  <a:lnTo>
                    <a:pt x="62008" y="397494"/>
                  </a:lnTo>
                  <a:lnTo>
                    <a:pt x="70416" y="418268"/>
                  </a:lnTo>
                  <a:lnTo>
                    <a:pt x="53786" y="426017"/>
                  </a:lnTo>
                  <a:lnTo>
                    <a:pt x="37677" y="420927"/>
                  </a:lnTo>
                  <a:lnTo>
                    <a:pt x="5716" y="391145"/>
                  </a:lnTo>
                  <a:lnTo>
                    <a:pt x="2784" y="356742"/>
                  </a:lnTo>
                  <a:lnTo>
                    <a:pt x="21232" y="328296"/>
                  </a:lnTo>
                  <a:lnTo>
                    <a:pt x="38846" y="337399"/>
                  </a:lnTo>
                  <a:close/>
                  <a:moveTo>
                    <a:pt x="155383" y="861427"/>
                  </a:moveTo>
                  <a:lnTo>
                    <a:pt x="158835" y="824309"/>
                  </a:lnTo>
                  <a:lnTo>
                    <a:pt x="153378" y="816676"/>
                  </a:lnTo>
                  <a:lnTo>
                    <a:pt x="172180" y="795826"/>
                  </a:lnTo>
                  <a:lnTo>
                    <a:pt x="171790" y="772073"/>
                  </a:lnTo>
                  <a:lnTo>
                    <a:pt x="182406" y="737218"/>
                  </a:lnTo>
                  <a:lnTo>
                    <a:pt x="163122" y="712223"/>
                  </a:lnTo>
                  <a:lnTo>
                    <a:pt x="180068" y="701024"/>
                  </a:lnTo>
                  <a:lnTo>
                    <a:pt x="204641" y="700516"/>
                  </a:lnTo>
                  <a:lnTo>
                    <a:pt x="217150" y="672162"/>
                  </a:lnTo>
                  <a:lnTo>
                    <a:pt x="242206" y="663923"/>
                  </a:lnTo>
                  <a:lnTo>
                    <a:pt x="238791" y="642359"/>
                  </a:lnTo>
                  <a:lnTo>
                    <a:pt x="226059" y="626525"/>
                  </a:lnTo>
                  <a:lnTo>
                    <a:pt x="201337" y="626204"/>
                  </a:lnTo>
                  <a:lnTo>
                    <a:pt x="178898" y="634877"/>
                  </a:lnTo>
                  <a:lnTo>
                    <a:pt x="168950" y="652617"/>
                  </a:lnTo>
                  <a:lnTo>
                    <a:pt x="166185" y="635198"/>
                  </a:lnTo>
                  <a:lnTo>
                    <a:pt x="138846" y="634445"/>
                  </a:lnTo>
                  <a:lnTo>
                    <a:pt x="148108" y="596405"/>
                  </a:lnTo>
                  <a:lnTo>
                    <a:pt x="149778" y="574877"/>
                  </a:lnTo>
                  <a:lnTo>
                    <a:pt x="158148" y="563340"/>
                  </a:lnTo>
                  <a:lnTo>
                    <a:pt x="150205" y="556102"/>
                  </a:lnTo>
                  <a:lnTo>
                    <a:pt x="154455" y="540115"/>
                  </a:lnTo>
                  <a:lnTo>
                    <a:pt x="153805" y="498550"/>
                  </a:lnTo>
                  <a:lnTo>
                    <a:pt x="167595" y="446182"/>
                  </a:lnTo>
                  <a:lnTo>
                    <a:pt x="178007" y="420714"/>
                  </a:lnTo>
                  <a:lnTo>
                    <a:pt x="174017" y="417095"/>
                  </a:lnTo>
                  <a:lnTo>
                    <a:pt x="187492" y="389439"/>
                  </a:lnTo>
                  <a:lnTo>
                    <a:pt x="205198" y="367063"/>
                  </a:lnTo>
                  <a:lnTo>
                    <a:pt x="217911" y="329324"/>
                  </a:lnTo>
                  <a:lnTo>
                    <a:pt x="233019" y="322668"/>
                  </a:lnTo>
                  <a:lnTo>
                    <a:pt x="243190" y="290434"/>
                  </a:lnTo>
                  <a:lnTo>
                    <a:pt x="260023" y="257141"/>
                  </a:lnTo>
                  <a:lnTo>
                    <a:pt x="269619" y="247961"/>
                  </a:lnTo>
                  <a:lnTo>
                    <a:pt x="271419" y="227262"/>
                  </a:lnTo>
                  <a:lnTo>
                    <a:pt x="278620" y="208260"/>
                  </a:lnTo>
                  <a:lnTo>
                    <a:pt x="302581" y="198496"/>
                  </a:lnTo>
                  <a:lnTo>
                    <a:pt x="297551" y="188240"/>
                  </a:lnTo>
                  <a:lnTo>
                    <a:pt x="322570" y="185111"/>
                  </a:lnTo>
                  <a:lnTo>
                    <a:pt x="341984" y="173516"/>
                  </a:lnTo>
                  <a:lnTo>
                    <a:pt x="351616" y="180491"/>
                  </a:lnTo>
                  <a:lnTo>
                    <a:pt x="356998" y="160924"/>
                  </a:lnTo>
                  <a:lnTo>
                    <a:pt x="375948" y="157058"/>
                  </a:lnTo>
                  <a:lnTo>
                    <a:pt x="358205" y="147124"/>
                  </a:lnTo>
                  <a:lnTo>
                    <a:pt x="352897" y="156475"/>
                  </a:lnTo>
                  <a:lnTo>
                    <a:pt x="342188" y="147973"/>
                  </a:lnTo>
                  <a:lnTo>
                    <a:pt x="321531" y="157212"/>
                  </a:lnTo>
                  <a:lnTo>
                    <a:pt x="316612" y="169049"/>
                  </a:lnTo>
                  <a:lnTo>
                    <a:pt x="308836" y="136269"/>
                  </a:lnTo>
                  <a:lnTo>
                    <a:pt x="315499" y="113949"/>
                  </a:lnTo>
                  <a:lnTo>
                    <a:pt x="306070" y="118850"/>
                  </a:lnTo>
                  <a:lnTo>
                    <a:pt x="301894" y="87200"/>
                  </a:lnTo>
                  <a:lnTo>
                    <a:pt x="318728" y="70064"/>
                  </a:lnTo>
                  <a:lnTo>
                    <a:pt x="345491" y="19034"/>
                  </a:lnTo>
                  <a:lnTo>
                    <a:pt x="341594" y="5197"/>
                  </a:lnTo>
                  <a:lnTo>
                    <a:pt x="351412" y="2784"/>
                  </a:lnTo>
                  <a:lnTo>
                    <a:pt x="356015" y="15659"/>
                  </a:lnTo>
                  <a:lnTo>
                    <a:pt x="369211" y="23764"/>
                  </a:lnTo>
                  <a:lnTo>
                    <a:pt x="388030" y="19069"/>
                  </a:lnTo>
                  <a:lnTo>
                    <a:pt x="388847" y="40201"/>
                  </a:lnTo>
                  <a:lnTo>
                    <a:pt x="402247" y="38919"/>
                  </a:lnTo>
                  <a:lnTo>
                    <a:pt x="411286" y="68947"/>
                  </a:lnTo>
                  <a:lnTo>
                    <a:pt x="401950" y="79788"/>
                  </a:lnTo>
                  <a:lnTo>
                    <a:pt x="445770" y="55806"/>
                  </a:lnTo>
                  <a:lnTo>
                    <a:pt x="468023" y="72677"/>
                  </a:lnTo>
                  <a:lnTo>
                    <a:pt x="481591" y="67117"/>
                  </a:lnTo>
                  <a:lnTo>
                    <a:pt x="465611" y="62857"/>
                  </a:lnTo>
                  <a:lnTo>
                    <a:pt x="467374" y="47267"/>
                  </a:lnTo>
                  <a:lnTo>
                    <a:pt x="477359" y="61838"/>
                  </a:lnTo>
                  <a:lnTo>
                    <a:pt x="494323" y="45531"/>
                  </a:lnTo>
                  <a:lnTo>
                    <a:pt x="506609" y="63986"/>
                  </a:lnTo>
                  <a:lnTo>
                    <a:pt x="513328" y="90131"/>
                  </a:lnTo>
                  <a:lnTo>
                    <a:pt x="487697" y="137581"/>
                  </a:lnTo>
                  <a:lnTo>
                    <a:pt x="496234" y="159183"/>
                  </a:lnTo>
                  <a:lnTo>
                    <a:pt x="483113" y="178279"/>
                  </a:lnTo>
                  <a:lnTo>
                    <a:pt x="472626" y="176545"/>
                  </a:lnTo>
                  <a:lnTo>
                    <a:pt x="453083" y="187310"/>
                  </a:lnTo>
                  <a:lnTo>
                    <a:pt x="445473" y="225087"/>
                  </a:lnTo>
                  <a:lnTo>
                    <a:pt x="460989" y="237076"/>
                  </a:lnTo>
                  <a:lnTo>
                    <a:pt x="466446" y="265974"/>
                  </a:lnTo>
                  <a:lnTo>
                    <a:pt x="462789" y="275061"/>
                  </a:lnTo>
                  <a:lnTo>
                    <a:pt x="424631" y="297286"/>
                  </a:lnTo>
                  <a:lnTo>
                    <a:pt x="427470" y="288333"/>
                  </a:lnTo>
                  <a:lnTo>
                    <a:pt x="414664" y="282715"/>
                  </a:lnTo>
                  <a:lnTo>
                    <a:pt x="398721" y="289502"/>
                  </a:lnTo>
                  <a:lnTo>
                    <a:pt x="414460" y="292104"/>
                  </a:lnTo>
                  <a:lnTo>
                    <a:pt x="425280" y="322698"/>
                  </a:lnTo>
                  <a:lnTo>
                    <a:pt x="449204" y="318041"/>
                  </a:lnTo>
                  <a:lnTo>
                    <a:pt x="458447" y="301263"/>
                  </a:lnTo>
                  <a:lnTo>
                    <a:pt x="497756" y="307765"/>
                  </a:lnTo>
                  <a:lnTo>
                    <a:pt x="509783" y="324560"/>
                  </a:lnTo>
                  <a:lnTo>
                    <a:pt x="526431" y="332967"/>
                  </a:lnTo>
                  <a:lnTo>
                    <a:pt x="544917" y="374250"/>
                  </a:lnTo>
                  <a:lnTo>
                    <a:pt x="540481" y="394513"/>
                  </a:lnTo>
                  <a:lnTo>
                    <a:pt x="527433" y="403394"/>
                  </a:lnTo>
                  <a:lnTo>
                    <a:pt x="520251" y="422396"/>
                  </a:lnTo>
                  <a:lnTo>
                    <a:pt x="534857" y="407314"/>
                  </a:lnTo>
                  <a:lnTo>
                    <a:pt x="532463" y="451067"/>
                  </a:lnTo>
                  <a:lnTo>
                    <a:pt x="556424" y="425146"/>
                  </a:lnTo>
                  <a:lnTo>
                    <a:pt x="545697" y="416644"/>
                  </a:lnTo>
                  <a:lnTo>
                    <a:pt x="539609" y="399755"/>
                  </a:lnTo>
                  <a:lnTo>
                    <a:pt x="565723" y="398151"/>
                  </a:lnTo>
                  <a:lnTo>
                    <a:pt x="580255" y="377132"/>
                  </a:lnTo>
                  <a:lnTo>
                    <a:pt x="567875" y="368895"/>
                  </a:lnTo>
                  <a:lnTo>
                    <a:pt x="596606" y="351570"/>
                  </a:lnTo>
                  <a:lnTo>
                    <a:pt x="621105" y="345122"/>
                  </a:lnTo>
                  <a:lnTo>
                    <a:pt x="637790" y="348420"/>
                  </a:lnTo>
                  <a:lnTo>
                    <a:pt x="649594" y="321029"/>
                  </a:lnTo>
                  <a:lnTo>
                    <a:pt x="667282" y="319916"/>
                  </a:lnTo>
                  <a:lnTo>
                    <a:pt x="686046" y="304175"/>
                  </a:lnTo>
                  <a:lnTo>
                    <a:pt x="701469" y="310226"/>
                  </a:lnTo>
                  <a:lnTo>
                    <a:pt x="715723" y="324966"/>
                  </a:lnTo>
                  <a:lnTo>
                    <a:pt x="706759" y="359558"/>
                  </a:lnTo>
                  <a:lnTo>
                    <a:pt x="706963" y="387589"/>
                  </a:lnTo>
                  <a:lnTo>
                    <a:pt x="689275" y="388702"/>
                  </a:lnTo>
                  <a:lnTo>
                    <a:pt x="700077" y="403142"/>
                  </a:lnTo>
                  <a:lnTo>
                    <a:pt x="708188" y="389946"/>
                  </a:lnTo>
                  <a:lnTo>
                    <a:pt x="715501" y="409192"/>
                  </a:lnTo>
                  <a:lnTo>
                    <a:pt x="730719" y="424630"/>
                  </a:lnTo>
                  <a:lnTo>
                    <a:pt x="749112" y="459974"/>
                  </a:lnTo>
                  <a:lnTo>
                    <a:pt x="774428" y="490813"/>
                  </a:lnTo>
                  <a:lnTo>
                    <a:pt x="762549" y="491002"/>
                  </a:lnTo>
                  <a:lnTo>
                    <a:pt x="755404" y="504896"/>
                  </a:lnTo>
                  <a:lnTo>
                    <a:pt x="726933" y="507724"/>
                  </a:lnTo>
                  <a:lnTo>
                    <a:pt x="721941" y="529779"/>
                  </a:lnTo>
                  <a:lnTo>
                    <a:pt x="732204" y="540902"/>
                  </a:lnTo>
                  <a:lnTo>
                    <a:pt x="733207" y="573908"/>
                  </a:lnTo>
                  <a:lnTo>
                    <a:pt x="728845" y="583957"/>
                  </a:lnTo>
                  <a:lnTo>
                    <a:pt x="740575" y="604202"/>
                  </a:lnTo>
                  <a:lnTo>
                    <a:pt x="736362" y="615080"/>
                  </a:lnTo>
                  <a:lnTo>
                    <a:pt x="745363" y="628953"/>
                  </a:lnTo>
                  <a:lnTo>
                    <a:pt x="742987" y="651442"/>
                  </a:lnTo>
                  <a:lnTo>
                    <a:pt x="713867" y="666279"/>
                  </a:lnTo>
                  <a:lnTo>
                    <a:pt x="689090" y="692331"/>
                  </a:lnTo>
                  <a:lnTo>
                    <a:pt x="678418" y="716141"/>
                  </a:lnTo>
                  <a:lnTo>
                    <a:pt x="647553" y="687884"/>
                  </a:lnTo>
                  <a:lnTo>
                    <a:pt x="637716" y="674142"/>
                  </a:lnTo>
                  <a:lnTo>
                    <a:pt x="614312" y="682117"/>
                  </a:lnTo>
                  <a:lnTo>
                    <a:pt x="608392" y="698367"/>
                  </a:lnTo>
                  <a:lnTo>
                    <a:pt x="584950" y="711451"/>
                  </a:lnTo>
                  <a:lnTo>
                    <a:pt x="581572" y="738352"/>
                  </a:lnTo>
                  <a:lnTo>
                    <a:pt x="559356" y="753790"/>
                  </a:lnTo>
                  <a:lnTo>
                    <a:pt x="565184" y="769022"/>
                  </a:lnTo>
                  <a:lnTo>
                    <a:pt x="557426" y="789814"/>
                  </a:lnTo>
                  <a:lnTo>
                    <a:pt x="560247" y="802125"/>
                  </a:lnTo>
                  <a:lnTo>
                    <a:pt x="544731" y="806292"/>
                  </a:lnTo>
                  <a:lnTo>
                    <a:pt x="536417" y="828875"/>
                  </a:lnTo>
                  <a:lnTo>
                    <a:pt x="547738" y="830477"/>
                  </a:lnTo>
                  <a:lnTo>
                    <a:pt x="526969" y="855039"/>
                  </a:lnTo>
                  <a:lnTo>
                    <a:pt x="523072" y="878623"/>
                  </a:lnTo>
                  <a:lnTo>
                    <a:pt x="534004" y="893890"/>
                  </a:lnTo>
                  <a:lnTo>
                    <a:pt x="542523" y="899339"/>
                  </a:lnTo>
                  <a:lnTo>
                    <a:pt x="521661" y="939228"/>
                  </a:lnTo>
                  <a:lnTo>
                    <a:pt x="495585" y="951878"/>
                  </a:lnTo>
                  <a:lnTo>
                    <a:pt x="490165" y="976554"/>
                  </a:lnTo>
                  <a:lnTo>
                    <a:pt x="465926" y="984660"/>
                  </a:lnTo>
                  <a:lnTo>
                    <a:pt x="435135" y="1021025"/>
                  </a:lnTo>
                  <a:lnTo>
                    <a:pt x="400299" y="1005304"/>
                  </a:lnTo>
                  <a:lnTo>
                    <a:pt x="386211" y="1023705"/>
                  </a:lnTo>
                  <a:lnTo>
                    <a:pt x="376004" y="1023629"/>
                  </a:lnTo>
                  <a:lnTo>
                    <a:pt x="355142" y="1004835"/>
                  </a:lnTo>
                  <a:lnTo>
                    <a:pt x="334968" y="1006344"/>
                  </a:lnTo>
                  <a:lnTo>
                    <a:pt x="305384" y="1028911"/>
                  </a:lnTo>
                  <a:lnTo>
                    <a:pt x="279734" y="1022784"/>
                  </a:lnTo>
                  <a:lnTo>
                    <a:pt x="279715" y="1006630"/>
                  </a:lnTo>
                  <a:lnTo>
                    <a:pt x="271252" y="1012229"/>
                  </a:lnTo>
                  <a:lnTo>
                    <a:pt x="255161" y="1002031"/>
                  </a:lnTo>
                  <a:lnTo>
                    <a:pt x="249036" y="952830"/>
                  </a:lnTo>
                  <a:lnTo>
                    <a:pt x="253862" y="918899"/>
                  </a:lnTo>
                  <a:lnTo>
                    <a:pt x="247458" y="905458"/>
                  </a:lnTo>
                  <a:lnTo>
                    <a:pt x="260097" y="877936"/>
                  </a:lnTo>
                  <a:lnTo>
                    <a:pt x="238513" y="865213"/>
                  </a:lnTo>
                  <a:lnTo>
                    <a:pt x="222607" y="866891"/>
                  </a:lnTo>
                  <a:lnTo>
                    <a:pt x="218802" y="858992"/>
                  </a:lnTo>
                  <a:lnTo>
                    <a:pt x="198590" y="865611"/>
                  </a:lnTo>
                  <a:lnTo>
                    <a:pt x="192985" y="857147"/>
                  </a:lnTo>
                  <a:lnTo>
                    <a:pt x="164607" y="865913"/>
                  </a:lnTo>
                  <a:lnTo>
                    <a:pt x="155383" y="86142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214">
              <a:extLst>
                <a:ext uri="{FF2B5EF4-FFF2-40B4-BE49-F238E27FC236}">
                  <a16:creationId xmlns:a16="http://schemas.microsoft.com/office/drawing/2014/main" id="{F8A1E38B-F526-4004-A568-A260E32CCF07}"/>
                </a:ext>
              </a:extLst>
            </p:cNvPr>
            <p:cNvSpPr/>
            <p:nvPr/>
          </p:nvSpPr>
          <p:spPr>
            <a:xfrm>
              <a:off x="4233277" y="3677006"/>
              <a:ext cx="1421684" cy="1889386"/>
            </a:xfrm>
            <a:custGeom>
              <a:avLst/>
              <a:gdLst>
                <a:gd name="connsiteX0" fmla="*/ 961028 w 1421683"/>
                <a:gd name="connsiteY0" fmla="*/ 37754 h 1889385"/>
                <a:gd name="connsiteX1" fmla="*/ 984062 w 1421683"/>
                <a:gd name="connsiteY1" fmla="*/ 43447 h 1889385"/>
                <a:gd name="connsiteX2" fmla="*/ 1004923 w 1421683"/>
                <a:gd name="connsiteY2" fmla="*/ 40976 h 1889385"/>
                <a:gd name="connsiteX3" fmla="*/ 995327 w 1421683"/>
                <a:gd name="connsiteY3" fmla="*/ 50156 h 1889385"/>
                <a:gd name="connsiteX4" fmla="*/ 967729 w 1421683"/>
                <a:gd name="connsiteY4" fmla="*/ 47745 h 1889385"/>
                <a:gd name="connsiteX5" fmla="*/ 961028 w 1421683"/>
                <a:gd name="connsiteY5" fmla="*/ 37754 h 1889385"/>
                <a:gd name="connsiteX6" fmla="*/ 469174 w 1421683"/>
                <a:gd name="connsiteY6" fmla="*/ 411097 h 1889385"/>
                <a:gd name="connsiteX7" fmla="*/ 445195 w 1421683"/>
                <a:gd name="connsiteY7" fmla="*/ 404707 h 1889385"/>
                <a:gd name="connsiteX8" fmla="*/ 448888 w 1421683"/>
                <a:gd name="connsiteY8" fmla="*/ 390513 h 1889385"/>
                <a:gd name="connsiteX9" fmla="*/ 468859 w 1421683"/>
                <a:gd name="connsiteY9" fmla="*/ 398391 h 1889385"/>
                <a:gd name="connsiteX10" fmla="*/ 469174 w 1421683"/>
                <a:gd name="connsiteY10" fmla="*/ 411097 h 1889385"/>
                <a:gd name="connsiteX11" fmla="*/ 37491 w 1421683"/>
                <a:gd name="connsiteY11" fmla="*/ 809734 h 1889385"/>
                <a:gd name="connsiteX12" fmla="*/ 37157 w 1421683"/>
                <a:gd name="connsiteY12" fmla="*/ 834448 h 1889385"/>
                <a:gd name="connsiteX13" fmla="*/ 24146 w 1421683"/>
                <a:gd name="connsiteY13" fmla="*/ 838219 h 1889385"/>
                <a:gd name="connsiteX14" fmla="*/ 2784 w 1421683"/>
                <a:gd name="connsiteY14" fmla="*/ 832263 h 1889385"/>
                <a:gd name="connsiteX15" fmla="*/ 10431 w 1421683"/>
                <a:gd name="connsiteY15" fmla="*/ 826796 h 1889385"/>
                <a:gd name="connsiteX16" fmla="*/ 4863 w 1421683"/>
                <a:gd name="connsiteY16" fmla="*/ 813223 h 1889385"/>
                <a:gd name="connsiteX17" fmla="*/ 31181 w 1421683"/>
                <a:gd name="connsiteY17" fmla="*/ 802232 h 1889385"/>
                <a:gd name="connsiteX18" fmla="*/ 37491 w 1421683"/>
                <a:gd name="connsiteY18" fmla="*/ 809734 h 1889385"/>
                <a:gd name="connsiteX19" fmla="*/ 318598 w 1421683"/>
                <a:gd name="connsiteY19" fmla="*/ 432499 h 1889385"/>
                <a:gd name="connsiteX20" fmla="*/ 314552 w 1421683"/>
                <a:gd name="connsiteY20" fmla="*/ 439097 h 1889385"/>
                <a:gd name="connsiteX21" fmla="*/ 286694 w 1421683"/>
                <a:gd name="connsiteY21" fmla="*/ 413762 h 1889385"/>
                <a:gd name="connsiteX22" fmla="*/ 306701 w 1421683"/>
                <a:gd name="connsiteY22" fmla="*/ 416534 h 1889385"/>
                <a:gd name="connsiteX23" fmla="*/ 318598 w 1421683"/>
                <a:gd name="connsiteY23" fmla="*/ 432499 h 1889385"/>
                <a:gd name="connsiteX24" fmla="*/ 502266 w 1421683"/>
                <a:gd name="connsiteY24" fmla="*/ 437298 h 1889385"/>
                <a:gd name="connsiteX25" fmla="*/ 477805 w 1421683"/>
                <a:gd name="connsiteY25" fmla="*/ 401218 h 1889385"/>
                <a:gd name="connsiteX26" fmla="*/ 485006 w 1421683"/>
                <a:gd name="connsiteY26" fmla="*/ 382216 h 1889385"/>
                <a:gd name="connsiteX27" fmla="*/ 497478 w 1421683"/>
                <a:gd name="connsiteY27" fmla="*/ 375128 h 1889385"/>
                <a:gd name="connsiteX28" fmla="*/ 525429 w 1421683"/>
                <a:gd name="connsiteY28" fmla="*/ 368981 h 1889385"/>
                <a:gd name="connsiteX29" fmla="*/ 548852 w 1421683"/>
                <a:gd name="connsiteY29" fmla="*/ 377161 h 1889385"/>
                <a:gd name="connsiteX30" fmla="*/ 548778 w 1421683"/>
                <a:gd name="connsiteY30" fmla="*/ 387378 h 1889385"/>
                <a:gd name="connsiteX31" fmla="*/ 521903 w 1421683"/>
                <a:gd name="connsiteY31" fmla="*/ 416316 h 1889385"/>
                <a:gd name="connsiteX32" fmla="*/ 505663 w 1421683"/>
                <a:gd name="connsiteY32" fmla="*/ 426552 h 1889385"/>
                <a:gd name="connsiteX33" fmla="*/ 502266 w 1421683"/>
                <a:gd name="connsiteY33" fmla="*/ 437298 h 1889385"/>
                <a:gd name="connsiteX34" fmla="*/ 18430 w 1421683"/>
                <a:gd name="connsiteY34" fmla="*/ 882507 h 1889385"/>
                <a:gd name="connsiteX35" fmla="*/ 15423 w 1421683"/>
                <a:gd name="connsiteY35" fmla="*/ 879574 h 1889385"/>
                <a:gd name="connsiteX36" fmla="*/ 14198 w 1421683"/>
                <a:gd name="connsiteY36" fmla="*/ 877217 h 1889385"/>
                <a:gd name="connsiteX37" fmla="*/ 15201 w 1421683"/>
                <a:gd name="connsiteY37" fmla="*/ 872818 h 1889385"/>
                <a:gd name="connsiteX38" fmla="*/ 18281 w 1421683"/>
                <a:gd name="connsiteY38" fmla="*/ 865515 h 1889385"/>
                <a:gd name="connsiteX39" fmla="*/ 45360 w 1421683"/>
                <a:gd name="connsiteY39" fmla="*/ 864609 h 1889385"/>
                <a:gd name="connsiteX40" fmla="*/ 52153 w 1421683"/>
                <a:gd name="connsiteY40" fmla="*/ 843119 h 1889385"/>
                <a:gd name="connsiteX41" fmla="*/ 70119 w 1421683"/>
                <a:gd name="connsiteY41" fmla="*/ 859819 h 1889385"/>
                <a:gd name="connsiteX42" fmla="*/ 70453 w 1421683"/>
                <a:gd name="connsiteY42" fmla="*/ 872521 h 1889385"/>
                <a:gd name="connsiteX43" fmla="*/ 86971 w 1421683"/>
                <a:gd name="connsiteY43" fmla="*/ 880094 h 1889385"/>
                <a:gd name="connsiteX44" fmla="*/ 88827 w 1421683"/>
                <a:gd name="connsiteY44" fmla="*/ 870443 h 1889385"/>
                <a:gd name="connsiteX45" fmla="*/ 75056 w 1421683"/>
                <a:gd name="connsiteY45" fmla="*/ 864136 h 1889385"/>
                <a:gd name="connsiteX46" fmla="*/ 94006 w 1421683"/>
                <a:gd name="connsiteY46" fmla="*/ 844116 h 1889385"/>
                <a:gd name="connsiteX47" fmla="*/ 102413 w 1421683"/>
                <a:gd name="connsiteY47" fmla="*/ 827469 h 1889385"/>
                <a:gd name="connsiteX48" fmla="*/ 145361 w 1421683"/>
                <a:gd name="connsiteY48" fmla="*/ 808729 h 1889385"/>
                <a:gd name="connsiteX49" fmla="*/ 163568 w 1421683"/>
                <a:gd name="connsiteY49" fmla="*/ 794780 h 1889385"/>
                <a:gd name="connsiteX50" fmla="*/ 181757 w 1421683"/>
                <a:gd name="connsiteY50" fmla="*/ 818249 h 1889385"/>
                <a:gd name="connsiteX51" fmla="*/ 214682 w 1421683"/>
                <a:gd name="connsiteY51" fmla="*/ 811309 h 1889385"/>
                <a:gd name="connsiteX52" fmla="*/ 242262 w 1421683"/>
                <a:gd name="connsiteY52" fmla="*/ 797566 h 1889385"/>
                <a:gd name="connsiteX53" fmla="*/ 264663 w 1421683"/>
                <a:gd name="connsiteY53" fmla="*/ 777848 h 1889385"/>
                <a:gd name="connsiteX54" fmla="*/ 264738 w 1421683"/>
                <a:gd name="connsiteY54" fmla="*/ 767631 h 1889385"/>
                <a:gd name="connsiteX55" fmla="*/ 279790 w 1421683"/>
                <a:gd name="connsiteY55" fmla="*/ 766085 h 1889385"/>
                <a:gd name="connsiteX56" fmla="*/ 270862 w 1421683"/>
                <a:gd name="connsiteY56" fmla="*/ 741992 h 1889385"/>
                <a:gd name="connsiteX57" fmla="*/ 256404 w 1421683"/>
                <a:gd name="connsiteY57" fmla="*/ 736640 h 1889385"/>
                <a:gd name="connsiteX58" fmla="*/ 244971 w 1421683"/>
                <a:gd name="connsiteY58" fmla="*/ 712944 h 1889385"/>
                <a:gd name="connsiteX59" fmla="*/ 255885 w 1421683"/>
                <a:gd name="connsiteY59" fmla="*/ 712059 h 1889385"/>
                <a:gd name="connsiteX60" fmla="*/ 252544 w 1421683"/>
                <a:gd name="connsiteY60" fmla="*/ 696432 h 1889385"/>
                <a:gd name="connsiteX61" fmla="*/ 289200 w 1421683"/>
                <a:gd name="connsiteY61" fmla="*/ 691454 h 1889385"/>
                <a:gd name="connsiteX62" fmla="*/ 296865 w 1421683"/>
                <a:gd name="connsiteY62" fmla="*/ 680879 h 1889385"/>
                <a:gd name="connsiteX63" fmla="*/ 307054 w 1421683"/>
                <a:gd name="connsiteY63" fmla="*/ 686060 h 1889385"/>
                <a:gd name="connsiteX64" fmla="*/ 310079 w 1421683"/>
                <a:gd name="connsiteY64" fmla="*/ 667720 h 1889385"/>
                <a:gd name="connsiteX65" fmla="*/ 329252 w 1421683"/>
                <a:gd name="connsiteY65" fmla="*/ 654466 h 1889385"/>
                <a:gd name="connsiteX66" fmla="*/ 335803 w 1421683"/>
                <a:gd name="connsiteY66" fmla="*/ 663627 h 1889385"/>
                <a:gd name="connsiteX67" fmla="*/ 357425 w 1421683"/>
                <a:gd name="connsiteY67" fmla="*/ 655088 h 1889385"/>
                <a:gd name="connsiteX68" fmla="*/ 377025 w 1421683"/>
                <a:gd name="connsiteY68" fmla="*/ 655370 h 1889385"/>
                <a:gd name="connsiteX69" fmla="*/ 367281 w 1421683"/>
                <a:gd name="connsiteY69" fmla="*/ 684984 h 1889385"/>
                <a:gd name="connsiteX70" fmla="*/ 379307 w 1421683"/>
                <a:gd name="connsiteY70" fmla="*/ 664360 h 1889385"/>
                <a:gd name="connsiteX71" fmla="*/ 392763 w 1421683"/>
                <a:gd name="connsiteY71" fmla="*/ 674125 h 1889385"/>
                <a:gd name="connsiteX72" fmla="*/ 395770 w 1421683"/>
                <a:gd name="connsiteY72" fmla="*/ 698310 h 1889385"/>
                <a:gd name="connsiteX73" fmla="*/ 403714 w 1421683"/>
                <a:gd name="connsiteY73" fmla="*/ 689394 h 1889385"/>
                <a:gd name="connsiteX74" fmla="*/ 423981 w 1421683"/>
                <a:gd name="connsiteY74" fmla="*/ 693822 h 1889385"/>
                <a:gd name="connsiteX75" fmla="*/ 424649 w 1421683"/>
                <a:gd name="connsiteY75" fmla="*/ 714125 h 1889385"/>
                <a:gd name="connsiteX76" fmla="*/ 386397 w 1421683"/>
                <a:gd name="connsiteY76" fmla="*/ 714258 h 1889385"/>
                <a:gd name="connsiteX77" fmla="*/ 492653 w 1421683"/>
                <a:gd name="connsiteY77" fmla="*/ 745829 h 1889385"/>
                <a:gd name="connsiteX78" fmla="*/ 533002 w 1421683"/>
                <a:gd name="connsiteY78" fmla="*/ 742811 h 1889385"/>
                <a:gd name="connsiteX79" fmla="*/ 537697 w 1421683"/>
                <a:gd name="connsiteY79" fmla="*/ 724205 h 1889385"/>
                <a:gd name="connsiteX80" fmla="*/ 522423 w 1421683"/>
                <a:gd name="connsiteY80" fmla="*/ 697720 h 1889385"/>
                <a:gd name="connsiteX81" fmla="*/ 493599 w 1421683"/>
                <a:gd name="connsiteY81" fmla="*/ 655533 h 1889385"/>
                <a:gd name="connsiteX82" fmla="*/ 521197 w 1421683"/>
                <a:gd name="connsiteY82" fmla="*/ 657946 h 1889385"/>
                <a:gd name="connsiteX83" fmla="*/ 537660 w 1421683"/>
                <a:gd name="connsiteY83" fmla="*/ 654475 h 1889385"/>
                <a:gd name="connsiteX84" fmla="*/ 555032 w 1421683"/>
                <a:gd name="connsiteY84" fmla="*/ 640658 h 1889385"/>
                <a:gd name="connsiteX85" fmla="*/ 552823 w 1421683"/>
                <a:gd name="connsiteY85" fmla="*/ 621448 h 1889385"/>
                <a:gd name="connsiteX86" fmla="*/ 560192 w 1421683"/>
                <a:gd name="connsiteY86" fmla="*/ 598169 h 1889385"/>
                <a:gd name="connsiteX87" fmla="*/ 616317 w 1421683"/>
                <a:gd name="connsiteY87" fmla="*/ 571378 h 1889385"/>
                <a:gd name="connsiteX88" fmla="*/ 610285 w 1421683"/>
                <a:gd name="connsiteY88" fmla="*/ 565535 h 1889385"/>
                <a:gd name="connsiteX89" fmla="*/ 581999 w 1421683"/>
                <a:gd name="connsiteY89" fmla="*/ 580240 h 1889385"/>
                <a:gd name="connsiteX90" fmla="*/ 598462 w 1421683"/>
                <a:gd name="connsiteY90" fmla="*/ 539351 h 1889385"/>
                <a:gd name="connsiteX91" fmla="*/ 619732 w 1421683"/>
                <a:gd name="connsiteY91" fmla="*/ 539370 h 1889385"/>
                <a:gd name="connsiteX92" fmla="*/ 626655 w 1421683"/>
                <a:gd name="connsiteY92" fmla="*/ 518709 h 1889385"/>
                <a:gd name="connsiteX93" fmla="*/ 590389 w 1421683"/>
                <a:gd name="connsiteY93" fmla="*/ 510021 h 1889385"/>
                <a:gd name="connsiteX94" fmla="*/ 577675 w 1421683"/>
                <a:gd name="connsiteY94" fmla="*/ 494186 h 1889385"/>
                <a:gd name="connsiteX95" fmla="*/ 569824 w 1421683"/>
                <a:gd name="connsiteY95" fmla="*/ 509041 h 1889385"/>
                <a:gd name="connsiteX96" fmla="*/ 552025 w 1421683"/>
                <a:gd name="connsiteY96" fmla="*/ 488061 h 1889385"/>
                <a:gd name="connsiteX97" fmla="*/ 564757 w 1421683"/>
                <a:gd name="connsiteY97" fmla="*/ 466476 h 1889385"/>
                <a:gd name="connsiteX98" fmla="*/ 564999 w 1421683"/>
                <a:gd name="connsiteY98" fmla="*/ 451979 h 1889385"/>
                <a:gd name="connsiteX99" fmla="*/ 538365 w 1421683"/>
                <a:gd name="connsiteY99" fmla="*/ 450266 h 1889385"/>
                <a:gd name="connsiteX100" fmla="*/ 558076 w 1421683"/>
                <a:gd name="connsiteY100" fmla="*/ 435221 h 1889385"/>
                <a:gd name="connsiteX101" fmla="*/ 615389 w 1421683"/>
                <a:gd name="connsiteY101" fmla="*/ 362324 h 1889385"/>
                <a:gd name="connsiteX102" fmla="*/ 644843 w 1421683"/>
                <a:gd name="connsiteY102" fmla="*/ 338928 h 1889385"/>
                <a:gd name="connsiteX103" fmla="*/ 629420 w 1421683"/>
                <a:gd name="connsiteY103" fmla="*/ 370296 h 1889385"/>
                <a:gd name="connsiteX104" fmla="*/ 618470 w 1421683"/>
                <a:gd name="connsiteY104" fmla="*/ 376292 h 1889385"/>
                <a:gd name="connsiteX105" fmla="*/ 631016 w 1421683"/>
                <a:gd name="connsiteY105" fmla="*/ 396405 h 1889385"/>
                <a:gd name="connsiteX106" fmla="*/ 632538 w 1421683"/>
                <a:gd name="connsiteY106" fmla="*/ 379156 h 1889385"/>
                <a:gd name="connsiteX107" fmla="*/ 647905 w 1421683"/>
                <a:gd name="connsiteY107" fmla="*/ 336741 h 1889385"/>
                <a:gd name="connsiteX108" fmla="*/ 670697 w 1421683"/>
                <a:gd name="connsiteY108" fmla="*/ 373085 h 1889385"/>
                <a:gd name="connsiteX109" fmla="*/ 663255 w 1421683"/>
                <a:gd name="connsiteY109" fmla="*/ 390427 h 1889385"/>
                <a:gd name="connsiteX110" fmla="*/ 677323 w 1421683"/>
                <a:gd name="connsiteY110" fmla="*/ 393293 h 1889385"/>
                <a:gd name="connsiteX111" fmla="*/ 675281 w 1421683"/>
                <a:gd name="connsiteY111" fmla="*/ 369804 h 1889385"/>
                <a:gd name="connsiteX112" fmla="*/ 649465 w 1421683"/>
                <a:gd name="connsiteY112" fmla="*/ 330539 h 1889385"/>
                <a:gd name="connsiteX113" fmla="*/ 662234 w 1421683"/>
                <a:gd name="connsiteY113" fmla="*/ 303846 h 1889385"/>
                <a:gd name="connsiteX114" fmla="*/ 685044 w 1421683"/>
                <a:gd name="connsiteY114" fmla="*/ 281507 h 1889385"/>
                <a:gd name="connsiteX115" fmla="*/ 705664 w 1421683"/>
                <a:gd name="connsiteY115" fmla="*/ 277378 h 1889385"/>
                <a:gd name="connsiteX116" fmla="*/ 712753 w 1421683"/>
                <a:gd name="connsiteY116" fmla="*/ 289857 h 1889385"/>
                <a:gd name="connsiteX117" fmla="*/ 700579 w 1421683"/>
                <a:gd name="connsiteY117" fmla="*/ 293495 h 1889385"/>
                <a:gd name="connsiteX118" fmla="*/ 711380 w 1421683"/>
                <a:gd name="connsiteY118" fmla="*/ 307935 h 1889385"/>
                <a:gd name="connsiteX119" fmla="*/ 722442 w 1421683"/>
                <a:gd name="connsiteY119" fmla="*/ 286613 h 1889385"/>
                <a:gd name="connsiteX120" fmla="*/ 737309 w 1421683"/>
                <a:gd name="connsiteY120" fmla="*/ 294455 h 1889385"/>
                <a:gd name="connsiteX121" fmla="*/ 740204 w 1421683"/>
                <a:gd name="connsiteY121" fmla="*/ 275284 h 1889385"/>
                <a:gd name="connsiteX122" fmla="*/ 756462 w 1421683"/>
                <a:gd name="connsiteY122" fmla="*/ 281203 h 1889385"/>
                <a:gd name="connsiteX123" fmla="*/ 752824 w 1421683"/>
                <a:gd name="connsiteY123" fmla="*/ 269024 h 1889385"/>
                <a:gd name="connsiteX124" fmla="*/ 764517 w 1421683"/>
                <a:gd name="connsiteY124" fmla="*/ 256960 h 1889385"/>
                <a:gd name="connsiteX125" fmla="*/ 786659 w 1421683"/>
                <a:gd name="connsiteY125" fmla="*/ 251737 h 1889385"/>
                <a:gd name="connsiteX126" fmla="*/ 787810 w 1421683"/>
                <a:gd name="connsiteY126" fmla="*/ 264310 h 1889385"/>
                <a:gd name="connsiteX127" fmla="*/ 800449 w 1421683"/>
                <a:gd name="connsiteY127" fmla="*/ 252942 h 1889385"/>
                <a:gd name="connsiteX128" fmla="*/ 813571 w 1421683"/>
                <a:gd name="connsiteY128" fmla="*/ 217691 h 1889385"/>
                <a:gd name="connsiteX129" fmla="*/ 809970 w 1421683"/>
                <a:gd name="connsiteY129" fmla="*/ 200405 h 1889385"/>
                <a:gd name="connsiteX130" fmla="*/ 812104 w 1421683"/>
                <a:gd name="connsiteY130" fmla="*/ 154993 h 1889385"/>
                <a:gd name="connsiteX131" fmla="*/ 828771 w 1421683"/>
                <a:gd name="connsiteY131" fmla="*/ 104718 h 1889385"/>
                <a:gd name="connsiteX132" fmla="*/ 852324 w 1421683"/>
                <a:gd name="connsiteY132" fmla="*/ 76309 h 1889385"/>
                <a:gd name="connsiteX133" fmla="*/ 867023 w 1421683"/>
                <a:gd name="connsiteY133" fmla="*/ 67166 h 1889385"/>
                <a:gd name="connsiteX134" fmla="*/ 859061 w 1421683"/>
                <a:gd name="connsiteY134" fmla="*/ 43771 h 1889385"/>
                <a:gd name="connsiteX135" fmla="*/ 874224 w 1421683"/>
                <a:gd name="connsiteY135" fmla="*/ 64319 h 1889385"/>
                <a:gd name="connsiteX136" fmla="*/ 900226 w 1421683"/>
                <a:gd name="connsiteY136" fmla="*/ 61886 h 1889385"/>
                <a:gd name="connsiteX137" fmla="*/ 926749 w 1421683"/>
                <a:gd name="connsiteY137" fmla="*/ 78926 h 1889385"/>
                <a:gd name="connsiteX138" fmla="*/ 947573 w 1421683"/>
                <a:gd name="connsiteY138" fmla="*/ 65408 h 1889385"/>
                <a:gd name="connsiteX139" fmla="*/ 951693 w 1421683"/>
                <a:gd name="connsiteY139" fmla="*/ 48593 h 1889385"/>
                <a:gd name="connsiteX140" fmla="*/ 992673 w 1421683"/>
                <a:gd name="connsiteY140" fmla="*/ 54831 h 1889385"/>
                <a:gd name="connsiteX141" fmla="*/ 1004496 w 1421683"/>
                <a:gd name="connsiteY141" fmla="*/ 43595 h 1889385"/>
                <a:gd name="connsiteX142" fmla="*/ 1036957 w 1421683"/>
                <a:gd name="connsiteY142" fmla="*/ 60542 h 1889385"/>
                <a:gd name="connsiteX143" fmla="*/ 1009080 w 1421683"/>
                <a:gd name="connsiteY143" fmla="*/ 40316 h 1889385"/>
                <a:gd name="connsiteX144" fmla="*/ 986289 w 1421683"/>
                <a:gd name="connsiteY144" fmla="*/ 41392 h 1889385"/>
                <a:gd name="connsiteX145" fmla="*/ 957447 w 1421683"/>
                <a:gd name="connsiteY145" fmla="*/ 36624 h 1889385"/>
                <a:gd name="connsiteX146" fmla="*/ 964295 w 1421683"/>
                <a:gd name="connsiteY146" fmla="*/ 26179 h 1889385"/>
                <a:gd name="connsiteX147" fmla="*/ 956147 w 1421683"/>
                <a:gd name="connsiteY147" fmla="*/ 7066 h 1889385"/>
                <a:gd name="connsiteX148" fmla="*/ 965372 w 1421683"/>
                <a:gd name="connsiteY148" fmla="*/ 11552 h 1889385"/>
                <a:gd name="connsiteX149" fmla="*/ 993750 w 1421683"/>
                <a:gd name="connsiteY149" fmla="*/ 2784 h 1889385"/>
                <a:gd name="connsiteX150" fmla="*/ 999355 w 1421683"/>
                <a:gd name="connsiteY150" fmla="*/ 11247 h 1889385"/>
                <a:gd name="connsiteX151" fmla="*/ 1019566 w 1421683"/>
                <a:gd name="connsiteY151" fmla="*/ 4631 h 1889385"/>
                <a:gd name="connsiteX152" fmla="*/ 1023371 w 1421683"/>
                <a:gd name="connsiteY152" fmla="*/ 12530 h 1889385"/>
                <a:gd name="connsiteX153" fmla="*/ 1039277 w 1421683"/>
                <a:gd name="connsiteY153" fmla="*/ 10850 h 1889385"/>
                <a:gd name="connsiteX154" fmla="*/ 1060862 w 1421683"/>
                <a:gd name="connsiteY154" fmla="*/ 23575 h 1889385"/>
                <a:gd name="connsiteX155" fmla="*/ 1048223 w 1421683"/>
                <a:gd name="connsiteY155" fmla="*/ 51097 h 1889385"/>
                <a:gd name="connsiteX156" fmla="*/ 1054608 w 1421683"/>
                <a:gd name="connsiteY156" fmla="*/ 64536 h 1889385"/>
                <a:gd name="connsiteX157" fmla="*/ 1049800 w 1421683"/>
                <a:gd name="connsiteY157" fmla="*/ 98469 h 1889385"/>
                <a:gd name="connsiteX158" fmla="*/ 1055925 w 1421683"/>
                <a:gd name="connsiteY158" fmla="*/ 147669 h 1889385"/>
                <a:gd name="connsiteX159" fmla="*/ 1072016 w 1421683"/>
                <a:gd name="connsiteY159" fmla="*/ 157866 h 1889385"/>
                <a:gd name="connsiteX160" fmla="*/ 1080480 w 1421683"/>
                <a:gd name="connsiteY160" fmla="*/ 152268 h 1889385"/>
                <a:gd name="connsiteX161" fmla="*/ 1080498 w 1421683"/>
                <a:gd name="connsiteY161" fmla="*/ 168423 h 1889385"/>
                <a:gd name="connsiteX162" fmla="*/ 1106148 w 1421683"/>
                <a:gd name="connsiteY162" fmla="*/ 174547 h 1889385"/>
                <a:gd name="connsiteX163" fmla="*/ 1135733 w 1421683"/>
                <a:gd name="connsiteY163" fmla="*/ 151982 h 1889385"/>
                <a:gd name="connsiteX164" fmla="*/ 1155907 w 1421683"/>
                <a:gd name="connsiteY164" fmla="*/ 150473 h 1889385"/>
                <a:gd name="connsiteX165" fmla="*/ 1176768 w 1421683"/>
                <a:gd name="connsiteY165" fmla="*/ 169267 h 1889385"/>
                <a:gd name="connsiteX166" fmla="*/ 1186976 w 1421683"/>
                <a:gd name="connsiteY166" fmla="*/ 169341 h 1889385"/>
                <a:gd name="connsiteX167" fmla="*/ 1204905 w 1421683"/>
                <a:gd name="connsiteY167" fmla="*/ 174997 h 1889385"/>
                <a:gd name="connsiteX168" fmla="*/ 1199337 w 1421683"/>
                <a:gd name="connsiteY168" fmla="*/ 198842 h 1889385"/>
                <a:gd name="connsiteX169" fmla="*/ 1210974 w 1421683"/>
                <a:gd name="connsiteY169" fmla="*/ 213150 h 1889385"/>
                <a:gd name="connsiteX170" fmla="*/ 1204645 w 1421683"/>
                <a:gd name="connsiteY170" fmla="*/ 226912 h 1889385"/>
                <a:gd name="connsiteX171" fmla="*/ 1184304 w 1421683"/>
                <a:gd name="connsiteY171" fmla="*/ 232699 h 1889385"/>
                <a:gd name="connsiteX172" fmla="*/ 1192785 w 1421683"/>
                <a:gd name="connsiteY172" fmla="*/ 243256 h 1889385"/>
                <a:gd name="connsiteX173" fmla="*/ 1179274 w 1421683"/>
                <a:gd name="connsiteY173" fmla="*/ 259863 h 1889385"/>
                <a:gd name="connsiteX174" fmla="*/ 1174356 w 1421683"/>
                <a:gd name="connsiteY174" fmla="*/ 287857 h 1889385"/>
                <a:gd name="connsiteX175" fmla="*/ 1163795 w 1421683"/>
                <a:gd name="connsiteY175" fmla="*/ 296340 h 1889385"/>
                <a:gd name="connsiteX176" fmla="*/ 1173780 w 1421683"/>
                <a:gd name="connsiteY176" fmla="*/ 310912 h 1889385"/>
                <a:gd name="connsiteX177" fmla="*/ 1185399 w 1421683"/>
                <a:gd name="connsiteY177" fmla="*/ 309063 h 1889385"/>
                <a:gd name="connsiteX178" fmla="*/ 1191524 w 1421683"/>
                <a:gd name="connsiteY178" fmla="*/ 320845 h 1889385"/>
                <a:gd name="connsiteX179" fmla="*/ 1182058 w 1421683"/>
                <a:gd name="connsiteY179" fmla="*/ 330856 h 1889385"/>
                <a:gd name="connsiteX180" fmla="*/ 1186252 w 1421683"/>
                <a:gd name="connsiteY180" fmla="*/ 341242 h 1889385"/>
                <a:gd name="connsiteX181" fmla="*/ 1217544 w 1421683"/>
                <a:gd name="connsiteY181" fmla="*/ 350722 h 1889385"/>
                <a:gd name="connsiteX182" fmla="*/ 1219400 w 1421683"/>
                <a:gd name="connsiteY182" fmla="*/ 378490 h 1889385"/>
                <a:gd name="connsiteX183" fmla="*/ 1238498 w 1421683"/>
                <a:gd name="connsiteY183" fmla="*/ 391610 h 1889385"/>
                <a:gd name="connsiteX184" fmla="*/ 1260343 w 1421683"/>
                <a:gd name="connsiteY184" fmla="*/ 389837 h 1889385"/>
                <a:gd name="connsiteX185" fmla="*/ 1277400 w 1421683"/>
                <a:gd name="connsiteY185" fmla="*/ 416886 h 1889385"/>
                <a:gd name="connsiteX186" fmla="*/ 1264835 w 1421683"/>
                <a:gd name="connsiteY186" fmla="*/ 418037 h 1889385"/>
                <a:gd name="connsiteX187" fmla="*/ 1267526 w 1421683"/>
                <a:gd name="connsiteY187" fmla="*/ 445672 h 1889385"/>
                <a:gd name="connsiteX188" fmla="*/ 1261698 w 1421683"/>
                <a:gd name="connsiteY188" fmla="*/ 467861 h 1889385"/>
                <a:gd name="connsiteX189" fmla="*/ 1272574 w 1421683"/>
                <a:gd name="connsiteY189" fmla="*/ 472081 h 1889385"/>
                <a:gd name="connsiteX190" fmla="*/ 1265169 w 1421683"/>
                <a:gd name="connsiteY190" fmla="*/ 484316 h 1889385"/>
                <a:gd name="connsiteX191" fmla="*/ 1241839 w 1421683"/>
                <a:gd name="connsiteY191" fmla="*/ 482074 h 1889385"/>
                <a:gd name="connsiteX192" fmla="*/ 1234341 w 1421683"/>
                <a:gd name="connsiteY192" fmla="*/ 488371 h 1889385"/>
                <a:gd name="connsiteX193" fmla="*/ 1238034 w 1421683"/>
                <a:gd name="connsiteY193" fmla="*/ 511595 h 1889385"/>
                <a:gd name="connsiteX194" fmla="*/ 1230017 w 1421683"/>
                <a:gd name="connsiteY194" fmla="*/ 530728 h 1889385"/>
                <a:gd name="connsiteX195" fmla="*/ 1215874 w 1421683"/>
                <a:gd name="connsiteY195" fmla="*/ 538082 h 1889385"/>
                <a:gd name="connsiteX196" fmla="*/ 1225005 w 1421683"/>
                <a:gd name="connsiteY196" fmla="*/ 552785 h 1889385"/>
                <a:gd name="connsiteX197" fmla="*/ 1236104 w 1421683"/>
                <a:gd name="connsiteY197" fmla="*/ 547619 h 1889385"/>
                <a:gd name="connsiteX198" fmla="*/ 1254460 w 1421683"/>
                <a:gd name="connsiteY198" fmla="*/ 566808 h 1889385"/>
                <a:gd name="connsiteX199" fmla="*/ 1233023 w 1421683"/>
                <a:gd name="connsiteY199" fmla="*/ 571070 h 1889385"/>
                <a:gd name="connsiteX200" fmla="*/ 1236494 w 1421683"/>
                <a:gd name="connsiteY200" fmla="*/ 587525 h 1889385"/>
                <a:gd name="connsiteX201" fmla="*/ 1214816 w 1421683"/>
                <a:gd name="connsiteY201" fmla="*/ 606283 h 1889385"/>
                <a:gd name="connsiteX202" fmla="*/ 1227492 w 1421683"/>
                <a:gd name="connsiteY202" fmla="*/ 627226 h 1889385"/>
                <a:gd name="connsiteX203" fmla="*/ 1227474 w 1421683"/>
                <a:gd name="connsiteY203" fmla="*/ 648490 h 1889385"/>
                <a:gd name="connsiteX204" fmla="*/ 1239890 w 1421683"/>
                <a:gd name="connsiteY204" fmla="*/ 651617 h 1889385"/>
                <a:gd name="connsiteX205" fmla="*/ 1267433 w 1421683"/>
                <a:gd name="connsiteY205" fmla="*/ 680402 h 1889385"/>
                <a:gd name="connsiteX206" fmla="*/ 1298150 w 1421683"/>
                <a:gd name="connsiteY206" fmla="*/ 691673 h 1889385"/>
                <a:gd name="connsiteX207" fmla="*/ 1314575 w 1421683"/>
                <a:gd name="connsiteY207" fmla="*/ 693314 h 1889385"/>
                <a:gd name="connsiteX208" fmla="*/ 1312534 w 1421683"/>
                <a:gd name="connsiteY208" fmla="*/ 707245 h 1889385"/>
                <a:gd name="connsiteX209" fmla="*/ 1327827 w 1421683"/>
                <a:gd name="connsiteY209" fmla="*/ 712466 h 1889385"/>
                <a:gd name="connsiteX210" fmla="*/ 1337329 w 1421683"/>
                <a:gd name="connsiteY210" fmla="*/ 734765 h 1889385"/>
                <a:gd name="connsiteX211" fmla="*/ 1349542 w 1421683"/>
                <a:gd name="connsiteY211" fmla="*/ 763436 h 1889385"/>
                <a:gd name="connsiteX212" fmla="*/ 1342433 w 1421683"/>
                <a:gd name="connsiteY212" fmla="*/ 772221 h 1889385"/>
                <a:gd name="connsiteX213" fmla="*/ 1327585 w 1421683"/>
                <a:gd name="connsiteY213" fmla="*/ 764379 h 1889385"/>
                <a:gd name="connsiteX214" fmla="*/ 1305035 w 1421683"/>
                <a:gd name="connsiteY214" fmla="*/ 788379 h 1889385"/>
                <a:gd name="connsiteX215" fmla="*/ 1315707 w 1421683"/>
                <a:gd name="connsiteY215" fmla="*/ 801989 h 1889385"/>
                <a:gd name="connsiteX216" fmla="*/ 1308246 w 1421683"/>
                <a:gd name="connsiteY216" fmla="*/ 819331 h 1889385"/>
                <a:gd name="connsiteX217" fmla="*/ 1287515 w 1421683"/>
                <a:gd name="connsiteY217" fmla="*/ 822631 h 1889385"/>
                <a:gd name="connsiteX218" fmla="*/ 1287441 w 1421683"/>
                <a:gd name="connsiteY218" fmla="*/ 832848 h 1889385"/>
                <a:gd name="connsiteX219" fmla="*/ 1249708 w 1421683"/>
                <a:gd name="connsiteY219" fmla="*/ 836298 h 1889385"/>
                <a:gd name="connsiteX220" fmla="*/ 1229849 w 1421683"/>
                <a:gd name="connsiteY220" fmla="*/ 850513 h 1889385"/>
                <a:gd name="connsiteX221" fmla="*/ 1235362 w 1421683"/>
                <a:gd name="connsiteY221" fmla="*/ 869199 h 1889385"/>
                <a:gd name="connsiteX222" fmla="*/ 1254738 w 1421683"/>
                <a:gd name="connsiteY222" fmla="*/ 883973 h 1889385"/>
                <a:gd name="connsiteX223" fmla="*/ 1254924 w 1421683"/>
                <a:gd name="connsiteY223" fmla="*/ 895851 h 1889385"/>
                <a:gd name="connsiteX224" fmla="*/ 1278420 w 1421683"/>
                <a:gd name="connsiteY224" fmla="*/ 931226 h 1889385"/>
                <a:gd name="connsiteX225" fmla="*/ 1270848 w 1421683"/>
                <a:gd name="connsiteY225" fmla="*/ 963891 h 1889385"/>
                <a:gd name="connsiteX226" fmla="*/ 1279646 w 1421683"/>
                <a:gd name="connsiteY226" fmla="*/ 971000 h 1889385"/>
                <a:gd name="connsiteX227" fmla="*/ 1279256 w 1421683"/>
                <a:gd name="connsiteY227" fmla="*/ 984678 h 1889385"/>
                <a:gd name="connsiteX228" fmla="*/ 1288536 w 1421683"/>
                <a:gd name="connsiteY228" fmla="*/ 1000213 h 1889385"/>
                <a:gd name="connsiteX229" fmla="*/ 1305518 w 1421683"/>
                <a:gd name="connsiteY229" fmla="*/ 1000046 h 1889385"/>
                <a:gd name="connsiteX230" fmla="*/ 1331019 w 1421683"/>
                <a:gd name="connsiteY230" fmla="*/ 1026605 h 1889385"/>
                <a:gd name="connsiteX231" fmla="*/ 1364575 w 1421683"/>
                <a:gd name="connsiteY231" fmla="*/ 1045090 h 1889385"/>
                <a:gd name="connsiteX232" fmla="*/ 1349356 w 1421683"/>
                <a:gd name="connsiteY232" fmla="*/ 1067065 h 1889385"/>
                <a:gd name="connsiteX233" fmla="*/ 1358005 w 1421683"/>
                <a:gd name="connsiteY233" fmla="*/ 1094608 h 1889385"/>
                <a:gd name="connsiteX234" fmla="*/ 1353310 w 1421683"/>
                <a:gd name="connsiteY234" fmla="*/ 1113205 h 1889385"/>
                <a:gd name="connsiteX235" fmla="*/ 1331873 w 1421683"/>
                <a:gd name="connsiteY235" fmla="*/ 1133620 h 1889385"/>
                <a:gd name="connsiteX236" fmla="*/ 1319828 w 1421683"/>
                <a:gd name="connsiteY236" fmla="*/ 1138093 h 1889385"/>
                <a:gd name="connsiteX237" fmla="*/ 1319549 w 1421683"/>
                <a:gd name="connsiteY237" fmla="*/ 1157711 h 1889385"/>
                <a:gd name="connsiteX238" fmla="*/ 1331001 w 1421683"/>
                <a:gd name="connsiteY238" fmla="*/ 1176289 h 1889385"/>
                <a:gd name="connsiteX239" fmla="*/ 1312478 w 1421683"/>
                <a:gd name="connsiteY239" fmla="*/ 1198802 h 1889385"/>
                <a:gd name="connsiteX240" fmla="*/ 1293751 w 1421683"/>
                <a:gd name="connsiteY240" fmla="*/ 1209437 h 1889385"/>
                <a:gd name="connsiteX241" fmla="*/ 1277307 w 1421683"/>
                <a:gd name="connsiteY241" fmla="*/ 1229055 h 1889385"/>
                <a:gd name="connsiteX242" fmla="*/ 1272259 w 1421683"/>
                <a:gd name="connsiteY242" fmla="*/ 1256226 h 1889385"/>
                <a:gd name="connsiteX243" fmla="*/ 1284471 w 1421683"/>
                <a:gd name="connsiteY243" fmla="*/ 1268736 h 1889385"/>
                <a:gd name="connsiteX244" fmla="*/ 1278625 w 1421683"/>
                <a:gd name="connsiteY244" fmla="*/ 1274768 h 1889385"/>
                <a:gd name="connsiteX245" fmla="*/ 1292619 w 1421683"/>
                <a:gd name="connsiteY245" fmla="*/ 1287852 h 1889385"/>
                <a:gd name="connsiteX246" fmla="*/ 1290095 w 1421683"/>
                <a:gd name="connsiteY246" fmla="*/ 1309511 h 1889385"/>
                <a:gd name="connsiteX247" fmla="*/ 1306056 w 1421683"/>
                <a:gd name="connsiteY247" fmla="*/ 1318884 h 1889385"/>
                <a:gd name="connsiteX248" fmla="*/ 1315336 w 1421683"/>
                <a:gd name="connsiteY248" fmla="*/ 1334419 h 1889385"/>
                <a:gd name="connsiteX249" fmla="*/ 1290930 w 1421683"/>
                <a:gd name="connsiteY249" fmla="*/ 1346798 h 1889385"/>
                <a:gd name="connsiteX250" fmla="*/ 1317266 w 1421683"/>
                <a:gd name="connsiteY250" fmla="*/ 1351958 h 1889385"/>
                <a:gd name="connsiteX251" fmla="*/ 1334137 w 1421683"/>
                <a:gd name="connsiteY251" fmla="*/ 1350974 h 1889385"/>
                <a:gd name="connsiteX252" fmla="*/ 1332615 w 1421683"/>
                <a:gd name="connsiteY252" fmla="*/ 1368235 h 1889385"/>
                <a:gd name="connsiteX253" fmla="*/ 1345347 w 1421683"/>
                <a:gd name="connsiteY253" fmla="*/ 1384066 h 1889385"/>
                <a:gd name="connsiteX254" fmla="*/ 1334972 w 1421683"/>
                <a:gd name="connsiteY254" fmla="*/ 1404426 h 1889385"/>
                <a:gd name="connsiteX255" fmla="*/ 1376027 w 1421683"/>
                <a:gd name="connsiteY255" fmla="*/ 1400436 h 1889385"/>
                <a:gd name="connsiteX256" fmla="*/ 1394345 w 1421683"/>
                <a:gd name="connsiteY256" fmla="*/ 1424730 h 1889385"/>
                <a:gd name="connsiteX257" fmla="*/ 1382096 w 1421683"/>
                <a:gd name="connsiteY257" fmla="*/ 1438595 h 1889385"/>
                <a:gd name="connsiteX258" fmla="*/ 1405426 w 1421683"/>
                <a:gd name="connsiteY258" fmla="*/ 1478257 h 1889385"/>
                <a:gd name="connsiteX259" fmla="*/ 1419457 w 1421683"/>
                <a:gd name="connsiteY259" fmla="*/ 1486238 h 1889385"/>
                <a:gd name="connsiteX260" fmla="*/ 1390485 w 1421683"/>
                <a:gd name="connsiteY260" fmla="*/ 1518049 h 1889385"/>
                <a:gd name="connsiteX261" fmla="*/ 1377567 w 1421683"/>
                <a:gd name="connsiteY261" fmla="*/ 1527756 h 1889385"/>
                <a:gd name="connsiteX262" fmla="*/ 1363703 w 1421683"/>
                <a:gd name="connsiteY262" fmla="*/ 1552923 h 1889385"/>
                <a:gd name="connsiteX263" fmla="*/ 1373577 w 1421683"/>
                <a:gd name="connsiteY263" fmla="*/ 1561553 h 1889385"/>
                <a:gd name="connsiteX264" fmla="*/ 1354256 w 1421683"/>
                <a:gd name="connsiteY264" fmla="*/ 1579092 h 1889385"/>
                <a:gd name="connsiteX265" fmla="*/ 1340726 w 1421683"/>
                <a:gd name="connsiteY265" fmla="*/ 1579538 h 1889385"/>
                <a:gd name="connsiteX266" fmla="*/ 1319475 w 1421683"/>
                <a:gd name="connsiteY266" fmla="*/ 1611832 h 1889385"/>
                <a:gd name="connsiteX267" fmla="*/ 1295644 w 1421683"/>
                <a:gd name="connsiteY267" fmla="*/ 1622429 h 1889385"/>
                <a:gd name="connsiteX268" fmla="*/ 1285937 w 1421683"/>
                <a:gd name="connsiteY268" fmla="*/ 1646947 h 1889385"/>
                <a:gd name="connsiteX269" fmla="*/ 1271498 w 1421683"/>
                <a:gd name="connsiteY269" fmla="*/ 1657749 h 1889385"/>
                <a:gd name="connsiteX270" fmla="*/ 1263535 w 1421683"/>
                <a:gd name="connsiteY270" fmla="*/ 1650510 h 1889385"/>
                <a:gd name="connsiteX271" fmla="*/ 1246553 w 1421683"/>
                <a:gd name="connsiteY271" fmla="*/ 1666806 h 1889385"/>
                <a:gd name="connsiteX272" fmla="*/ 1229014 w 1421683"/>
                <a:gd name="connsiteY272" fmla="*/ 1668754 h 1889385"/>
                <a:gd name="connsiteX273" fmla="*/ 1222425 w 1421683"/>
                <a:gd name="connsiteY273" fmla="*/ 1680855 h 1889385"/>
                <a:gd name="connsiteX274" fmla="*/ 1204794 w 1421683"/>
                <a:gd name="connsiteY274" fmla="*/ 1693012 h 1889385"/>
                <a:gd name="connsiteX275" fmla="*/ 1190335 w 1421683"/>
                <a:gd name="connsiteY275" fmla="*/ 1687667 h 1889385"/>
                <a:gd name="connsiteX276" fmla="*/ 1155127 w 1421683"/>
                <a:gd name="connsiteY276" fmla="*/ 1685607 h 1889385"/>
                <a:gd name="connsiteX277" fmla="*/ 1136234 w 1421683"/>
                <a:gd name="connsiteY277" fmla="*/ 1700510 h 1889385"/>
                <a:gd name="connsiteX278" fmla="*/ 1111735 w 1421683"/>
                <a:gd name="connsiteY278" fmla="*/ 1706969 h 1889385"/>
                <a:gd name="connsiteX279" fmla="*/ 1108338 w 1421683"/>
                <a:gd name="connsiteY279" fmla="*/ 1717715 h 1889385"/>
                <a:gd name="connsiteX280" fmla="*/ 1081835 w 1421683"/>
                <a:gd name="connsiteY280" fmla="*/ 1716824 h 1889385"/>
                <a:gd name="connsiteX281" fmla="*/ 1063070 w 1421683"/>
                <a:gd name="connsiteY281" fmla="*/ 1732563 h 1889385"/>
                <a:gd name="connsiteX282" fmla="*/ 1044065 w 1421683"/>
                <a:gd name="connsiteY282" fmla="*/ 1725380 h 1889385"/>
                <a:gd name="connsiteX283" fmla="*/ 1028382 w 1421683"/>
                <a:gd name="connsiteY283" fmla="*/ 1733825 h 1889385"/>
                <a:gd name="connsiteX284" fmla="*/ 1005443 w 1421683"/>
                <a:gd name="connsiteY284" fmla="*/ 1755336 h 1889385"/>
                <a:gd name="connsiteX285" fmla="*/ 996459 w 1421683"/>
                <a:gd name="connsiteY285" fmla="*/ 1773784 h 1889385"/>
                <a:gd name="connsiteX286" fmla="*/ 982094 w 1421683"/>
                <a:gd name="connsiteY286" fmla="*/ 1774360 h 1889385"/>
                <a:gd name="connsiteX287" fmla="*/ 976229 w 1421683"/>
                <a:gd name="connsiteY287" fmla="*/ 1764245 h 1889385"/>
                <a:gd name="connsiteX288" fmla="*/ 950357 w 1421683"/>
                <a:gd name="connsiteY288" fmla="*/ 1751345 h 1889385"/>
                <a:gd name="connsiteX289" fmla="*/ 939276 w 1421683"/>
                <a:gd name="connsiteY289" fmla="*/ 1756505 h 1889385"/>
                <a:gd name="connsiteX290" fmla="*/ 927602 w 1421683"/>
                <a:gd name="connsiteY290" fmla="*/ 1747318 h 1889385"/>
                <a:gd name="connsiteX291" fmla="*/ 906556 w 1421683"/>
                <a:gd name="connsiteY291" fmla="*/ 1716639 h 1889385"/>
                <a:gd name="connsiteX292" fmla="*/ 895624 w 1421683"/>
                <a:gd name="connsiteY292" fmla="*/ 1701383 h 1889385"/>
                <a:gd name="connsiteX293" fmla="*/ 880553 w 1421683"/>
                <a:gd name="connsiteY293" fmla="*/ 1702923 h 1889385"/>
                <a:gd name="connsiteX294" fmla="*/ 871143 w 1421683"/>
                <a:gd name="connsiteY294" fmla="*/ 1686553 h 1889385"/>
                <a:gd name="connsiteX295" fmla="*/ 847238 w 1421683"/>
                <a:gd name="connsiteY295" fmla="*/ 1669961 h 1889385"/>
                <a:gd name="connsiteX296" fmla="*/ 847183 w 1421683"/>
                <a:gd name="connsiteY296" fmla="*/ 1658918 h 1889385"/>
                <a:gd name="connsiteX297" fmla="*/ 816689 w 1421683"/>
                <a:gd name="connsiteY297" fmla="*/ 1654408 h 1889385"/>
                <a:gd name="connsiteX298" fmla="*/ 809636 w 1421683"/>
                <a:gd name="connsiteY298" fmla="*/ 1674230 h 1889385"/>
                <a:gd name="connsiteX299" fmla="*/ 775709 w 1421683"/>
                <a:gd name="connsiteY299" fmla="*/ 1685588 h 1889385"/>
                <a:gd name="connsiteX300" fmla="*/ 770586 w 1421683"/>
                <a:gd name="connsiteY300" fmla="*/ 1669386 h 1889385"/>
                <a:gd name="connsiteX301" fmla="*/ 745011 w 1421683"/>
                <a:gd name="connsiteY301" fmla="*/ 1653053 h 1889385"/>
                <a:gd name="connsiteX302" fmla="*/ 724187 w 1421683"/>
                <a:gd name="connsiteY302" fmla="*/ 1650417 h 1889385"/>
                <a:gd name="connsiteX303" fmla="*/ 706016 w 1421683"/>
                <a:gd name="connsiteY303" fmla="*/ 1659252 h 1889385"/>
                <a:gd name="connsiteX304" fmla="*/ 687494 w 1421683"/>
                <a:gd name="connsiteY304" fmla="*/ 1660495 h 1889385"/>
                <a:gd name="connsiteX305" fmla="*/ 674780 w 1421683"/>
                <a:gd name="connsiteY305" fmla="*/ 1682080 h 1889385"/>
                <a:gd name="connsiteX306" fmla="*/ 667857 w 1421683"/>
                <a:gd name="connsiteY306" fmla="*/ 1702738 h 1889385"/>
                <a:gd name="connsiteX307" fmla="*/ 672404 w 1421683"/>
                <a:gd name="connsiteY307" fmla="*/ 1720722 h 1889385"/>
                <a:gd name="connsiteX308" fmla="*/ 667913 w 1421683"/>
                <a:gd name="connsiteY308" fmla="*/ 1751216 h 1889385"/>
                <a:gd name="connsiteX309" fmla="*/ 657130 w 1421683"/>
                <a:gd name="connsiteY309" fmla="*/ 1769089 h 1889385"/>
                <a:gd name="connsiteX310" fmla="*/ 664851 w 1421683"/>
                <a:gd name="connsiteY310" fmla="*/ 1790822 h 1889385"/>
                <a:gd name="connsiteX311" fmla="*/ 642356 w 1421683"/>
                <a:gd name="connsiteY311" fmla="*/ 1825863 h 1889385"/>
                <a:gd name="connsiteX312" fmla="*/ 635303 w 1421683"/>
                <a:gd name="connsiteY312" fmla="*/ 1808268 h 1889385"/>
                <a:gd name="connsiteX313" fmla="*/ 621847 w 1421683"/>
                <a:gd name="connsiteY313" fmla="*/ 1814671 h 1889385"/>
                <a:gd name="connsiteX314" fmla="*/ 611454 w 1421683"/>
                <a:gd name="connsiteY314" fmla="*/ 1802719 h 1889385"/>
                <a:gd name="connsiteX315" fmla="*/ 610600 w 1421683"/>
                <a:gd name="connsiteY315" fmla="*/ 1824100 h 1889385"/>
                <a:gd name="connsiteX316" fmla="*/ 585990 w 1421683"/>
                <a:gd name="connsiteY316" fmla="*/ 1845889 h 1889385"/>
                <a:gd name="connsiteX317" fmla="*/ 566335 w 1421683"/>
                <a:gd name="connsiteY317" fmla="*/ 1850715 h 1889385"/>
                <a:gd name="connsiteX318" fmla="*/ 566057 w 1421683"/>
                <a:gd name="connsiteY318" fmla="*/ 1870314 h 1889385"/>
                <a:gd name="connsiteX319" fmla="*/ 544936 w 1421683"/>
                <a:gd name="connsiteY319" fmla="*/ 1887277 h 1889385"/>
                <a:gd name="connsiteX320" fmla="*/ 506832 w 1421683"/>
                <a:gd name="connsiteY320" fmla="*/ 1866973 h 1889385"/>
                <a:gd name="connsiteX321" fmla="*/ 504290 w 1421683"/>
                <a:gd name="connsiteY321" fmla="*/ 1818903 h 1889385"/>
                <a:gd name="connsiteX322" fmla="*/ 497423 w 1421683"/>
                <a:gd name="connsiteY322" fmla="*/ 1813205 h 1889385"/>
                <a:gd name="connsiteX323" fmla="*/ 494156 w 1421683"/>
                <a:gd name="connsiteY323" fmla="*/ 1787352 h 1889385"/>
                <a:gd name="connsiteX324" fmla="*/ 496531 w 1421683"/>
                <a:gd name="connsiteY324" fmla="*/ 1764857 h 1889385"/>
                <a:gd name="connsiteX325" fmla="*/ 486714 w 1421683"/>
                <a:gd name="connsiteY325" fmla="*/ 1729853 h 1889385"/>
                <a:gd name="connsiteX326" fmla="*/ 476450 w 1421683"/>
                <a:gd name="connsiteY326" fmla="*/ 1734902 h 1889385"/>
                <a:gd name="connsiteX327" fmla="*/ 457277 w 1421683"/>
                <a:gd name="connsiteY327" fmla="*/ 1731988 h 1889385"/>
                <a:gd name="connsiteX328" fmla="*/ 450355 w 1421683"/>
                <a:gd name="connsiteY328" fmla="*/ 1715228 h 1889385"/>
                <a:gd name="connsiteX329" fmla="*/ 430737 w 1421683"/>
                <a:gd name="connsiteY329" fmla="*/ 1698803 h 1889385"/>
                <a:gd name="connsiteX330" fmla="*/ 433280 w 1421683"/>
                <a:gd name="connsiteY330" fmla="*/ 1672021 h 1889385"/>
                <a:gd name="connsiteX331" fmla="*/ 421513 w 1421683"/>
                <a:gd name="connsiteY331" fmla="*/ 1656895 h 1889385"/>
                <a:gd name="connsiteX332" fmla="*/ 398684 w 1421683"/>
                <a:gd name="connsiteY332" fmla="*/ 1663075 h 1889385"/>
                <a:gd name="connsiteX333" fmla="*/ 394490 w 1421683"/>
                <a:gd name="connsiteY333" fmla="*/ 1631431 h 1889385"/>
                <a:gd name="connsiteX334" fmla="*/ 388420 w 1421683"/>
                <a:gd name="connsiteY334" fmla="*/ 1630688 h 1889385"/>
                <a:gd name="connsiteX335" fmla="*/ 369823 w 1421683"/>
                <a:gd name="connsiteY335" fmla="*/ 1604742 h 1889385"/>
                <a:gd name="connsiteX336" fmla="*/ 351393 w 1421683"/>
                <a:gd name="connsiteY336" fmla="*/ 1595759 h 1889385"/>
                <a:gd name="connsiteX337" fmla="*/ 322960 w 1421683"/>
                <a:gd name="connsiteY337" fmla="*/ 1609642 h 1889385"/>
                <a:gd name="connsiteX338" fmla="*/ 318413 w 1421683"/>
                <a:gd name="connsiteY338" fmla="*/ 1591657 h 1889385"/>
                <a:gd name="connsiteX339" fmla="*/ 330885 w 1421683"/>
                <a:gd name="connsiteY339" fmla="*/ 1584567 h 1889385"/>
                <a:gd name="connsiteX340" fmla="*/ 326282 w 1421683"/>
                <a:gd name="connsiteY340" fmla="*/ 1571687 h 1889385"/>
                <a:gd name="connsiteX341" fmla="*/ 310376 w 1421683"/>
                <a:gd name="connsiteY341" fmla="*/ 1557210 h 1889385"/>
                <a:gd name="connsiteX342" fmla="*/ 295658 w 1421683"/>
                <a:gd name="connsiteY342" fmla="*/ 1566360 h 1889385"/>
                <a:gd name="connsiteX343" fmla="*/ 242429 w 1421683"/>
                <a:gd name="connsiteY343" fmla="*/ 1573970 h 1889385"/>
                <a:gd name="connsiteX344" fmla="*/ 216668 w 1421683"/>
                <a:gd name="connsiteY344" fmla="*/ 1583175 h 1889385"/>
                <a:gd name="connsiteX345" fmla="*/ 207926 w 1421683"/>
                <a:gd name="connsiteY345" fmla="*/ 1570963 h 1889385"/>
                <a:gd name="connsiteX346" fmla="*/ 215554 w 1421683"/>
                <a:gd name="connsiteY346" fmla="*/ 1549341 h 1889385"/>
                <a:gd name="connsiteX347" fmla="*/ 204400 w 1421683"/>
                <a:gd name="connsiteY347" fmla="*/ 1543457 h 1889385"/>
                <a:gd name="connsiteX348" fmla="*/ 214515 w 1421683"/>
                <a:gd name="connsiteY348" fmla="*/ 1521445 h 1889385"/>
                <a:gd name="connsiteX349" fmla="*/ 210877 w 1421683"/>
                <a:gd name="connsiteY349" fmla="*/ 1509252 h 1889385"/>
                <a:gd name="connsiteX350" fmla="*/ 217893 w 1421683"/>
                <a:gd name="connsiteY350" fmla="*/ 1494534 h 1889385"/>
                <a:gd name="connsiteX351" fmla="*/ 197755 w 1421683"/>
                <a:gd name="connsiteY351" fmla="*/ 1490933 h 1889385"/>
                <a:gd name="connsiteX352" fmla="*/ 187157 w 1421683"/>
                <a:gd name="connsiteY352" fmla="*/ 1467103 h 1889385"/>
                <a:gd name="connsiteX353" fmla="*/ 173256 w 1421683"/>
                <a:gd name="connsiteY353" fmla="*/ 1459976 h 1889385"/>
                <a:gd name="connsiteX354" fmla="*/ 164236 w 1421683"/>
                <a:gd name="connsiteY354" fmla="*/ 1446093 h 1889385"/>
                <a:gd name="connsiteX355" fmla="*/ 166946 w 1421683"/>
                <a:gd name="connsiteY355" fmla="*/ 1436312 h 1889385"/>
                <a:gd name="connsiteX356" fmla="*/ 144897 w 1421683"/>
                <a:gd name="connsiteY356" fmla="*/ 1410050 h 1889385"/>
                <a:gd name="connsiteX357" fmla="*/ 126819 w 1421683"/>
                <a:gd name="connsiteY357" fmla="*/ 1408676 h 1889385"/>
                <a:gd name="connsiteX358" fmla="*/ 151968 w 1421683"/>
                <a:gd name="connsiteY358" fmla="*/ 1368958 h 1889385"/>
                <a:gd name="connsiteX359" fmla="*/ 127673 w 1421683"/>
                <a:gd name="connsiteY359" fmla="*/ 1312444 h 1889385"/>
                <a:gd name="connsiteX360" fmla="*/ 102636 w 1421683"/>
                <a:gd name="connsiteY360" fmla="*/ 1261998 h 1889385"/>
                <a:gd name="connsiteX361" fmla="*/ 65962 w 1421683"/>
                <a:gd name="connsiteY361" fmla="*/ 1234660 h 1889385"/>
                <a:gd name="connsiteX362" fmla="*/ 67725 w 1421683"/>
                <a:gd name="connsiteY362" fmla="*/ 1219070 h 1889385"/>
                <a:gd name="connsiteX363" fmla="*/ 79343 w 1421683"/>
                <a:gd name="connsiteY363" fmla="*/ 1217232 h 1889385"/>
                <a:gd name="connsiteX364" fmla="*/ 102209 w 1421683"/>
                <a:gd name="connsiteY364" fmla="*/ 1189782 h 1889385"/>
                <a:gd name="connsiteX365" fmla="*/ 103415 w 1421683"/>
                <a:gd name="connsiteY365" fmla="*/ 1175992 h 1889385"/>
                <a:gd name="connsiteX366" fmla="*/ 129566 w 1421683"/>
                <a:gd name="connsiteY366" fmla="*/ 1169274 h 1889385"/>
                <a:gd name="connsiteX367" fmla="*/ 126003 w 1421683"/>
                <a:gd name="connsiteY367" fmla="*/ 1146872 h 1889385"/>
                <a:gd name="connsiteX368" fmla="*/ 114588 w 1421683"/>
                <a:gd name="connsiteY368" fmla="*/ 1139337 h 1889385"/>
                <a:gd name="connsiteX369" fmla="*/ 116240 w 1421683"/>
                <a:gd name="connsiteY369" fmla="*/ 1122911 h 1889385"/>
                <a:gd name="connsiteX370" fmla="*/ 129845 w 1421683"/>
                <a:gd name="connsiteY370" fmla="*/ 1112239 h 1889385"/>
                <a:gd name="connsiteX371" fmla="*/ 118486 w 1421683"/>
                <a:gd name="connsiteY371" fmla="*/ 1099600 h 1889385"/>
                <a:gd name="connsiteX372" fmla="*/ 122476 w 1421683"/>
                <a:gd name="connsiteY372" fmla="*/ 1081950 h 1889385"/>
                <a:gd name="connsiteX373" fmla="*/ 138178 w 1421683"/>
                <a:gd name="connsiteY373" fmla="*/ 1068401 h 1889385"/>
                <a:gd name="connsiteX374" fmla="*/ 152580 w 1421683"/>
                <a:gd name="connsiteY374" fmla="*/ 1046556 h 1889385"/>
                <a:gd name="connsiteX375" fmla="*/ 153564 w 1421683"/>
                <a:gd name="connsiteY375" fmla="*/ 1025992 h 1889385"/>
                <a:gd name="connsiteX376" fmla="*/ 130791 w 1421683"/>
                <a:gd name="connsiteY376" fmla="*/ 1021946 h 1889385"/>
                <a:gd name="connsiteX377" fmla="*/ 101875 w 1421683"/>
                <a:gd name="connsiteY377" fmla="*/ 973821 h 1889385"/>
                <a:gd name="connsiteX378" fmla="*/ 73033 w 1421683"/>
                <a:gd name="connsiteY378" fmla="*/ 969051 h 1889385"/>
                <a:gd name="connsiteX379" fmla="*/ 69265 w 1421683"/>
                <a:gd name="connsiteY379" fmla="*/ 956059 h 1889385"/>
                <a:gd name="connsiteX380" fmla="*/ 54640 w 1421683"/>
                <a:gd name="connsiteY380" fmla="*/ 954982 h 1889385"/>
                <a:gd name="connsiteX381" fmla="*/ 43709 w 1421683"/>
                <a:gd name="connsiteY381" fmla="*/ 939708 h 1889385"/>
                <a:gd name="connsiteX382" fmla="*/ 43374 w 1421683"/>
                <a:gd name="connsiteY382" fmla="*/ 927013 h 1889385"/>
                <a:gd name="connsiteX383" fmla="*/ 21307 w 1421683"/>
                <a:gd name="connsiteY383" fmla="*/ 905855 h 1889385"/>
                <a:gd name="connsiteX384" fmla="*/ 18430 w 1421683"/>
                <a:gd name="connsiteY384" fmla="*/ 882507 h 1889385"/>
                <a:gd name="connsiteX385" fmla="*/ 431479 w 1421683"/>
                <a:gd name="connsiteY385" fmla="*/ 259765 h 1889385"/>
                <a:gd name="connsiteX386" fmla="*/ 409931 w 1421683"/>
                <a:gd name="connsiteY386" fmla="*/ 241932 h 1889385"/>
                <a:gd name="connsiteX387" fmla="*/ 428714 w 1421683"/>
                <a:gd name="connsiteY387" fmla="*/ 242346 h 1889385"/>
                <a:gd name="connsiteX388" fmla="*/ 429623 w 1421683"/>
                <a:gd name="connsiteY388" fmla="*/ 231997 h 1889385"/>
                <a:gd name="connsiteX389" fmla="*/ 438068 w 1421683"/>
                <a:gd name="connsiteY389" fmla="*/ 210243 h 1889385"/>
                <a:gd name="connsiteX390" fmla="*/ 453807 w 1421683"/>
                <a:gd name="connsiteY390" fmla="*/ 212844 h 1889385"/>
                <a:gd name="connsiteX391" fmla="*/ 454568 w 1421683"/>
                <a:gd name="connsiteY391" fmla="*/ 201665 h 1889385"/>
                <a:gd name="connsiteX392" fmla="*/ 477155 w 1421683"/>
                <a:gd name="connsiteY392" fmla="*/ 172558 h 1889385"/>
                <a:gd name="connsiteX393" fmla="*/ 492560 w 1421683"/>
                <a:gd name="connsiteY393" fmla="*/ 183718 h 1889385"/>
                <a:gd name="connsiteX394" fmla="*/ 491632 w 1421683"/>
                <a:gd name="connsiteY394" fmla="*/ 215331 h 1889385"/>
                <a:gd name="connsiteX395" fmla="*/ 480162 w 1421683"/>
                <a:gd name="connsiteY395" fmla="*/ 234163 h 1889385"/>
                <a:gd name="connsiteX396" fmla="*/ 431479 w 1421683"/>
                <a:gd name="connsiteY396" fmla="*/ 259765 h 1889385"/>
                <a:gd name="connsiteX397" fmla="*/ 357017 w 1421683"/>
                <a:gd name="connsiteY397" fmla="*/ 299674 h 1889385"/>
                <a:gd name="connsiteX398" fmla="*/ 371271 w 1421683"/>
                <a:gd name="connsiteY398" fmla="*/ 276995 h 1889385"/>
                <a:gd name="connsiteX399" fmla="*/ 406461 w 1421683"/>
                <a:gd name="connsiteY399" fmla="*/ 262894 h 1889385"/>
                <a:gd name="connsiteX400" fmla="*/ 406219 w 1421683"/>
                <a:gd name="connsiteY400" fmla="*/ 277391 h 1889385"/>
                <a:gd name="connsiteX401" fmla="*/ 417541 w 1421683"/>
                <a:gd name="connsiteY401" fmla="*/ 278992 h 1889385"/>
                <a:gd name="connsiteX402" fmla="*/ 429957 w 1421683"/>
                <a:gd name="connsiteY402" fmla="*/ 298276 h 1889385"/>
                <a:gd name="connsiteX403" fmla="*/ 409764 w 1421683"/>
                <a:gd name="connsiteY403" fmla="*/ 321049 h 1889385"/>
                <a:gd name="connsiteX404" fmla="*/ 389887 w 1421683"/>
                <a:gd name="connsiteY404" fmla="*/ 319108 h 1889385"/>
                <a:gd name="connsiteX405" fmla="*/ 372088 w 1421683"/>
                <a:gd name="connsiteY405" fmla="*/ 298128 h 1889385"/>
                <a:gd name="connsiteX406" fmla="*/ 364404 w 1421683"/>
                <a:gd name="connsiteY406" fmla="*/ 308703 h 1889385"/>
                <a:gd name="connsiteX407" fmla="*/ 375651 w 1421683"/>
                <a:gd name="connsiteY407" fmla="*/ 320522 h 1889385"/>
                <a:gd name="connsiteX408" fmla="*/ 409857 w 1421683"/>
                <a:gd name="connsiteY408" fmla="*/ 326986 h 1889385"/>
                <a:gd name="connsiteX409" fmla="*/ 430551 w 1421683"/>
                <a:gd name="connsiteY409" fmla="*/ 312641 h 1889385"/>
                <a:gd name="connsiteX410" fmla="*/ 426728 w 1421683"/>
                <a:gd name="connsiteY410" fmla="*/ 342161 h 1889385"/>
                <a:gd name="connsiteX411" fmla="*/ 415239 w 1421683"/>
                <a:gd name="connsiteY411" fmla="*/ 344839 h 1889385"/>
                <a:gd name="connsiteX412" fmla="*/ 402674 w 1421683"/>
                <a:gd name="connsiteY412" fmla="*/ 383408 h 1889385"/>
                <a:gd name="connsiteX413" fmla="*/ 388253 w 1421683"/>
                <a:gd name="connsiteY413" fmla="*/ 389102 h 1889385"/>
                <a:gd name="connsiteX414" fmla="*/ 403918 w 1421683"/>
                <a:gd name="connsiteY414" fmla="*/ 401920 h 1889385"/>
                <a:gd name="connsiteX415" fmla="*/ 384578 w 1421683"/>
                <a:gd name="connsiteY415" fmla="*/ 419451 h 1889385"/>
                <a:gd name="connsiteX416" fmla="*/ 350039 w 1421683"/>
                <a:gd name="connsiteY416" fmla="*/ 421545 h 1889385"/>
                <a:gd name="connsiteX417" fmla="*/ 332258 w 1421683"/>
                <a:gd name="connsiteY417" fmla="*/ 416721 h 1889385"/>
                <a:gd name="connsiteX418" fmla="*/ 338532 w 1421683"/>
                <a:gd name="connsiteY418" fmla="*/ 408067 h 1889385"/>
                <a:gd name="connsiteX419" fmla="*/ 315814 w 1421683"/>
                <a:gd name="connsiteY419" fmla="*/ 398926 h 1889385"/>
                <a:gd name="connsiteX420" fmla="*/ 313012 w 1421683"/>
                <a:gd name="connsiteY420" fmla="*/ 386615 h 1889385"/>
                <a:gd name="connsiteX421" fmla="*/ 299370 w 1421683"/>
                <a:gd name="connsiteY421" fmla="*/ 381131 h 1889385"/>
                <a:gd name="connsiteX422" fmla="*/ 297273 w 1421683"/>
                <a:gd name="connsiteY422" fmla="*/ 346597 h 1889385"/>
                <a:gd name="connsiteX423" fmla="*/ 307759 w 1421683"/>
                <a:gd name="connsiteY423" fmla="*/ 348330 h 1889385"/>
                <a:gd name="connsiteX424" fmla="*/ 358539 w 1421683"/>
                <a:gd name="connsiteY424" fmla="*/ 335999 h 1889385"/>
                <a:gd name="connsiteX425" fmla="*/ 329400 w 1421683"/>
                <a:gd name="connsiteY425" fmla="*/ 318527 h 1889385"/>
                <a:gd name="connsiteX426" fmla="*/ 337604 w 1421683"/>
                <a:gd name="connsiteY426" fmla="*/ 311268 h 1889385"/>
                <a:gd name="connsiteX427" fmla="*/ 324222 w 1421683"/>
                <a:gd name="connsiteY427" fmla="*/ 307443 h 1889385"/>
                <a:gd name="connsiteX428" fmla="*/ 357017 w 1421683"/>
                <a:gd name="connsiteY428" fmla="*/ 299674 h 1889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</a:cxnLst>
              <a:rect l="l" t="t" r="r" b="b"/>
              <a:pathLst>
                <a:path w="1421683" h="1889385">
                  <a:moveTo>
                    <a:pt x="961028" y="37754"/>
                  </a:moveTo>
                  <a:lnTo>
                    <a:pt x="984062" y="43447"/>
                  </a:lnTo>
                  <a:lnTo>
                    <a:pt x="1004923" y="40976"/>
                  </a:lnTo>
                  <a:lnTo>
                    <a:pt x="995327" y="50156"/>
                  </a:lnTo>
                  <a:lnTo>
                    <a:pt x="967729" y="47745"/>
                  </a:lnTo>
                  <a:lnTo>
                    <a:pt x="961028" y="37754"/>
                  </a:lnTo>
                  <a:close/>
                  <a:moveTo>
                    <a:pt x="469174" y="411097"/>
                  </a:moveTo>
                  <a:lnTo>
                    <a:pt x="445195" y="404707"/>
                  </a:lnTo>
                  <a:lnTo>
                    <a:pt x="448888" y="390513"/>
                  </a:lnTo>
                  <a:lnTo>
                    <a:pt x="468859" y="398391"/>
                  </a:lnTo>
                  <a:lnTo>
                    <a:pt x="469174" y="411097"/>
                  </a:lnTo>
                  <a:close/>
                  <a:moveTo>
                    <a:pt x="37491" y="809734"/>
                  </a:moveTo>
                  <a:lnTo>
                    <a:pt x="37157" y="834448"/>
                  </a:lnTo>
                  <a:lnTo>
                    <a:pt x="24146" y="838219"/>
                  </a:lnTo>
                  <a:lnTo>
                    <a:pt x="2784" y="832263"/>
                  </a:lnTo>
                  <a:lnTo>
                    <a:pt x="10431" y="826796"/>
                  </a:lnTo>
                  <a:lnTo>
                    <a:pt x="4863" y="813223"/>
                  </a:lnTo>
                  <a:lnTo>
                    <a:pt x="31181" y="802232"/>
                  </a:lnTo>
                  <a:lnTo>
                    <a:pt x="37491" y="809734"/>
                  </a:lnTo>
                  <a:close/>
                  <a:moveTo>
                    <a:pt x="318598" y="432499"/>
                  </a:moveTo>
                  <a:lnTo>
                    <a:pt x="314552" y="439097"/>
                  </a:lnTo>
                  <a:lnTo>
                    <a:pt x="286694" y="413762"/>
                  </a:lnTo>
                  <a:lnTo>
                    <a:pt x="306701" y="416534"/>
                  </a:lnTo>
                  <a:lnTo>
                    <a:pt x="318598" y="432499"/>
                  </a:lnTo>
                  <a:close/>
                  <a:moveTo>
                    <a:pt x="502266" y="437298"/>
                  </a:moveTo>
                  <a:lnTo>
                    <a:pt x="477805" y="401218"/>
                  </a:lnTo>
                  <a:lnTo>
                    <a:pt x="485006" y="382216"/>
                  </a:lnTo>
                  <a:lnTo>
                    <a:pt x="497478" y="375128"/>
                  </a:lnTo>
                  <a:lnTo>
                    <a:pt x="525429" y="368981"/>
                  </a:lnTo>
                  <a:lnTo>
                    <a:pt x="548852" y="377161"/>
                  </a:lnTo>
                  <a:lnTo>
                    <a:pt x="548778" y="387378"/>
                  </a:lnTo>
                  <a:lnTo>
                    <a:pt x="521903" y="416316"/>
                  </a:lnTo>
                  <a:lnTo>
                    <a:pt x="505663" y="426552"/>
                  </a:lnTo>
                  <a:lnTo>
                    <a:pt x="502266" y="437298"/>
                  </a:lnTo>
                  <a:close/>
                  <a:moveTo>
                    <a:pt x="18430" y="882507"/>
                  </a:moveTo>
                  <a:lnTo>
                    <a:pt x="15423" y="879574"/>
                  </a:lnTo>
                  <a:lnTo>
                    <a:pt x="14198" y="877217"/>
                  </a:lnTo>
                  <a:lnTo>
                    <a:pt x="15201" y="872818"/>
                  </a:lnTo>
                  <a:lnTo>
                    <a:pt x="18281" y="865515"/>
                  </a:lnTo>
                  <a:lnTo>
                    <a:pt x="45360" y="864609"/>
                  </a:lnTo>
                  <a:lnTo>
                    <a:pt x="52153" y="843119"/>
                  </a:lnTo>
                  <a:lnTo>
                    <a:pt x="70119" y="859819"/>
                  </a:lnTo>
                  <a:lnTo>
                    <a:pt x="70453" y="872521"/>
                  </a:lnTo>
                  <a:lnTo>
                    <a:pt x="86971" y="880094"/>
                  </a:lnTo>
                  <a:lnTo>
                    <a:pt x="88827" y="870443"/>
                  </a:lnTo>
                  <a:lnTo>
                    <a:pt x="75056" y="864136"/>
                  </a:lnTo>
                  <a:lnTo>
                    <a:pt x="94006" y="844116"/>
                  </a:lnTo>
                  <a:lnTo>
                    <a:pt x="102413" y="827469"/>
                  </a:lnTo>
                  <a:lnTo>
                    <a:pt x="145361" y="808729"/>
                  </a:lnTo>
                  <a:lnTo>
                    <a:pt x="163568" y="794780"/>
                  </a:lnTo>
                  <a:lnTo>
                    <a:pt x="181757" y="818249"/>
                  </a:lnTo>
                  <a:lnTo>
                    <a:pt x="214682" y="811309"/>
                  </a:lnTo>
                  <a:lnTo>
                    <a:pt x="242262" y="797566"/>
                  </a:lnTo>
                  <a:lnTo>
                    <a:pt x="264663" y="777848"/>
                  </a:lnTo>
                  <a:lnTo>
                    <a:pt x="264738" y="767631"/>
                  </a:lnTo>
                  <a:lnTo>
                    <a:pt x="279790" y="766085"/>
                  </a:lnTo>
                  <a:lnTo>
                    <a:pt x="270862" y="741992"/>
                  </a:lnTo>
                  <a:lnTo>
                    <a:pt x="256404" y="736640"/>
                  </a:lnTo>
                  <a:lnTo>
                    <a:pt x="244971" y="712944"/>
                  </a:lnTo>
                  <a:lnTo>
                    <a:pt x="255885" y="712059"/>
                  </a:lnTo>
                  <a:lnTo>
                    <a:pt x="252544" y="696432"/>
                  </a:lnTo>
                  <a:lnTo>
                    <a:pt x="289200" y="691454"/>
                  </a:lnTo>
                  <a:lnTo>
                    <a:pt x="296865" y="680879"/>
                  </a:lnTo>
                  <a:lnTo>
                    <a:pt x="307054" y="686060"/>
                  </a:lnTo>
                  <a:lnTo>
                    <a:pt x="310079" y="667720"/>
                  </a:lnTo>
                  <a:lnTo>
                    <a:pt x="329252" y="654466"/>
                  </a:lnTo>
                  <a:lnTo>
                    <a:pt x="335803" y="663627"/>
                  </a:lnTo>
                  <a:lnTo>
                    <a:pt x="357425" y="655088"/>
                  </a:lnTo>
                  <a:lnTo>
                    <a:pt x="377025" y="655370"/>
                  </a:lnTo>
                  <a:lnTo>
                    <a:pt x="367281" y="684984"/>
                  </a:lnTo>
                  <a:lnTo>
                    <a:pt x="379307" y="664360"/>
                  </a:lnTo>
                  <a:lnTo>
                    <a:pt x="392763" y="674125"/>
                  </a:lnTo>
                  <a:lnTo>
                    <a:pt x="395770" y="698310"/>
                  </a:lnTo>
                  <a:lnTo>
                    <a:pt x="403714" y="689394"/>
                  </a:lnTo>
                  <a:lnTo>
                    <a:pt x="423981" y="693822"/>
                  </a:lnTo>
                  <a:lnTo>
                    <a:pt x="424649" y="714125"/>
                  </a:lnTo>
                  <a:lnTo>
                    <a:pt x="386397" y="714258"/>
                  </a:lnTo>
                  <a:lnTo>
                    <a:pt x="492653" y="745829"/>
                  </a:lnTo>
                  <a:lnTo>
                    <a:pt x="533002" y="742811"/>
                  </a:lnTo>
                  <a:lnTo>
                    <a:pt x="537697" y="724205"/>
                  </a:lnTo>
                  <a:lnTo>
                    <a:pt x="522423" y="697720"/>
                  </a:lnTo>
                  <a:lnTo>
                    <a:pt x="493599" y="655533"/>
                  </a:lnTo>
                  <a:lnTo>
                    <a:pt x="521197" y="657946"/>
                  </a:lnTo>
                  <a:lnTo>
                    <a:pt x="537660" y="654475"/>
                  </a:lnTo>
                  <a:lnTo>
                    <a:pt x="555032" y="640658"/>
                  </a:lnTo>
                  <a:lnTo>
                    <a:pt x="552823" y="621448"/>
                  </a:lnTo>
                  <a:lnTo>
                    <a:pt x="560192" y="598169"/>
                  </a:lnTo>
                  <a:lnTo>
                    <a:pt x="616317" y="571378"/>
                  </a:lnTo>
                  <a:lnTo>
                    <a:pt x="610285" y="565535"/>
                  </a:lnTo>
                  <a:lnTo>
                    <a:pt x="581999" y="580240"/>
                  </a:lnTo>
                  <a:lnTo>
                    <a:pt x="598462" y="539351"/>
                  </a:lnTo>
                  <a:lnTo>
                    <a:pt x="619732" y="539370"/>
                  </a:lnTo>
                  <a:lnTo>
                    <a:pt x="626655" y="518709"/>
                  </a:lnTo>
                  <a:lnTo>
                    <a:pt x="590389" y="510021"/>
                  </a:lnTo>
                  <a:lnTo>
                    <a:pt x="577675" y="494186"/>
                  </a:lnTo>
                  <a:lnTo>
                    <a:pt x="569824" y="509041"/>
                  </a:lnTo>
                  <a:lnTo>
                    <a:pt x="552025" y="488061"/>
                  </a:lnTo>
                  <a:lnTo>
                    <a:pt x="564757" y="466476"/>
                  </a:lnTo>
                  <a:lnTo>
                    <a:pt x="564999" y="451979"/>
                  </a:lnTo>
                  <a:lnTo>
                    <a:pt x="538365" y="450266"/>
                  </a:lnTo>
                  <a:lnTo>
                    <a:pt x="558076" y="435221"/>
                  </a:lnTo>
                  <a:lnTo>
                    <a:pt x="615389" y="362324"/>
                  </a:lnTo>
                  <a:lnTo>
                    <a:pt x="644843" y="338928"/>
                  </a:lnTo>
                  <a:lnTo>
                    <a:pt x="629420" y="370296"/>
                  </a:lnTo>
                  <a:lnTo>
                    <a:pt x="618470" y="376292"/>
                  </a:lnTo>
                  <a:lnTo>
                    <a:pt x="631016" y="396405"/>
                  </a:lnTo>
                  <a:lnTo>
                    <a:pt x="632538" y="379156"/>
                  </a:lnTo>
                  <a:lnTo>
                    <a:pt x="647905" y="336741"/>
                  </a:lnTo>
                  <a:lnTo>
                    <a:pt x="670697" y="373085"/>
                  </a:lnTo>
                  <a:lnTo>
                    <a:pt x="663255" y="390427"/>
                  </a:lnTo>
                  <a:lnTo>
                    <a:pt x="677323" y="393293"/>
                  </a:lnTo>
                  <a:lnTo>
                    <a:pt x="675281" y="369804"/>
                  </a:lnTo>
                  <a:lnTo>
                    <a:pt x="649465" y="330539"/>
                  </a:lnTo>
                  <a:lnTo>
                    <a:pt x="662234" y="303846"/>
                  </a:lnTo>
                  <a:lnTo>
                    <a:pt x="685044" y="281507"/>
                  </a:lnTo>
                  <a:lnTo>
                    <a:pt x="705664" y="277378"/>
                  </a:lnTo>
                  <a:lnTo>
                    <a:pt x="712753" y="289857"/>
                  </a:lnTo>
                  <a:lnTo>
                    <a:pt x="700579" y="293495"/>
                  </a:lnTo>
                  <a:lnTo>
                    <a:pt x="711380" y="307935"/>
                  </a:lnTo>
                  <a:lnTo>
                    <a:pt x="722442" y="286613"/>
                  </a:lnTo>
                  <a:lnTo>
                    <a:pt x="737309" y="294455"/>
                  </a:lnTo>
                  <a:lnTo>
                    <a:pt x="740204" y="275284"/>
                  </a:lnTo>
                  <a:lnTo>
                    <a:pt x="756462" y="281203"/>
                  </a:lnTo>
                  <a:lnTo>
                    <a:pt x="752824" y="269024"/>
                  </a:lnTo>
                  <a:lnTo>
                    <a:pt x="764517" y="256960"/>
                  </a:lnTo>
                  <a:lnTo>
                    <a:pt x="786659" y="251737"/>
                  </a:lnTo>
                  <a:lnTo>
                    <a:pt x="787810" y="264310"/>
                  </a:lnTo>
                  <a:lnTo>
                    <a:pt x="800449" y="252942"/>
                  </a:lnTo>
                  <a:lnTo>
                    <a:pt x="813571" y="217691"/>
                  </a:lnTo>
                  <a:lnTo>
                    <a:pt x="809970" y="200405"/>
                  </a:lnTo>
                  <a:lnTo>
                    <a:pt x="812104" y="154993"/>
                  </a:lnTo>
                  <a:lnTo>
                    <a:pt x="828771" y="104718"/>
                  </a:lnTo>
                  <a:lnTo>
                    <a:pt x="852324" y="76309"/>
                  </a:lnTo>
                  <a:lnTo>
                    <a:pt x="867023" y="67166"/>
                  </a:lnTo>
                  <a:lnTo>
                    <a:pt x="859061" y="43771"/>
                  </a:lnTo>
                  <a:lnTo>
                    <a:pt x="874224" y="64319"/>
                  </a:lnTo>
                  <a:lnTo>
                    <a:pt x="900226" y="61886"/>
                  </a:lnTo>
                  <a:lnTo>
                    <a:pt x="926749" y="78926"/>
                  </a:lnTo>
                  <a:lnTo>
                    <a:pt x="947573" y="65408"/>
                  </a:lnTo>
                  <a:lnTo>
                    <a:pt x="951693" y="48593"/>
                  </a:lnTo>
                  <a:lnTo>
                    <a:pt x="992673" y="54831"/>
                  </a:lnTo>
                  <a:lnTo>
                    <a:pt x="1004496" y="43595"/>
                  </a:lnTo>
                  <a:lnTo>
                    <a:pt x="1036957" y="60542"/>
                  </a:lnTo>
                  <a:lnTo>
                    <a:pt x="1009080" y="40316"/>
                  </a:lnTo>
                  <a:lnTo>
                    <a:pt x="986289" y="41392"/>
                  </a:lnTo>
                  <a:lnTo>
                    <a:pt x="957447" y="36624"/>
                  </a:lnTo>
                  <a:lnTo>
                    <a:pt x="964295" y="26179"/>
                  </a:lnTo>
                  <a:lnTo>
                    <a:pt x="956147" y="7066"/>
                  </a:lnTo>
                  <a:lnTo>
                    <a:pt x="965372" y="11552"/>
                  </a:lnTo>
                  <a:lnTo>
                    <a:pt x="993750" y="2784"/>
                  </a:lnTo>
                  <a:lnTo>
                    <a:pt x="999355" y="11247"/>
                  </a:lnTo>
                  <a:lnTo>
                    <a:pt x="1019566" y="4631"/>
                  </a:lnTo>
                  <a:lnTo>
                    <a:pt x="1023371" y="12530"/>
                  </a:lnTo>
                  <a:lnTo>
                    <a:pt x="1039277" y="10850"/>
                  </a:lnTo>
                  <a:lnTo>
                    <a:pt x="1060862" y="23575"/>
                  </a:lnTo>
                  <a:lnTo>
                    <a:pt x="1048223" y="51097"/>
                  </a:lnTo>
                  <a:lnTo>
                    <a:pt x="1054608" y="64536"/>
                  </a:lnTo>
                  <a:lnTo>
                    <a:pt x="1049800" y="98469"/>
                  </a:lnTo>
                  <a:lnTo>
                    <a:pt x="1055925" y="147669"/>
                  </a:lnTo>
                  <a:lnTo>
                    <a:pt x="1072016" y="157866"/>
                  </a:lnTo>
                  <a:lnTo>
                    <a:pt x="1080480" y="152268"/>
                  </a:lnTo>
                  <a:lnTo>
                    <a:pt x="1080498" y="168423"/>
                  </a:lnTo>
                  <a:lnTo>
                    <a:pt x="1106148" y="174547"/>
                  </a:lnTo>
                  <a:lnTo>
                    <a:pt x="1135733" y="151982"/>
                  </a:lnTo>
                  <a:lnTo>
                    <a:pt x="1155907" y="150473"/>
                  </a:lnTo>
                  <a:lnTo>
                    <a:pt x="1176768" y="169267"/>
                  </a:lnTo>
                  <a:lnTo>
                    <a:pt x="1186976" y="169341"/>
                  </a:lnTo>
                  <a:lnTo>
                    <a:pt x="1204905" y="174997"/>
                  </a:lnTo>
                  <a:lnTo>
                    <a:pt x="1199337" y="198842"/>
                  </a:lnTo>
                  <a:lnTo>
                    <a:pt x="1210974" y="213150"/>
                  </a:lnTo>
                  <a:lnTo>
                    <a:pt x="1204645" y="226912"/>
                  </a:lnTo>
                  <a:lnTo>
                    <a:pt x="1184304" y="232699"/>
                  </a:lnTo>
                  <a:lnTo>
                    <a:pt x="1192785" y="243256"/>
                  </a:lnTo>
                  <a:lnTo>
                    <a:pt x="1179274" y="259863"/>
                  </a:lnTo>
                  <a:lnTo>
                    <a:pt x="1174356" y="287857"/>
                  </a:lnTo>
                  <a:lnTo>
                    <a:pt x="1163795" y="296340"/>
                  </a:lnTo>
                  <a:lnTo>
                    <a:pt x="1173780" y="310912"/>
                  </a:lnTo>
                  <a:lnTo>
                    <a:pt x="1185399" y="309063"/>
                  </a:lnTo>
                  <a:lnTo>
                    <a:pt x="1191524" y="320845"/>
                  </a:lnTo>
                  <a:lnTo>
                    <a:pt x="1182058" y="330856"/>
                  </a:lnTo>
                  <a:lnTo>
                    <a:pt x="1186252" y="341242"/>
                  </a:lnTo>
                  <a:lnTo>
                    <a:pt x="1217544" y="350722"/>
                  </a:lnTo>
                  <a:lnTo>
                    <a:pt x="1219400" y="378490"/>
                  </a:lnTo>
                  <a:lnTo>
                    <a:pt x="1238498" y="391610"/>
                  </a:lnTo>
                  <a:lnTo>
                    <a:pt x="1260343" y="389837"/>
                  </a:lnTo>
                  <a:lnTo>
                    <a:pt x="1277400" y="416886"/>
                  </a:lnTo>
                  <a:lnTo>
                    <a:pt x="1264835" y="418037"/>
                  </a:lnTo>
                  <a:lnTo>
                    <a:pt x="1267526" y="445672"/>
                  </a:lnTo>
                  <a:lnTo>
                    <a:pt x="1261698" y="467861"/>
                  </a:lnTo>
                  <a:lnTo>
                    <a:pt x="1272574" y="472081"/>
                  </a:lnTo>
                  <a:lnTo>
                    <a:pt x="1265169" y="484316"/>
                  </a:lnTo>
                  <a:lnTo>
                    <a:pt x="1241839" y="482074"/>
                  </a:lnTo>
                  <a:lnTo>
                    <a:pt x="1234341" y="488371"/>
                  </a:lnTo>
                  <a:lnTo>
                    <a:pt x="1238034" y="511595"/>
                  </a:lnTo>
                  <a:lnTo>
                    <a:pt x="1230017" y="530728"/>
                  </a:lnTo>
                  <a:lnTo>
                    <a:pt x="1215874" y="538082"/>
                  </a:lnTo>
                  <a:lnTo>
                    <a:pt x="1225005" y="552785"/>
                  </a:lnTo>
                  <a:lnTo>
                    <a:pt x="1236104" y="547619"/>
                  </a:lnTo>
                  <a:lnTo>
                    <a:pt x="1254460" y="566808"/>
                  </a:lnTo>
                  <a:lnTo>
                    <a:pt x="1233023" y="571070"/>
                  </a:lnTo>
                  <a:lnTo>
                    <a:pt x="1236494" y="587525"/>
                  </a:lnTo>
                  <a:lnTo>
                    <a:pt x="1214816" y="606283"/>
                  </a:lnTo>
                  <a:lnTo>
                    <a:pt x="1227492" y="627226"/>
                  </a:lnTo>
                  <a:lnTo>
                    <a:pt x="1227474" y="648490"/>
                  </a:lnTo>
                  <a:lnTo>
                    <a:pt x="1239890" y="651617"/>
                  </a:lnTo>
                  <a:lnTo>
                    <a:pt x="1267433" y="680402"/>
                  </a:lnTo>
                  <a:lnTo>
                    <a:pt x="1298150" y="691673"/>
                  </a:lnTo>
                  <a:lnTo>
                    <a:pt x="1314575" y="693314"/>
                  </a:lnTo>
                  <a:lnTo>
                    <a:pt x="1312534" y="707245"/>
                  </a:lnTo>
                  <a:lnTo>
                    <a:pt x="1327827" y="712466"/>
                  </a:lnTo>
                  <a:lnTo>
                    <a:pt x="1337329" y="734765"/>
                  </a:lnTo>
                  <a:lnTo>
                    <a:pt x="1349542" y="763436"/>
                  </a:lnTo>
                  <a:lnTo>
                    <a:pt x="1342433" y="772221"/>
                  </a:lnTo>
                  <a:lnTo>
                    <a:pt x="1327585" y="764379"/>
                  </a:lnTo>
                  <a:lnTo>
                    <a:pt x="1305035" y="788379"/>
                  </a:lnTo>
                  <a:lnTo>
                    <a:pt x="1315707" y="801989"/>
                  </a:lnTo>
                  <a:lnTo>
                    <a:pt x="1308246" y="819331"/>
                  </a:lnTo>
                  <a:lnTo>
                    <a:pt x="1287515" y="822631"/>
                  </a:lnTo>
                  <a:lnTo>
                    <a:pt x="1287441" y="832848"/>
                  </a:lnTo>
                  <a:lnTo>
                    <a:pt x="1249708" y="836298"/>
                  </a:lnTo>
                  <a:lnTo>
                    <a:pt x="1229849" y="850513"/>
                  </a:lnTo>
                  <a:lnTo>
                    <a:pt x="1235362" y="869199"/>
                  </a:lnTo>
                  <a:lnTo>
                    <a:pt x="1254738" y="883973"/>
                  </a:lnTo>
                  <a:lnTo>
                    <a:pt x="1254924" y="895851"/>
                  </a:lnTo>
                  <a:lnTo>
                    <a:pt x="1278420" y="931226"/>
                  </a:lnTo>
                  <a:lnTo>
                    <a:pt x="1270848" y="963891"/>
                  </a:lnTo>
                  <a:lnTo>
                    <a:pt x="1279646" y="971000"/>
                  </a:lnTo>
                  <a:lnTo>
                    <a:pt x="1279256" y="984678"/>
                  </a:lnTo>
                  <a:lnTo>
                    <a:pt x="1288536" y="1000213"/>
                  </a:lnTo>
                  <a:lnTo>
                    <a:pt x="1305518" y="1000046"/>
                  </a:lnTo>
                  <a:lnTo>
                    <a:pt x="1331019" y="1026605"/>
                  </a:lnTo>
                  <a:lnTo>
                    <a:pt x="1364575" y="1045090"/>
                  </a:lnTo>
                  <a:lnTo>
                    <a:pt x="1349356" y="1067065"/>
                  </a:lnTo>
                  <a:lnTo>
                    <a:pt x="1358005" y="1094608"/>
                  </a:lnTo>
                  <a:lnTo>
                    <a:pt x="1353310" y="1113205"/>
                  </a:lnTo>
                  <a:lnTo>
                    <a:pt x="1331873" y="1133620"/>
                  </a:lnTo>
                  <a:lnTo>
                    <a:pt x="1319828" y="1138093"/>
                  </a:lnTo>
                  <a:lnTo>
                    <a:pt x="1319549" y="1157711"/>
                  </a:lnTo>
                  <a:lnTo>
                    <a:pt x="1331001" y="1176289"/>
                  </a:lnTo>
                  <a:lnTo>
                    <a:pt x="1312478" y="1198802"/>
                  </a:lnTo>
                  <a:lnTo>
                    <a:pt x="1293751" y="1209437"/>
                  </a:lnTo>
                  <a:lnTo>
                    <a:pt x="1277307" y="1229055"/>
                  </a:lnTo>
                  <a:lnTo>
                    <a:pt x="1272259" y="1256226"/>
                  </a:lnTo>
                  <a:lnTo>
                    <a:pt x="1284471" y="1268736"/>
                  </a:lnTo>
                  <a:lnTo>
                    <a:pt x="1278625" y="1274768"/>
                  </a:lnTo>
                  <a:lnTo>
                    <a:pt x="1292619" y="1287852"/>
                  </a:lnTo>
                  <a:lnTo>
                    <a:pt x="1290095" y="1309511"/>
                  </a:lnTo>
                  <a:lnTo>
                    <a:pt x="1306056" y="1318884"/>
                  </a:lnTo>
                  <a:lnTo>
                    <a:pt x="1315336" y="1334419"/>
                  </a:lnTo>
                  <a:lnTo>
                    <a:pt x="1290930" y="1346798"/>
                  </a:lnTo>
                  <a:lnTo>
                    <a:pt x="1317266" y="1351958"/>
                  </a:lnTo>
                  <a:lnTo>
                    <a:pt x="1334137" y="1350974"/>
                  </a:lnTo>
                  <a:lnTo>
                    <a:pt x="1332615" y="1368235"/>
                  </a:lnTo>
                  <a:lnTo>
                    <a:pt x="1345347" y="1384066"/>
                  </a:lnTo>
                  <a:lnTo>
                    <a:pt x="1334972" y="1404426"/>
                  </a:lnTo>
                  <a:lnTo>
                    <a:pt x="1376027" y="1400436"/>
                  </a:lnTo>
                  <a:lnTo>
                    <a:pt x="1394345" y="1424730"/>
                  </a:lnTo>
                  <a:lnTo>
                    <a:pt x="1382096" y="1438595"/>
                  </a:lnTo>
                  <a:lnTo>
                    <a:pt x="1405426" y="1478257"/>
                  </a:lnTo>
                  <a:lnTo>
                    <a:pt x="1419457" y="1486238"/>
                  </a:lnTo>
                  <a:lnTo>
                    <a:pt x="1390485" y="1518049"/>
                  </a:lnTo>
                  <a:lnTo>
                    <a:pt x="1377567" y="1527756"/>
                  </a:lnTo>
                  <a:lnTo>
                    <a:pt x="1363703" y="1552923"/>
                  </a:lnTo>
                  <a:lnTo>
                    <a:pt x="1373577" y="1561553"/>
                  </a:lnTo>
                  <a:lnTo>
                    <a:pt x="1354256" y="1579092"/>
                  </a:lnTo>
                  <a:lnTo>
                    <a:pt x="1340726" y="1579538"/>
                  </a:lnTo>
                  <a:lnTo>
                    <a:pt x="1319475" y="1611832"/>
                  </a:lnTo>
                  <a:lnTo>
                    <a:pt x="1295644" y="1622429"/>
                  </a:lnTo>
                  <a:lnTo>
                    <a:pt x="1285937" y="1646947"/>
                  </a:lnTo>
                  <a:lnTo>
                    <a:pt x="1271498" y="1657749"/>
                  </a:lnTo>
                  <a:lnTo>
                    <a:pt x="1263535" y="1650510"/>
                  </a:lnTo>
                  <a:lnTo>
                    <a:pt x="1246553" y="1666806"/>
                  </a:lnTo>
                  <a:lnTo>
                    <a:pt x="1229014" y="1668754"/>
                  </a:lnTo>
                  <a:lnTo>
                    <a:pt x="1222425" y="1680855"/>
                  </a:lnTo>
                  <a:lnTo>
                    <a:pt x="1204794" y="1693012"/>
                  </a:lnTo>
                  <a:lnTo>
                    <a:pt x="1190335" y="1687667"/>
                  </a:lnTo>
                  <a:lnTo>
                    <a:pt x="1155127" y="1685607"/>
                  </a:lnTo>
                  <a:lnTo>
                    <a:pt x="1136234" y="1700510"/>
                  </a:lnTo>
                  <a:lnTo>
                    <a:pt x="1111735" y="1706969"/>
                  </a:lnTo>
                  <a:lnTo>
                    <a:pt x="1108338" y="1717715"/>
                  </a:lnTo>
                  <a:lnTo>
                    <a:pt x="1081835" y="1716824"/>
                  </a:lnTo>
                  <a:lnTo>
                    <a:pt x="1063070" y="1732563"/>
                  </a:lnTo>
                  <a:lnTo>
                    <a:pt x="1044065" y="1725380"/>
                  </a:lnTo>
                  <a:lnTo>
                    <a:pt x="1028382" y="1733825"/>
                  </a:lnTo>
                  <a:lnTo>
                    <a:pt x="1005443" y="1755336"/>
                  </a:lnTo>
                  <a:lnTo>
                    <a:pt x="996459" y="1773784"/>
                  </a:lnTo>
                  <a:lnTo>
                    <a:pt x="982094" y="1774360"/>
                  </a:lnTo>
                  <a:lnTo>
                    <a:pt x="976229" y="1764245"/>
                  </a:lnTo>
                  <a:lnTo>
                    <a:pt x="950357" y="1751345"/>
                  </a:lnTo>
                  <a:lnTo>
                    <a:pt x="939276" y="1756505"/>
                  </a:lnTo>
                  <a:lnTo>
                    <a:pt x="927602" y="1747318"/>
                  </a:lnTo>
                  <a:lnTo>
                    <a:pt x="906556" y="1716639"/>
                  </a:lnTo>
                  <a:lnTo>
                    <a:pt x="895624" y="1701383"/>
                  </a:lnTo>
                  <a:lnTo>
                    <a:pt x="880553" y="1702923"/>
                  </a:lnTo>
                  <a:lnTo>
                    <a:pt x="871143" y="1686553"/>
                  </a:lnTo>
                  <a:lnTo>
                    <a:pt x="847238" y="1669961"/>
                  </a:lnTo>
                  <a:lnTo>
                    <a:pt x="847183" y="1658918"/>
                  </a:lnTo>
                  <a:lnTo>
                    <a:pt x="816689" y="1654408"/>
                  </a:lnTo>
                  <a:lnTo>
                    <a:pt x="809636" y="1674230"/>
                  </a:lnTo>
                  <a:lnTo>
                    <a:pt x="775709" y="1685588"/>
                  </a:lnTo>
                  <a:lnTo>
                    <a:pt x="770586" y="1669386"/>
                  </a:lnTo>
                  <a:lnTo>
                    <a:pt x="745011" y="1653053"/>
                  </a:lnTo>
                  <a:lnTo>
                    <a:pt x="724187" y="1650417"/>
                  </a:lnTo>
                  <a:lnTo>
                    <a:pt x="706016" y="1659252"/>
                  </a:lnTo>
                  <a:lnTo>
                    <a:pt x="687494" y="1660495"/>
                  </a:lnTo>
                  <a:lnTo>
                    <a:pt x="674780" y="1682080"/>
                  </a:lnTo>
                  <a:lnTo>
                    <a:pt x="667857" y="1702738"/>
                  </a:lnTo>
                  <a:lnTo>
                    <a:pt x="672404" y="1720722"/>
                  </a:lnTo>
                  <a:lnTo>
                    <a:pt x="667913" y="1751216"/>
                  </a:lnTo>
                  <a:lnTo>
                    <a:pt x="657130" y="1769089"/>
                  </a:lnTo>
                  <a:lnTo>
                    <a:pt x="664851" y="1790822"/>
                  </a:lnTo>
                  <a:lnTo>
                    <a:pt x="642356" y="1825863"/>
                  </a:lnTo>
                  <a:lnTo>
                    <a:pt x="635303" y="1808268"/>
                  </a:lnTo>
                  <a:lnTo>
                    <a:pt x="621847" y="1814671"/>
                  </a:lnTo>
                  <a:lnTo>
                    <a:pt x="611454" y="1802719"/>
                  </a:lnTo>
                  <a:lnTo>
                    <a:pt x="610600" y="1824100"/>
                  </a:lnTo>
                  <a:lnTo>
                    <a:pt x="585990" y="1845889"/>
                  </a:lnTo>
                  <a:lnTo>
                    <a:pt x="566335" y="1850715"/>
                  </a:lnTo>
                  <a:lnTo>
                    <a:pt x="566057" y="1870314"/>
                  </a:lnTo>
                  <a:lnTo>
                    <a:pt x="544936" y="1887277"/>
                  </a:lnTo>
                  <a:lnTo>
                    <a:pt x="506832" y="1866973"/>
                  </a:lnTo>
                  <a:lnTo>
                    <a:pt x="504290" y="1818903"/>
                  </a:lnTo>
                  <a:lnTo>
                    <a:pt x="497423" y="1813205"/>
                  </a:lnTo>
                  <a:lnTo>
                    <a:pt x="494156" y="1787352"/>
                  </a:lnTo>
                  <a:lnTo>
                    <a:pt x="496531" y="1764857"/>
                  </a:lnTo>
                  <a:lnTo>
                    <a:pt x="486714" y="1729853"/>
                  </a:lnTo>
                  <a:lnTo>
                    <a:pt x="476450" y="1734902"/>
                  </a:lnTo>
                  <a:lnTo>
                    <a:pt x="457277" y="1731988"/>
                  </a:lnTo>
                  <a:lnTo>
                    <a:pt x="450355" y="1715228"/>
                  </a:lnTo>
                  <a:lnTo>
                    <a:pt x="430737" y="1698803"/>
                  </a:lnTo>
                  <a:lnTo>
                    <a:pt x="433280" y="1672021"/>
                  </a:lnTo>
                  <a:lnTo>
                    <a:pt x="421513" y="1656895"/>
                  </a:lnTo>
                  <a:lnTo>
                    <a:pt x="398684" y="1663075"/>
                  </a:lnTo>
                  <a:lnTo>
                    <a:pt x="394490" y="1631431"/>
                  </a:lnTo>
                  <a:lnTo>
                    <a:pt x="388420" y="1630688"/>
                  </a:lnTo>
                  <a:lnTo>
                    <a:pt x="369823" y="1604742"/>
                  </a:lnTo>
                  <a:lnTo>
                    <a:pt x="351393" y="1595759"/>
                  </a:lnTo>
                  <a:lnTo>
                    <a:pt x="322960" y="1609642"/>
                  </a:lnTo>
                  <a:lnTo>
                    <a:pt x="318413" y="1591657"/>
                  </a:lnTo>
                  <a:lnTo>
                    <a:pt x="330885" y="1584567"/>
                  </a:lnTo>
                  <a:lnTo>
                    <a:pt x="326282" y="1571687"/>
                  </a:lnTo>
                  <a:lnTo>
                    <a:pt x="310376" y="1557210"/>
                  </a:lnTo>
                  <a:lnTo>
                    <a:pt x="295658" y="1566360"/>
                  </a:lnTo>
                  <a:lnTo>
                    <a:pt x="242429" y="1573970"/>
                  </a:lnTo>
                  <a:lnTo>
                    <a:pt x="216668" y="1583175"/>
                  </a:lnTo>
                  <a:lnTo>
                    <a:pt x="207926" y="1570963"/>
                  </a:lnTo>
                  <a:lnTo>
                    <a:pt x="215554" y="1549341"/>
                  </a:lnTo>
                  <a:lnTo>
                    <a:pt x="204400" y="1543457"/>
                  </a:lnTo>
                  <a:lnTo>
                    <a:pt x="214515" y="1521445"/>
                  </a:lnTo>
                  <a:lnTo>
                    <a:pt x="210877" y="1509252"/>
                  </a:lnTo>
                  <a:lnTo>
                    <a:pt x="217893" y="1494534"/>
                  </a:lnTo>
                  <a:lnTo>
                    <a:pt x="197755" y="1490933"/>
                  </a:lnTo>
                  <a:lnTo>
                    <a:pt x="187157" y="1467103"/>
                  </a:lnTo>
                  <a:lnTo>
                    <a:pt x="173256" y="1459976"/>
                  </a:lnTo>
                  <a:lnTo>
                    <a:pt x="164236" y="1446093"/>
                  </a:lnTo>
                  <a:lnTo>
                    <a:pt x="166946" y="1436312"/>
                  </a:lnTo>
                  <a:lnTo>
                    <a:pt x="144897" y="1410050"/>
                  </a:lnTo>
                  <a:lnTo>
                    <a:pt x="126819" y="1408676"/>
                  </a:lnTo>
                  <a:lnTo>
                    <a:pt x="151968" y="1368958"/>
                  </a:lnTo>
                  <a:lnTo>
                    <a:pt x="127673" y="1312444"/>
                  </a:lnTo>
                  <a:lnTo>
                    <a:pt x="102636" y="1261998"/>
                  </a:lnTo>
                  <a:lnTo>
                    <a:pt x="65962" y="1234660"/>
                  </a:lnTo>
                  <a:lnTo>
                    <a:pt x="67725" y="1219070"/>
                  </a:lnTo>
                  <a:lnTo>
                    <a:pt x="79343" y="1217232"/>
                  </a:lnTo>
                  <a:lnTo>
                    <a:pt x="102209" y="1189782"/>
                  </a:lnTo>
                  <a:lnTo>
                    <a:pt x="103415" y="1175992"/>
                  </a:lnTo>
                  <a:lnTo>
                    <a:pt x="129566" y="1169274"/>
                  </a:lnTo>
                  <a:lnTo>
                    <a:pt x="126003" y="1146872"/>
                  </a:lnTo>
                  <a:lnTo>
                    <a:pt x="114588" y="1139337"/>
                  </a:lnTo>
                  <a:lnTo>
                    <a:pt x="116240" y="1122911"/>
                  </a:lnTo>
                  <a:lnTo>
                    <a:pt x="129845" y="1112239"/>
                  </a:lnTo>
                  <a:lnTo>
                    <a:pt x="118486" y="1099600"/>
                  </a:lnTo>
                  <a:lnTo>
                    <a:pt x="122476" y="1081950"/>
                  </a:lnTo>
                  <a:lnTo>
                    <a:pt x="138178" y="1068401"/>
                  </a:lnTo>
                  <a:lnTo>
                    <a:pt x="152580" y="1046556"/>
                  </a:lnTo>
                  <a:lnTo>
                    <a:pt x="153564" y="1025992"/>
                  </a:lnTo>
                  <a:lnTo>
                    <a:pt x="130791" y="1021946"/>
                  </a:lnTo>
                  <a:lnTo>
                    <a:pt x="101875" y="973821"/>
                  </a:lnTo>
                  <a:lnTo>
                    <a:pt x="73033" y="969051"/>
                  </a:lnTo>
                  <a:lnTo>
                    <a:pt x="69265" y="956059"/>
                  </a:lnTo>
                  <a:lnTo>
                    <a:pt x="54640" y="954982"/>
                  </a:lnTo>
                  <a:lnTo>
                    <a:pt x="43709" y="939708"/>
                  </a:lnTo>
                  <a:lnTo>
                    <a:pt x="43374" y="927013"/>
                  </a:lnTo>
                  <a:lnTo>
                    <a:pt x="21307" y="905855"/>
                  </a:lnTo>
                  <a:lnTo>
                    <a:pt x="18430" y="882507"/>
                  </a:lnTo>
                  <a:close/>
                  <a:moveTo>
                    <a:pt x="431479" y="259765"/>
                  </a:moveTo>
                  <a:lnTo>
                    <a:pt x="409931" y="241932"/>
                  </a:lnTo>
                  <a:lnTo>
                    <a:pt x="428714" y="242346"/>
                  </a:lnTo>
                  <a:lnTo>
                    <a:pt x="429623" y="231997"/>
                  </a:lnTo>
                  <a:lnTo>
                    <a:pt x="438068" y="210243"/>
                  </a:lnTo>
                  <a:lnTo>
                    <a:pt x="453807" y="212844"/>
                  </a:lnTo>
                  <a:lnTo>
                    <a:pt x="454568" y="201665"/>
                  </a:lnTo>
                  <a:lnTo>
                    <a:pt x="477155" y="172558"/>
                  </a:lnTo>
                  <a:lnTo>
                    <a:pt x="492560" y="183718"/>
                  </a:lnTo>
                  <a:lnTo>
                    <a:pt x="491632" y="215331"/>
                  </a:lnTo>
                  <a:lnTo>
                    <a:pt x="480162" y="234163"/>
                  </a:lnTo>
                  <a:lnTo>
                    <a:pt x="431479" y="259765"/>
                  </a:lnTo>
                  <a:close/>
                  <a:moveTo>
                    <a:pt x="357017" y="299674"/>
                  </a:moveTo>
                  <a:lnTo>
                    <a:pt x="371271" y="276995"/>
                  </a:lnTo>
                  <a:lnTo>
                    <a:pt x="406461" y="262894"/>
                  </a:lnTo>
                  <a:lnTo>
                    <a:pt x="406219" y="277391"/>
                  </a:lnTo>
                  <a:lnTo>
                    <a:pt x="417541" y="278992"/>
                  </a:lnTo>
                  <a:lnTo>
                    <a:pt x="429957" y="298276"/>
                  </a:lnTo>
                  <a:lnTo>
                    <a:pt x="409764" y="321049"/>
                  </a:lnTo>
                  <a:lnTo>
                    <a:pt x="389887" y="319108"/>
                  </a:lnTo>
                  <a:lnTo>
                    <a:pt x="372088" y="298128"/>
                  </a:lnTo>
                  <a:lnTo>
                    <a:pt x="364404" y="308703"/>
                  </a:lnTo>
                  <a:lnTo>
                    <a:pt x="375651" y="320522"/>
                  </a:lnTo>
                  <a:lnTo>
                    <a:pt x="409857" y="326986"/>
                  </a:lnTo>
                  <a:lnTo>
                    <a:pt x="430551" y="312641"/>
                  </a:lnTo>
                  <a:lnTo>
                    <a:pt x="426728" y="342161"/>
                  </a:lnTo>
                  <a:lnTo>
                    <a:pt x="415239" y="344839"/>
                  </a:lnTo>
                  <a:lnTo>
                    <a:pt x="402674" y="383408"/>
                  </a:lnTo>
                  <a:lnTo>
                    <a:pt x="388253" y="389102"/>
                  </a:lnTo>
                  <a:lnTo>
                    <a:pt x="403918" y="401920"/>
                  </a:lnTo>
                  <a:lnTo>
                    <a:pt x="384578" y="419451"/>
                  </a:lnTo>
                  <a:lnTo>
                    <a:pt x="350039" y="421545"/>
                  </a:lnTo>
                  <a:lnTo>
                    <a:pt x="332258" y="416721"/>
                  </a:lnTo>
                  <a:lnTo>
                    <a:pt x="338532" y="408067"/>
                  </a:lnTo>
                  <a:lnTo>
                    <a:pt x="315814" y="398926"/>
                  </a:lnTo>
                  <a:lnTo>
                    <a:pt x="313012" y="386615"/>
                  </a:lnTo>
                  <a:lnTo>
                    <a:pt x="299370" y="381131"/>
                  </a:lnTo>
                  <a:lnTo>
                    <a:pt x="297273" y="346597"/>
                  </a:lnTo>
                  <a:lnTo>
                    <a:pt x="307759" y="348330"/>
                  </a:lnTo>
                  <a:lnTo>
                    <a:pt x="358539" y="335999"/>
                  </a:lnTo>
                  <a:lnTo>
                    <a:pt x="329400" y="318527"/>
                  </a:lnTo>
                  <a:lnTo>
                    <a:pt x="337604" y="311268"/>
                  </a:lnTo>
                  <a:lnTo>
                    <a:pt x="324222" y="307443"/>
                  </a:lnTo>
                  <a:lnTo>
                    <a:pt x="357017" y="29967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215">
              <a:extLst>
                <a:ext uri="{FF2B5EF4-FFF2-40B4-BE49-F238E27FC236}">
                  <a16:creationId xmlns:a16="http://schemas.microsoft.com/office/drawing/2014/main" id="{A5E3CD3A-234C-41E0-86F1-85A5F817D406}"/>
                </a:ext>
              </a:extLst>
            </p:cNvPr>
            <p:cNvSpPr/>
            <p:nvPr/>
          </p:nvSpPr>
          <p:spPr>
            <a:xfrm>
              <a:off x="5460342" y="4358880"/>
              <a:ext cx="939128" cy="1096883"/>
            </a:xfrm>
            <a:custGeom>
              <a:avLst/>
              <a:gdLst>
                <a:gd name="connsiteX0" fmla="*/ 410989 w 939127"/>
                <a:gd name="connsiteY0" fmla="*/ 606294 h 1096883"/>
                <a:gd name="connsiteX1" fmla="*/ 418487 w 939127"/>
                <a:gd name="connsiteY1" fmla="*/ 600003 h 1096883"/>
                <a:gd name="connsiteX2" fmla="*/ 408465 w 939127"/>
                <a:gd name="connsiteY2" fmla="*/ 574390 h 1096883"/>
                <a:gd name="connsiteX3" fmla="*/ 419452 w 939127"/>
                <a:gd name="connsiteY3" fmla="*/ 563291 h 1096883"/>
                <a:gd name="connsiteX4" fmla="*/ 433818 w 939127"/>
                <a:gd name="connsiteY4" fmla="*/ 562697 h 1096883"/>
                <a:gd name="connsiteX5" fmla="*/ 443524 w 939127"/>
                <a:gd name="connsiteY5" fmla="*/ 575615 h 1096883"/>
                <a:gd name="connsiteX6" fmla="*/ 447385 w 939127"/>
                <a:gd name="connsiteY6" fmla="*/ 594564 h 1096883"/>
                <a:gd name="connsiteX7" fmla="*/ 425725 w 939127"/>
                <a:gd name="connsiteY7" fmla="*/ 592040 h 1096883"/>
                <a:gd name="connsiteX8" fmla="*/ 424649 w 939127"/>
                <a:gd name="connsiteY8" fmla="*/ 606684 h 1096883"/>
                <a:gd name="connsiteX9" fmla="*/ 410989 w 939127"/>
                <a:gd name="connsiteY9" fmla="*/ 606294 h 1096883"/>
                <a:gd name="connsiteX10" fmla="*/ 331330 w 939127"/>
                <a:gd name="connsiteY10" fmla="*/ 62799 h 1096883"/>
                <a:gd name="connsiteX11" fmla="*/ 317410 w 939127"/>
                <a:gd name="connsiteY11" fmla="*/ 76917 h 1096883"/>
                <a:gd name="connsiteX12" fmla="*/ 334708 w 939127"/>
                <a:gd name="connsiteY12" fmla="*/ 89471 h 1096883"/>
                <a:gd name="connsiteX13" fmla="*/ 321326 w 939127"/>
                <a:gd name="connsiteY13" fmla="*/ 106910 h 1096883"/>
                <a:gd name="connsiteX14" fmla="*/ 312010 w 939127"/>
                <a:gd name="connsiteY14" fmla="*/ 96485 h 1096883"/>
                <a:gd name="connsiteX15" fmla="*/ 297514 w 939127"/>
                <a:gd name="connsiteY15" fmla="*/ 133660 h 1096883"/>
                <a:gd name="connsiteX16" fmla="*/ 274017 w 939127"/>
                <a:gd name="connsiteY16" fmla="*/ 173116 h 1096883"/>
                <a:gd name="connsiteX17" fmla="*/ 272774 w 939127"/>
                <a:gd name="connsiteY17" fmla="*/ 192021 h 1096883"/>
                <a:gd name="connsiteX18" fmla="*/ 264255 w 939127"/>
                <a:gd name="connsiteY18" fmla="*/ 202730 h 1096883"/>
                <a:gd name="connsiteX19" fmla="*/ 261471 w 939127"/>
                <a:gd name="connsiteY19" fmla="*/ 243989 h 1096883"/>
                <a:gd name="connsiteX20" fmla="*/ 281163 w 939127"/>
                <a:gd name="connsiteY20" fmla="*/ 287641 h 1096883"/>
                <a:gd name="connsiteX21" fmla="*/ 282425 w 939127"/>
                <a:gd name="connsiteY21" fmla="*/ 322292 h 1096883"/>
                <a:gd name="connsiteX22" fmla="*/ 290053 w 939127"/>
                <a:gd name="connsiteY22" fmla="*/ 338105 h 1096883"/>
                <a:gd name="connsiteX23" fmla="*/ 308539 w 939127"/>
                <a:gd name="connsiteY23" fmla="*/ 358113 h 1096883"/>
                <a:gd name="connsiteX24" fmla="*/ 307388 w 939127"/>
                <a:gd name="connsiteY24" fmla="*/ 382965 h 1096883"/>
                <a:gd name="connsiteX25" fmla="*/ 316668 w 939127"/>
                <a:gd name="connsiteY25" fmla="*/ 398499 h 1096883"/>
                <a:gd name="connsiteX26" fmla="*/ 316445 w 939127"/>
                <a:gd name="connsiteY26" fmla="*/ 429141 h 1096883"/>
                <a:gd name="connsiteX27" fmla="*/ 322422 w 939127"/>
                <a:gd name="connsiteY27" fmla="*/ 461361 h 1096883"/>
                <a:gd name="connsiteX28" fmla="*/ 337882 w 939127"/>
                <a:gd name="connsiteY28" fmla="*/ 499724 h 1096883"/>
                <a:gd name="connsiteX29" fmla="*/ 346438 w 939127"/>
                <a:gd name="connsiteY29" fmla="*/ 500058 h 1096883"/>
                <a:gd name="connsiteX30" fmla="*/ 343710 w 939127"/>
                <a:gd name="connsiteY30" fmla="*/ 514962 h 1096883"/>
                <a:gd name="connsiteX31" fmla="*/ 349890 w 939127"/>
                <a:gd name="connsiteY31" fmla="*/ 537790 h 1096883"/>
                <a:gd name="connsiteX32" fmla="*/ 356646 w 939127"/>
                <a:gd name="connsiteY32" fmla="*/ 612401 h 1096883"/>
                <a:gd name="connsiteX33" fmla="*/ 364163 w 939127"/>
                <a:gd name="connsiteY33" fmla="*/ 643507 h 1096883"/>
                <a:gd name="connsiteX34" fmla="*/ 360024 w 939127"/>
                <a:gd name="connsiteY34" fmla="*/ 660322 h 1096883"/>
                <a:gd name="connsiteX35" fmla="*/ 363197 w 939127"/>
                <a:gd name="connsiteY35" fmla="*/ 680236 h 1096883"/>
                <a:gd name="connsiteX36" fmla="*/ 375168 w 939127"/>
                <a:gd name="connsiteY36" fmla="*/ 685990 h 1096883"/>
                <a:gd name="connsiteX37" fmla="*/ 397904 w 939127"/>
                <a:gd name="connsiteY37" fmla="*/ 673871 h 1096883"/>
                <a:gd name="connsiteX38" fmla="*/ 427247 w 939127"/>
                <a:gd name="connsiteY38" fmla="*/ 628380 h 1096883"/>
                <a:gd name="connsiteX39" fmla="*/ 470325 w 939127"/>
                <a:gd name="connsiteY39" fmla="*/ 669138 h 1096883"/>
                <a:gd name="connsiteX40" fmla="*/ 482055 w 939127"/>
                <a:gd name="connsiteY40" fmla="*/ 651970 h 1096883"/>
                <a:gd name="connsiteX41" fmla="*/ 472645 w 939127"/>
                <a:gd name="connsiteY41" fmla="*/ 635619 h 1096883"/>
                <a:gd name="connsiteX42" fmla="*/ 459764 w 939127"/>
                <a:gd name="connsiteY42" fmla="*/ 640203 h 1096883"/>
                <a:gd name="connsiteX43" fmla="*/ 458502 w 939127"/>
                <a:gd name="connsiteY43" fmla="*/ 605552 h 1096883"/>
                <a:gd name="connsiteX44" fmla="*/ 462196 w 939127"/>
                <a:gd name="connsiteY44" fmla="*/ 591354 h 1096883"/>
                <a:gd name="connsiteX45" fmla="*/ 473202 w 939127"/>
                <a:gd name="connsiteY45" fmla="*/ 633818 h 1096883"/>
                <a:gd name="connsiteX46" fmla="*/ 491409 w 939127"/>
                <a:gd name="connsiteY46" fmla="*/ 619861 h 1096883"/>
                <a:gd name="connsiteX47" fmla="*/ 505366 w 939127"/>
                <a:gd name="connsiteY47" fmla="*/ 654216 h 1096883"/>
                <a:gd name="connsiteX48" fmla="*/ 518265 w 939127"/>
                <a:gd name="connsiteY48" fmla="*/ 628343 h 1096883"/>
                <a:gd name="connsiteX49" fmla="*/ 517207 w 939127"/>
                <a:gd name="connsiteY49" fmla="*/ 605570 h 1096883"/>
                <a:gd name="connsiteX50" fmla="*/ 509486 w 939127"/>
                <a:gd name="connsiteY50" fmla="*/ 583818 h 1096883"/>
                <a:gd name="connsiteX51" fmla="*/ 519935 w 939127"/>
                <a:gd name="connsiteY51" fmla="*/ 590667 h 1096883"/>
                <a:gd name="connsiteX52" fmla="*/ 528046 w 939127"/>
                <a:gd name="connsiteY52" fmla="*/ 614887 h 1096883"/>
                <a:gd name="connsiteX53" fmla="*/ 535990 w 939127"/>
                <a:gd name="connsiteY53" fmla="*/ 605979 h 1096883"/>
                <a:gd name="connsiteX54" fmla="*/ 515332 w 939127"/>
                <a:gd name="connsiteY54" fmla="*/ 577787 h 1096883"/>
                <a:gd name="connsiteX55" fmla="*/ 493748 w 939127"/>
                <a:gd name="connsiteY55" fmla="*/ 565073 h 1096883"/>
                <a:gd name="connsiteX56" fmla="*/ 517523 w 939127"/>
                <a:gd name="connsiteY56" fmla="*/ 543432 h 1096883"/>
                <a:gd name="connsiteX57" fmla="*/ 521828 w 939127"/>
                <a:gd name="connsiteY57" fmla="*/ 522330 h 1096883"/>
                <a:gd name="connsiteX58" fmla="*/ 548406 w 939127"/>
                <a:gd name="connsiteY58" fmla="*/ 512994 h 1096883"/>
                <a:gd name="connsiteX59" fmla="*/ 558726 w 939127"/>
                <a:gd name="connsiteY59" fmla="*/ 519008 h 1096883"/>
                <a:gd name="connsiteX60" fmla="*/ 583484 w 939127"/>
                <a:gd name="connsiteY60" fmla="*/ 514219 h 1096883"/>
                <a:gd name="connsiteX61" fmla="*/ 604309 w 939127"/>
                <a:gd name="connsiteY61" fmla="*/ 500708 h 1096883"/>
                <a:gd name="connsiteX62" fmla="*/ 635971 w 939127"/>
                <a:gd name="connsiteY62" fmla="*/ 496532 h 1096883"/>
                <a:gd name="connsiteX63" fmla="*/ 638997 w 939127"/>
                <a:gd name="connsiteY63" fmla="*/ 515593 h 1096883"/>
                <a:gd name="connsiteX64" fmla="*/ 669194 w 939127"/>
                <a:gd name="connsiteY64" fmla="*/ 523555 h 1096883"/>
                <a:gd name="connsiteX65" fmla="*/ 673667 w 939127"/>
                <a:gd name="connsiteY65" fmla="*/ 535600 h 1096883"/>
                <a:gd name="connsiteX66" fmla="*/ 695920 w 939127"/>
                <a:gd name="connsiteY66" fmla="*/ 531201 h 1096883"/>
                <a:gd name="connsiteX67" fmla="*/ 714498 w 939127"/>
                <a:gd name="connsiteY67" fmla="*/ 541001 h 1096883"/>
                <a:gd name="connsiteX68" fmla="*/ 723314 w 939127"/>
                <a:gd name="connsiteY68" fmla="*/ 564275 h 1096883"/>
                <a:gd name="connsiteX69" fmla="*/ 721829 w 939127"/>
                <a:gd name="connsiteY69" fmla="*/ 576413 h 1096883"/>
                <a:gd name="connsiteX70" fmla="*/ 734079 w 939127"/>
                <a:gd name="connsiteY70" fmla="*/ 583818 h 1096883"/>
                <a:gd name="connsiteX71" fmla="*/ 735081 w 939127"/>
                <a:gd name="connsiteY71" fmla="*/ 595567 h 1096883"/>
                <a:gd name="connsiteX72" fmla="*/ 752008 w 939127"/>
                <a:gd name="connsiteY72" fmla="*/ 605626 h 1096883"/>
                <a:gd name="connsiteX73" fmla="*/ 760322 w 939127"/>
                <a:gd name="connsiteY73" fmla="*/ 620455 h 1096883"/>
                <a:gd name="connsiteX74" fmla="*/ 778289 w 939127"/>
                <a:gd name="connsiteY74" fmla="*/ 637159 h 1096883"/>
                <a:gd name="connsiteX75" fmla="*/ 805553 w 939127"/>
                <a:gd name="connsiteY75" fmla="*/ 648128 h 1096883"/>
                <a:gd name="connsiteX76" fmla="*/ 815371 w 939127"/>
                <a:gd name="connsiteY76" fmla="*/ 645715 h 1096883"/>
                <a:gd name="connsiteX77" fmla="*/ 820902 w 939127"/>
                <a:gd name="connsiteY77" fmla="*/ 664405 h 1096883"/>
                <a:gd name="connsiteX78" fmla="*/ 843656 w 939127"/>
                <a:gd name="connsiteY78" fmla="*/ 668432 h 1096883"/>
                <a:gd name="connsiteX79" fmla="*/ 880665 w 939127"/>
                <a:gd name="connsiteY79" fmla="*/ 708466 h 1096883"/>
                <a:gd name="connsiteX80" fmla="*/ 903568 w 939127"/>
                <a:gd name="connsiteY80" fmla="*/ 729494 h 1096883"/>
                <a:gd name="connsiteX81" fmla="*/ 918675 w 939127"/>
                <a:gd name="connsiteY81" fmla="*/ 797664 h 1096883"/>
                <a:gd name="connsiteX82" fmla="*/ 936567 w 939127"/>
                <a:gd name="connsiteY82" fmla="*/ 824594 h 1096883"/>
                <a:gd name="connsiteX83" fmla="*/ 916838 w 939127"/>
                <a:gd name="connsiteY83" fmla="*/ 839628 h 1096883"/>
                <a:gd name="connsiteX84" fmla="*/ 902640 w 939127"/>
                <a:gd name="connsiteY84" fmla="*/ 835934 h 1096883"/>
                <a:gd name="connsiteX85" fmla="*/ 901136 w 939127"/>
                <a:gd name="connsiteY85" fmla="*/ 815760 h 1096883"/>
                <a:gd name="connsiteX86" fmla="*/ 883263 w 939127"/>
                <a:gd name="connsiteY86" fmla="*/ 821161 h 1096883"/>
                <a:gd name="connsiteX87" fmla="*/ 857799 w 939127"/>
                <a:gd name="connsiteY87" fmla="*/ 810749 h 1096883"/>
                <a:gd name="connsiteX88" fmla="*/ 849595 w 939127"/>
                <a:gd name="connsiteY88" fmla="*/ 818006 h 1096883"/>
                <a:gd name="connsiteX89" fmla="*/ 849372 w 939127"/>
                <a:gd name="connsiteY89" fmla="*/ 848666 h 1096883"/>
                <a:gd name="connsiteX90" fmla="*/ 837903 w 939127"/>
                <a:gd name="connsiteY90" fmla="*/ 867505 h 1096883"/>
                <a:gd name="connsiteX91" fmla="*/ 841411 w 939127"/>
                <a:gd name="connsiteY91" fmla="*/ 878845 h 1096883"/>
                <a:gd name="connsiteX92" fmla="*/ 879440 w 939127"/>
                <a:gd name="connsiteY92" fmla="*/ 871940 h 1096883"/>
                <a:gd name="connsiteX93" fmla="*/ 889610 w 939127"/>
                <a:gd name="connsiteY93" fmla="*/ 860972 h 1096883"/>
                <a:gd name="connsiteX94" fmla="*/ 899651 w 939127"/>
                <a:gd name="connsiteY94" fmla="*/ 865333 h 1096883"/>
                <a:gd name="connsiteX95" fmla="*/ 899614 w 939127"/>
                <a:gd name="connsiteY95" fmla="*/ 907854 h 1096883"/>
                <a:gd name="connsiteX96" fmla="*/ 882242 w 939127"/>
                <a:gd name="connsiteY96" fmla="*/ 921681 h 1096883"/>
                <a:gd name="connsiteX97" fmla="*/ 895104 w 939127"/>
                <a:gd name="connsiteY97" fmla="*/ 938329 h 1096883"/>
                <a:gd name="connsiteX98" fmla="*/ 897109 w 939127"/>
                <a:gd name="connsiteY98" fmla="*/ 966929 h 1096883"/>
                <a:gd name="connsiteX99" fmla="*/ 871032 w 939127"/>
                <a:gd name="connsiteY99" fmla="*/ 1000838 h 1096883"/>
                <a:gd name="connsiteX100" fmla="*/ 858875 w 939127"/>
                <a:gd name="connsiteY100" fmla="*/ 999372 h 1096883"/>
                <a:gd name="connsiteX101" fmla="*/ 846718 w 939127"/>
                <a:gd name="connsiteY101" fmla="*/ 1019175 h 1096883"/>
                <a:gd name="connsiteX102" fmla="*/ 844696 w 939127"/>
                <a:gd name="connsiteY102" fmla="*/ 1011844 h 1096883"/>
                <a:gd name="connsiteX103" fmla="*/ 822962 w 939127"/>
                <a:gd name="connsiteY103" fmla="*/ 1019546 h 1096883"/>
                <a:gd name="connsiteX104" fmla="*/ 813367 w 939127"/>
                <a:gd name="connsiteY104" fmla="*/ 1044880 h 1096883"/>
                <a:gd name="connsiteX105" fmla="*/ 815055 w 939127"/>
                <a:gd name="connsiteY105" fmla="*/ 1060768 h 1096883"/>
                <a:gd name="connsiteX106" fmla="*/ 829866 w 939127"/>
                <a:gd name="connsiteY106" fmla="*/ 1073722 h 1096883"/>
                <a:gd name="connsiteX107" fmla="*/ 817969 w 939127"/>
                <a:gd name="connsiteY107" fmla="*/ 1095178 h 1096883"/>
                <a:gd name="connsiteX108" fmla="*/ 787012 w 939127"/>
                <a:gd name="connsiteY108" fmla="*/ 1060990 h 1096883"/>
                <a:gd name="connsiteX109" fmla="*/ 787606 w 939127"/>
                <a:gd name="connsiteY109" fmla="*/ 1037939 h 1096883"/>
                <a:gd name="connsiteX110" fmla="*/ 781017 w 939127"/>
                <a:gd name="connsiteY110" fmla="*/ 1012605 h 1096883"/>
                <a:gd name="connsiteX111" fmla="*/ 754681 w 939127"/>
                <a:gd name="connsiteY111" fmla="*/ 1007445 h 1096883"/>
                <a:gd name="connsiteX112" fmla="*/ 746236 w 939127"/>
                <a:gd name="connsiteY112" fmla="*/ 991781 h 1096883"/>
                <a:gd name="connsiteX113" fmla="*/ 728066 w 939127"/>
                <a:gd name="connsiteY113" fmla="*/ 1000634 h 1096883"/>
                <a:gd name="connsiteX114" fmla="*/ 741596 w 939127"/>
                <a:gd name="connsiteY114" fmla="*/ 984023 h 1096883"/>
                <a:gd name="connsiteX115" fmla="*/ 735935 w 939127"/>
                <a:gd name="connsiteY115" fmla="*/ 964517 h 1096883"/>
                <a:gd name="connsiteX116" fmla="*/ 721143 w 939127"/>
                <a:gd name="connsiteY116" fmla="*/ 983874 h 1096883"/>
                <a:gd name="connsiteX117" fmla="*/ 707613 w 939127"/>
                <a:gd name="connsiteY117" fmla="*/ 984320 h 1096883"/>
                <a:gd name="connsiteX118" fmla="*/ 704569 w 939127"/>
                <a:gd name="connsiteY118" fmla="*/ 1002657 h 1096883"/>
                <a:gd name="connsiteX119" fmla="*/ 685582 w 939127"/>
                <a:gd name="connsiteY119" fmla="*/ 1011640 h 1096883"/>
                <a:gd name="connsiteX120" fmla="*/ 666261 w 939127"/>
                <a:gd name="connsiteY120" fmla="*/ 1029179 h 1096883"/>
                <a:gd name="connsiteX121" fmla="*/ 644360 w 939127"/>
                <a:gd name="connsiteY121" fmla="*/ 1019899 h 1096883"/>
                <a:gd name="connsiteX122" fmla="*/ 625912 w 939127"/>
                <a:gd name="connsiteY122" fmla="*/ 1032186 h 1096883"/>
                <a:gd name="connsiteX123" fmla="*/ 617653 w 939127"/>
                <a:gd name="connsiteY123" fmla="*/ 1028399 h 1096883"/>
                <a:gd name="connsiteX124" fmla="*/ 607148 w 939127"/>
                <a:gd name="connsiteY124" fmla="*/ 1047924 h 1096883"/>
                <a:gd name="connsiteX125" fmla="*/ 587104 w 939127"/>
                <a:gd name="connsiteY125" fmla="*/ 1050263 h 1096883"/>
                <a:gd name="connsiteX126" fmla="*/ 596773 w 939127"/>
                <a:gd name="connsiteY126" fmla="*/ 1068284 h 1096883"/>
                <a:gd name="connsiteX127" fmla="*/ 585414 w 939127"/>
                <a:gd name="connsiteY127" fmla="*/ 1071792 h 1096883"/>
                <a:gd name="connsiteX128" fmla="*/ 575875 w 939127"/>
                <a:gd name="connsiteY128" fmla="*/ 1092022 h 1096883"/>
                <a:gd name="connsiteX129" fmla="*/ 569750 w 939127"/>
                <a:gd name="connsiteY129" fmla="*/ 1080237 h 1096883"/>
                <a:gd name="connsiteX130" fmla="*/ 538718 w 939127"/>
                <a:gd name="connsiteY130" fmla="*/ 1056258 h 1096883"/>
                <a:gd name="connsiteX131" fmla="*/ 530106 w 939127"/>
                <a:gd name="connsiteY131" fmla="*/ 1061028 h 1096883"/>
                <a:gd name="connsiteX132" fmla="*/ 527044 w 939127"/>
                <a:gd name="connsiteY132" fmla="*/ 1047071 h 1096883"/>
                <a:gd name="connsiteX133" fmla="*/ 508688 w 939127"/>
                <a:gd name="connsiteY133" fmla="*/ 1044027 h 1096883"/>
                <a:gd name="connsiteX134" fmla="*/ 488699 w 939127"/>
                <a:gd name="connsiteY134" fmla="*/ 1057408 h 1096883"/>
                <a:gd name="connsiteX135" fmla="*/ 481479 w 939127"/>
                <a:gd name="connsiteY135" fmla="*/ 1044101 h 1096883"/>
                <a:gd name="connsiteX136" fmla="*/ 469787 w 939127"/>
                <a:gd name="connsiteY136" fmla="*/ 1056165 h 1096883"/>
                <a:gd name="connsiteX137" fmla="*/ 450781 w 939127"/>
                <a:gd name="connsiteY137" fmla="*/ 1011566 h 1096883"/>
                <a:gd name="connsiteX138" fmla="*/ 459226 w 939127"/>
                <a:gd name="connsiteY138" fmla="*/ 989814 h 1096883"/>
                <a:gd name="connsiteX139" fmla="*/ 438217 w 939127"/>
                <a:gd name="connsiteY139" fmla="*/ 975300 h 1096883"/>
                <a:gd name="connsiteX140" fmla="*/ 448369 w 939127"/>
                <a:gd name="connsiteY140" fmla="*/ 964331 h 1096883"/>
                <a:gd name="connsiteX141" fmla="*/ 460396 w 939127"/>
                <a:gd name="connsiteY141" fmla="*/ 927545 h 1096883"/>
                <a:gd name="connsiteX142" fmla="*/ 452637 w 939127"/>
                <a:gd name="connsiteY142" fmla="*/ 910935 h 1096883"/>
                <a:gd name="connsiteX143" fmla="*/ 454549 w 939127"/>
                <a:gd name="connsiteY143" fmla="*/ 896161 h 1096883"/>
                <a:gd name="connsiteX144" fmla="*/ 469193 w 939127"/>
                <a:gd name="connsiteY144" fmla="*/ 875986 h 1096883"/>
                <a:gd name="connsiteX145" fmla="*/ 467040 w 939127"/>
                <a:gd name="connsiteY145" fmla="*/ 867820 h 1096883"/>
                <a:gd name="connsiteX146" fmla="*/ 451709 w 939127"/>
                <a:gd name="connsiteY146" fmla="*/ 867709 h 1096883"/>
                <a:gd name="connsiteX147" fmla="*/ 439775 w 939127"/>
                <a:gd name="connsiteY147" fmla="*/ 856851 h 1096883"/>
                <a:gd name="connsiteX148" fmla="*/ 495065 w 939127"/>
                <a:gd name="connsiteY148" fmla="*/ 814034 h 1096883"/>
                <a:gd name="connsiteX149" fmla="*/ 486361 w 939127"/>
                <a:gd name="connsiteY149" fmla="*/ 796718 h 1096883"/>
                <a:gd name="connsiteX150" fmla="*/ 465555 w 939127"/>
                <a:gd name="connsiteY150" fmla="*/ 788960 h 1096883"/>
                <a:gd name="connsiteX151" fmla="*/ 455403 w 939127"/>
                <a:gd name="connsiteY151" fmla="*/ 762512 h 1096883"/>
                <a:gd name="connsiteX152" fmla="*/ 442597 w 939127"/>
                <a:gd name="connsiteY152" fmla="*/ 756907 h 1096883"/>
                <a:gd name="connsiteX153" fmla="*/ 421420 w 939127"/>
                <a:gd name="connsiteY153" fmla="*/ 762827 h 1096883"/>
                <a:gd name="connsiteX154" fmla="*/ 416780 w 939127"/>
                <a:gd name="connsiteY154" fmla="*/ 792467 h 1096883"/>
                <a:gd name="connsiteX155" fmla="*/ 396661 w 939127"/>
                <a:gd name="connsiteY155" fmla="*/ 805032 h 1096883"/>
                <a:gd name="connsiteX156" fmla="*/ 393060 w 939127"/>
                <a:gd name="connsiteY156" fmla="*/ 825151 h 1096883"/>
                <a:gd name="connsiteX157" fmla="*/ 399352 w 939127"/>
                <a:gd name="connsiteY157" fmla="*/ 832668 h 1096883"/>
                <a:gd name="connsiteX158" fmla="*/ 371401 w 939127"/>
                <a:gd name="connsiteY158" fmla="*/ 876228 h 1096883"/>
                <a:gd name="connsiteX159" fmla="*/ 351728 w 939127"/>
                <a:gd name="connsiteY159" fmla="*/ 902323 h 1096883"/>
                <a:gd name="connsiteX160" fmla="*/ 347106 w 939127"/>
                <a:gd name="connsiteY160" fmla="*/ 894546 h 1096883"/>
                <a:gd name="connsiteX161" fmla="*/ 318914 w 939127"/>
                <a:gd name="connsiteY161" fmla="*/ 877768 h 1096883"/>
                <a:gd name="connsiteX162" fmla="*/ 302340 w 939127"/>
                <a:gd name="connsiteY162" fmla="*/ 896569 h 1096883"/>
                <a:gd name="connsiteX163" fmla="*/ 280421 w 939127"/>
                <a:gd name="connsiteY163" fmla="*/ 908559 h 1096883"/>
                <a:gd name="connsiteX164" fmla="*/ 268913 w 939127"/>
                <a:gd name="connsiteY164" fmla="*/ 895084 h 1096883"/>
                <a:gd name="connsiteX165" fmla="*/ 267670 w 939127"/>
                <a:gd name="connsiteY165" fmla="*/ 876562 h 1096883"/>
                <a:gd name="connsiteX166" fmla="*/ 276486 w 939127"/>
                <a:gd name="connsiteY166" fmla="*/ 862419 h 1096883"/>
                <a:gd name="connsiteX167" fmla="*/ 262659 w 939127"/>
                <a:gd name="connsiteY167" fmla="*/ 845047 h 1096883"/>
                <a:gd name="connsiteX168" fmla="*/ 269341 w 939127"/>
                <a:gd name="connsiteY168" fmla="*/ 801469 h 1096883"/>
                <a:gd name="connsiteX169" fmla="*/ 263605 w 939127"/>
                <a:gd name="connsiteY169" fmla="*/ 792171 h 1096883"/>
                <a:gd name="connsiteX170" fmla="*/ 271716 w 939127"/>
                <a:gd name="connsiteY170" fmla="*/ 778975 h 1096883"/>
                <a:gd name="connsiteX171" fmla="*/ 262770 w 939127"/>
                <a:gd name="connsiteY171" fmla="*/ 754884 h 1096883"/>
                <a:gd name="connsiteX172" fmla="*/ 240053 w 939127"/>
                <a:gd name="connsiteY172" fmla="*/ 745753 h 1096883"/>
                <a:gd name="connsiteX173" fmla="*/ 229901 w 939127"/>
                <a:gd name="connsiteY173" fmla="*/ 756721 h 1096883"/>
                <a:gd name="connsiteX174" fmla="*/ 222700 w 939127"/>
                <a:gd name="connsiteY174" fmla="*/ 775727 h 1096883"/>
                <a:gd name="connsiteX175" fmla="*/ 201244 w 939127"/>
                <a:gd name="connsiteY175" fmla="*/ 801246 h 1096883"/>
                <a:gd name="connsiteX176" fmla="*/ 192391 w 939127"/>
                <a:gd name="connsiteY176" fmla="*/ 804364 h 1096883"/>
                <a:gd name="connsiteX177" fmla="*/ 178360 w 939127"/>
                <a:gd name="connsiteY177" fmla="*/ 796384 h 1096883"/>
                <a:gd name="connsiteX178" fmla="*/ 155030 w 939127"/>
                <a:gd name="connsiteY178" fmla="*/ 756721 h 1096883"/>
                <a:gd name="connsiteX179" fmla="*/ 167298 w 939127"/>
                <a:gd name="connsiteY179" fmla="*/ 742876 h 1096883"/>
                <a:gd name="connsiteX180" fmla="*/ 148961 w 939127"/>
                <a:gd name="connsiteY180" fmla="*/ 718562 h 1096883"/>
                <a:gd name="connsiteX181" fmla="*/ 107907 w 939127"/>
                <a:gd name="connsiteY181" fmla="*/ 722553 h 1096883"/>
                <a:gd name="connsiteX182" fmla="*/ 118282 w 939127"/>
                <a:gd name="connsiteY182" fmla="*/ 702193 h 1096883"/>
                <a:gd name="connsiteX183" fmla="*/ 105550 w 939127"/>
                <a:gd name="connsiteY183" fmla="*/ 686361 h 1096883"/>
                <a:gd name="connsiteX184" fmla="*/ 107072 w 939127"/>
                <a:gd name="connsiteY184" fmla="*/ 669101 h 1096883"/>
                <a:gd name="connsiteX185" fmla="*/ 90201 w 939127"/>
                <a:gd name="connsiteY185" fmla="*/ 670084 h 1096883"/>
                <a:gd name="connsiteX186" fmla="*/ 63864 w 939127"/>
                <a:gd name="connsiteY186" fmla="*/ 664925 h 1096883"/>
                <a:gd name="connsiteX187" fmla="*/ 88271 w 939127"/>
                <a:gd name="connsiteY187" fmla="*/ 652545 h 1096883"/>
                <a:gd name="connsiteX188" fmla="*/ 78991 w 939127"/>
                <a:gd name="connsiteY188" fmla="*/ 637011 h 1096883"/>
                <a:gd name="connsiteX189" fmla="*/ 63029 w 939127"/>
                <a:gd name="connsiteY189" fmla="*/ 627638 h 1096883"/>
                <a:gd name="connsiteX190" fmla="*/ 65553 w 939127"/>
                <a:gd name="connsiteY190" fmla="*/ 605979 h 1096883"/>
                <a:gd name="connsiteX191" fmla="*/ 51559 w 939127"/>
                <a:gd name="connsiteY191" fmla="*/ 592894 h 1096883"/>
                <a:gd name="connsiteX192" fmla="*/ 57405 w 939127"/>
                <a:gd name="connsiteY192" fmla="*/ 586862 h 1096883"/>
                <a:gd name="connsiteX193" fmla="*/ 45193 w 939127"/>
                <a:gd name="connsiteY193" fmla="*/ 574353 h 1096883"/>
                <a:gd name="connsiteX194" fmla="*/ 50242 w 939127"/>
                <a:gd name="connsiteY194" fmla="*/ 547181 h 1096883"/>
                <a:gd name="connsiteX195" fmla="*/ 66685 w 939127"/>
                <a:gd name="connsiteY195" fmla="*/ 527564 h 1096883"/>
                <a:gd name="connsiteX196" fmla="*/ 85412 w 939127"/>
                <a:gd name="connsiteY196" fmla="*/ 516929 h 1096883"/>
                <a:gd name="connsiteX197" fmla="*/ 103954 w 939127"/>
                <a:gd name="connsiteY197" fmla="*/ 494416 h 1096883"/>
                <a:gd name="connsiteX198" fmla="*/ 92484 w 939127"/>
                <a:gd name="connsiteY198" fmla="*/ 475838 h 1096883"/>
                <a:gd name="connsiteX199" fmla="*/ 92762 w 939127"/>
                <a:gd name="connsiteY199" fmla="*/ 456220 h 1096883"/>
                <a:gd name="connsiteX200" fmla="*/ 104807 w 939127"/>
                <a:gd name="connsiteY200" fmla="*/ 451766 h 1096883"/>
                <a:gd name="connsiteX201" fmla="*/ 126244 w 939127"/>
                <a:gd name="connsiteY201" fmla="*/ 431331 h 1096883"/>
                <a:gd name="connsiteX202" fmla="*/ 130940 w 939127"/>
                <a:gd name="connsiteY202" fmla="*/ 412734 h 1096883"/>
                <a:gd name="connsiteX203" fmla="*/ 122291 w 939127"/>
                <a:gd name="connsiteY203" fmla="*/ 385192 h 1096883"/>
                <a:gd name="connsiteX204" fmla="*/ 137510 w 939127"/>
                <a:gd name="connsiteY204" fmla="*/ 363217 h 1096883"/>
                <a:gd name="connsiteX205" fmla="*/ 103954 w 939127"/>
                <a:gd name="connsiteY205" fmla="*/ 344731 h 1096883"/>
                <a:gd name="connsiteX206" fmla="*/ 78452 w 939127"/>
                <a:gd name="connsiteY206" fmla="*/ 318172 h 1096883"/>
                <a:gd name="connsiteX207" fmla="*/ 61470 w 939127"/>
                <a:gd name="connsiteY207" fmla="*/ 318339 h 1096883"/>
                <a:gd name="connsiteX208" fmla="*/ 52190 w 939127"/>
                <a:gd name="connsiteY208" fmla="*/ 302805 h 1096883"/>
                <a:gd name="connsiteX209" fmla="*/ 52580 w 939127"/>
                <a:gd name="connsiteY209" fmla="*/ 289126 h 1096883"/>
                <a:gd name="connsiteX210" fmla="*/ 43783 w 939127"/>
                <a:gd name="connsiteY210" fmla="*/ 282018 h 1096883"/>
                <a:gd name="connsiteX211" fmla="*/ 51355 w 939127"/>
                <a:gd name="connsiteY211" fmla="*/ 249352 h 1096883"/>
                <a:gd name="connsiteX212" fmla="*/ 27858 w 939127"/>
                <a:gd name="connsiteY212" fmla="*/ 213978 h 1096883"/>
                <a:gd name="connsiteX213" fmla="*/ 27673 w 939127"/>
                <a:gd name="connsiteY213" fmla="*/ 202099 h 1096883"/>
                <a:gd name="connsiteX214" fmla="*/ 8296 w 939127"/>
                <a:gd name="connsiteY214" fmla="*/ 187326 h 1096883"/>
                <a:gd name="connsiteX215" fmla="*/ 2784 w 939127"/>
                <a:gd name="connsiteY215" fmla="*/ 168642 h 1096883"/>
                <a:gd name="connsiteX216" fmla="*/ 22643 w 939127"/>
                <a:gd name="connsiteY216" fmla="*/ 154427 h 1096883"/>
                <a:gd name="connsiteX217" fmla="*/ 60375 w 939127"/>
                <a:gd name="connsiteY217" fmla="*/ 150975 h 1096883"/>
                <a:gd name="connsiteX218" fmla="*/ 60450 w 939127"/>
                <a:gd name="connsiteY218" fmla="*/ 140757 h 1096883"/>
                <a:gd name="connsiteX219" fmla="*/ 81181 w 939127"/>
                <a:gd name="connsiteY219" fmla="*/ 137457 h 1096883"/>
                <a:gd name="connsiteX220" fmla="*/ 88642 w 939127"/>
                <a:gd name="connsiteY220" fmla="*/ 120115 h 1096883"/>
                <a:gd name="connsiteX221" fmla="*/ 77970 w 939127"/>
                <a:gd name="connsiteY221" fmla="*/ 106505 h 1096883"/>
                <a:gd name="connsiteX222" fmla="*/ 100520 w 939127"/>
                <a:gd name="connsiteY222" fmla="*/ 82508 h 1096883"/>
                <a:gd name="connsiteX223" fmla="*/ 115368 w 939127"/>
                <a:gd name="connsiteY223" fmla="*/ 90349 h 1096883"/>
                <a:gd name="connsiteX224" fmla="*/ 122476 w 939127"/>
                <a:gd name="connsiteY224" fmla="*/ 81565 h 1096883"/>
                <a:gd name="connsiteX225" fmla="*/ 110264 w 939127"/>
                <a:gd name="connsiteY225" fmla="*/ 52892 h 1096883"/>
                <a:gd name="connsiteX226" fmla="*/ 128249 w 939127"/>
                <a:gd name="connsiteY226" fmla="*/ 32175 h 1096883"/>
                <a:gd name="connsiteX227" fmla="*/ 126003 w 939127"/>
                <a:gd name="connsiteY227" fmla="*/ 18073 h 1096883"/>
                <a:gd name="connsiteX228" fmla="*/ 143764 w 939127"/>
                <a:gd name="connsiteY228" fmla="*/ 6745 h 1096883"/>
                <a:gd name="connsiteX229" fmla="*/ 168654 w 939127"/>
                <a:gd name="connsiteY229" fmla="*/ 2784 h 1096883"/>
                <a:gd name="connsiteX230" fmla="*/ 207796 w 939127"/>
                <a:gd name="connsiteY230" fmla="*/ 13565 h 1096883"/>
                <a:gd name="connsiteX231" fmla="*/ 216241 w 939127"/>
                <a:gd name="connsiteY231" fmla="*/ 29230 h 1096883"/>
                <a:gd name="connsiteX232" fmla="*/ 230977 w 939127"/>
                <a:gd name="connsiteY232" fmla="*/ 36242 h 1096883"/>
                <a:gd name="connsiteX233" fmla="*/ 224129 w 939127"/>
                <a:gd name="connsiteY233" fmla="*/ 46685 h 1096883"/>
                <a:gd name="connsiteX234" fmla="*/ 227247 w 939127"/>
                <a:gd name="connsiteY234" fmla="*/ 71700 h 1096883"/>
                <a:gd name="connsiteX235" fmla="*/ 241408 w 939127"/>
                <a:gd name="connsiteY235" fmla="*/ 80503 h 1096883"/>
                <a:gd name="connsiteX236" fmla="*/ 255384 w 939127"/>
                <a:gd name="connsiteY236" fmla="*/ 77430 h 1096883"/>
                <a:gd name="connsiteX237" fmla="*/ 260116 w 939127"/>
                <a:gd name="connsiteY237" fmla="*/ 53716 h 1096883"/>
                <a:gd name="connsiteX238" fmla="*/ 292614 w 939127"/>
                <a:gd name="connsiteY238" fmla="*/ 49397 h 1096883"/>
                <a:gd name="connsiteX239" fmla="*/ 301820 w 939127"/>
                <a:gd name="connsiteY239" fmla="*/ 37728 h 1096883"/>
                <a:gd name="connsiteX240" fmla="*/ 331664 w 939127"/>
                <a:gd name="connsiteY240" fmla="*/ 54239 h 1096883"/>
                <a:gd name="connsiteX241" fmla="*/ 331330 w 939127"/>
                <a:gd name="connsiteY241" fmla="*/ 62799 h 109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939127" h="1096883">
                  <a:moveTo>
                    <a:pt x="410989" y="606294"/>
                  </a:moveTo>
                  <a:lnTo>
                    <a:pt x="418487" y="600003"/>
                  </a:lnTo>
                  <a:lnTo>
                    <a:pt x="408465" y="574390"/>
                  </a:lnTo>
                  <a:lnTo>
                    <a:pt x="419452" y="563291"/>
                  </a:lnTo>
                  <a:lnTo>
                    <a:pt x="433818" y="562697"/>
                  </a:lnTo>
                  <a:lnTo>
                    <a:pt x="443524" y="575615"/>
                  </a:lnTo>
                  <a:lnTo>
                    <a:pt x="447385" y="594564"/>
                  </a:lnTo>
                  <a:lnTo>
                    <a:pt x="425725" y="592040"/>
                  </a:lnTo>
                  <a:lnTo>
                    <a:pt x="424649" y="606684"/>
                  </a:lnTo>
                  <a:lnTo>
                    <a:pt x="410989" y="606294"/>
                  </a:lnTo>
                  <a:close/>
                  <a:moveTo>
                    <a:pt x="331330" y="62799"/>
                  </a:moveTo>
                  <a:lnTo>
                    <a:pt x="317410" y="76917"/>
                  </a:lnTo>
                  <a:lnTo>
                    <a:pt x="334708" y="89471"/>
                  </a:lnTo>
                  <a:lnTo>
                    <a:pt x="321326" y="106910"/>
                  </a:lnTo>
                  <a:lnTo>
                    <a:pt x="312010" y="96485"/>
                  </a:lnTo>
                  <a:lnTo>
                    <a:pt x="297514" y="133660"/>
                  </a:lnTo>
                  <a:lnTo>
                    <a:pt x="274017" y="173116"/>
                  </a:lnTo>
                  <a:lnTo>
                    <a:pt x="272774" y="192021"/>
                  </a:lnTo>
                  <a:lnTo>
                    <a:pt x="264255" y="202730"/>
                  </a:lnTo>
                  <a:lnTo>
                    <a:pt x="261471" y="243989"/>
                  </a:lnTo>
                  <a:lnTo>
                    <a:pt x="281163" y="287641"/>
                  </a:lnTo>
                  <a:lnTo>
                    <a:pt x="282425" y="322292"/>
                  </a:lnTo>
                  <a:lnTo>
                    <a:pt x="290053" y="338105"/>
                  </a:lnTo>
                  <a:lnTo>
                    <a:pt x="308539" y="358113"/>
                  </a:lnTo>
                  <a:lnTo>
                    <a:pt x="307388" y="382965"/>
                  </a:lnTo>
                  <a:lnTo>
                    <a:pt x="316668" y="398499"/>
                  </a:lnTo>
                  <a:lnTo>
                    <a:pt x="316445" y="429141"/>
                  </a:lnTo>
                  <a:lnTo>
                    <a:pt x="322422" y="461361"/>
                  </a:lnTo>
                  <a:lnTo>
                    <a:pt x="337882" y="499724"/>
                  </a:lnTo>
                  <a:lnTo>
                    <a:pt x="346438" y="500058"/>
                  </a:lnTo>
                  <a:lnTo>
                    <a:pt x="343710" y="514962"/>
                  </a:lnTo>
                  <a:lnTo>
                    <a:pt x="349890" y="537790"/>
                  </a:lnTo>
                  <a:lnTo>
                    <a:pt x="356646" y="612401"/>
                  </a:lnTo>
                  <a:lnTo>
                    <a:pt x="364163" y="643507"/>
                  </a:lnTo>
                  <a:lnTo>
                    <a:pt x="360024" y="660322"/>
                  </a:lnTo>
                  <a:lnTo>
                    <a:pt x="363197" y="680236"/>
                  </a:lnTo>
                  <a:lnTo>
                    <a:pt x="375168" y="685990"/>
                  </a:lnTo>
                  <a:lnTo>
                    <a:pt x="397904" y="673871"/>
                  </a:lnTo>
                  <a:lnTo>
                    <a:pt x="427247" y="628380"/>
                  </a:lnTo>
                  <a:lnTo>
                    <a:pt x="470325" y="669138"/>
                  </a:lnTo>
                  <a:lnTo>
                    <a:pt x="482055" y="651970"/>
                  </a:lnTo>
                  <a:lnTo>
                    <a:pt x="472645" y="635619"/>
                  </a:lnTo>
                  <a:lnTo>
                    <a:pt x="459764" y="640203"/>
                  </a:lnTo>
                  <a:lnTo>
                    <a:pt x="458502" y="605552"/>
                  </a:lnTo>
                  <a:lnTo>
                    <a:pt x="462196" y="591354"/>
                  </a:lnTo>
                  <a:lnTo>
                    <a:pt x="473202" y="633818"/>
                  </a:lnTo>
                  <a:lnTo>
                    <a:pt x="491409" y="619861"/>
                  </a:lnTo>
                  <a:lnTo>
                    <a:pt x="505366" y="654216"/>
                  </a:lnTo>
                  <a:lnTo>
                    <a:pt x="518265" y="628343"/>
                  </a:lnTo>
                  <a:lnTo>
                    <a:pt x="517207" y="605570"/>
                  </a:lnTo>
                  <a:lnTo>
                    <a:pt x="509486" y="583818"/>
                  </a:lnTo>
                  <a:lnTo>
                    <a:pt x="519935" y="590667"/>
                  </a:lnTo>
                  <a:lnTo>
                    <a:pt x="528046" y="614887"/>
                  </a:lnTo>
                  <a:lnTo>
                    <a:pt x="535990" y="605979"/>
                  </a:lnTo>
                  <a:lnTo>
                    <a:pt x="515332" y="577787"/>
                  </a:lnTo>
                  <a:lnTo>
                    <a:pt x="493748" y="565073"/>
                  </a:lnTo>
                  <a:lnTo>
                    <a:pt x="517523" y="543432"/>
                  </a:lnTo>
                  <a:lnTo>
                    <a:pt x="521828" y="522330"/>
                  </a:lnTo>
                  <a:lnTo>
                    <a:pt x="548406" y="512994"/>
                  </a:lnTo>
                  <a:lnTo>
                    <a:pt x="558726" y="519008"/>
                  </a:lnTo>
                  <a:lnTo>
                    <a:pt x="583484" y="514219"/>
                  </a:lnTo>
                  <a:lnTo>
                    <a:pt x="604309" y="500708"/>
                  </a:lnTo>
                  <a:lnTo>
                    <a:pt x="635971" y="496532"/>
                  </a:lnTo>
                  <a:lnTo>
                    <a:pt x="638997" y="515593"/>
                  </a:lnTo>
                  <a:lnTo>
                    <a:pt x="669194" y="523555"/>
                  </a:lnTo>
                  <a:lnTo>
                    <a:pt x="673667" y="535600"/>
                  </a:lnTo>
                  <a:lnTo>
                    <a:pt x="695920" y="531201"/>
                  </a:lnTo>
                  <a:lnTo>
                    <a:pt x="714498" y="541001"/>
                  </a:lnTo>
                  <a:lnTo>
                    <a:pt x="723314" y="564275"/>
                  </a:lnTo>
                  <a:lnTo>
                    <a:pt x="721829" y="576413"/>
                  </a:lnTo>
                  <a:lnTo>
                    <a:pt x="734079" y="583818"/>
                  </a:lnTo>
                  <a:lnTo>
                    <a:pt x="735081" y="595567"/>
                  </a:lnTo>
                  <a:lnTo>
                    <a:pt x="752008" y="605626"/>
                  </a:lnTo>
                  <a:lnTo>
                    <a:pt x="760322" y="620455"/>
                  </a:lnTo>
                  <a:lnTo>
                    <a:pt x="778289" y="637159"/>
                  </a:lnTo>
                  <a:lnTo>
                    <a:pt x="805553" y="648128"/>
                  </a:lnTo>
                  <a:lnTo>
                    <a:pt x="815371" y="645715"/>
                  </a:lnTo>
                  <a:lnTo>
                    <a:pt x="820902" y="664405"/>
                  </a:lnTo>
                  <a:lnTo>
                    <a:pt x="843656" y="668432"/>
                  </a:lnTo>
                  <a:lnTo>
                    <a:pt x="880665" y="708466"/>
                  </a:lnTo>
                  <a:lnTo>
                    <a:pt x="903568" y="729494"/>
                  </a:lnTo>
                  <a:lnTo>
                    <a:pt x="918675" y="797664"/>
                  </a:lnTo>
                  <a:lnTo>
                    <a:pt x="936567" y="824594"/>
                  </a:lnTo>
                  <a:lnTo>
                    <a:pt x="916838" y="839628"/>
                  </a:lnTo>
                  <a:lnTo>
                    <a:pt x="902640" y="835934"/>
                  </a:lnTo>
                  <a:lnTo>
                    <a:pt x="901136" y="815760"/>
                  </a:lnTo>
                  <a:lnTo>
                    <a:pt x="883263" y="821161"/>
                  </a:lnTo>
                  <a:lnTo>
                    <a:pt x="857799" y="810749"/>
                  </a:lnTo>
                  <a:lnTo>
                    <a:pt x="849595" y="818006"/>
                  </a:lnTo>
                  <a:lnTo>
                    <a:pt x="849372" y="848666"/>
                  </a:lnTo>
                  <a:lnTo>
                    <a:pt x="837903" y="867505"/>
                  </a:lnTo>
                  <a:lnTo>
                    <a:pt x="841411" y="878845"/>
                  </a:lnTo>
                  <a:lnTo>
                    <a:pt x="879440" y="871940"/>
                  </a:lnTo>
                  <a:lnTo>
                    <a:pt x="889610" y="860972"/>
                  </a:lnTo>
                  <a:lnTo>
                    <a:pt x="899651" y="865333"/>
                  </a:lnTo>
                  <a:lnTo>
                    <a:pt x="899614" y="907854"/>
                  </a:lnTo>
                  <a:lnTo>
                    <a:pt x="882242" y="921681"/>
                  </a:lnTo>
                  <a:lnTo>
                    <a:pt x="895104" y="938329"/>
                  </a:lnTo>
                  <a:lnTo>
                    <a:pt x="897109" y="966929"/>
                  </a:lnTo>
                  <a:lnTo>
                    <a:pt x="871032" y="1000838"/>
                  </a:lnTo>
                  <a:lnTo>
                    <a:pt x="858875" y="999372"/>
                  </a:lnTo>
                  <a:lnTo>
                    <a:pt x="846718" y="1019175"/>
                  </a:lnTo>
                  <a:lnTo>
                    <a:pt x="844696" y="1011844"/>
                  </a:lnTo>
                  <a:lnTo>
                    <a:pt x="822962" y="1019546"/>
                  </a:lnTo>
                  <a:lnTo>
                    <a:pt x="813367" y="1044880"/>
                  </a:lnTo>
                  <a:lnTo>
                    <a:pt x="815055" y="1060768"/>
                  </a:lnTo>
                  <a:lnTo>
                    <a:pt x="829866" y="1073722"/>
                  </a:lnTo>
                  <a:lnTo>
                    <a:pt x="817969" y="1095178"/>
                  </a:lnTo>
                  <a:lnTo>
                    <a:pt x="787012" y="1060990"/>
                  </a:lnTo>
                  <a:lnTo>
                    <a:pt x="787606" y="1037939"/>
                  </a:lnTo>
                  <a:lnTo>
                    <a:pt x="781017" y="1012605"/>
                  </a:lnTo>
                  <a:lnTo>
                    <a:pt x="754681" y="1007445"/>
                  </a:lnTo>
                  <a:lnTo>
                    <a:pt x="746236" y="991781"/>
                  </a:lnTo>
                  <a:lnTo>
                    <a:pt x="728066" y="1000634"/>
                  </a:lnTo>
                  <a:lnTo>
                    <a:pt x="741596" y="984023"/>
                  </a:lnTo>
                  <a:lnTo>
                    <a:pt x="735935" y="964517"/>
                  </a:lnTo>
                  <a:lnTo>
                    <a:pt x="721143" y="983874"/>
                  </a:lnTo>
                  <a:lnTo>
                    <a:pt x="707613" y="984320"/>
                  </a:lnTo>
                  <a:lnTo>
                    <a:pt x="704569" y="1002657"/>
                  </a:lnTo>
                  <a:lnTo>
                    <a:pt x="685582" y="1011640"/>
                  </a:lnTo>
                  <a:lnTo>
                    <a:pt x="666261" y="1029179"/>
                  </a:lnTo>
                  <a:lnTo>
                    <a:pt x="644360" y="1019899"/>
                  </a:lnTo>
                  <a:lnTo>
                    <a:pt x="625912" y="1032186"/>
                  </a:lnTo>
                  <a:lnTo>
                    <a:pt x="617653" y="1028399"/>
                  </a:lnTo>
                  <a:lnTo>
                    <a:pt x="607148" y="1047924"/>
                  </a:lnTo>
                  <a:lnTo>
                    <a:pt x="587104" y="1050263"/>
                  </a:lnTo>
                  <a:lnTo>
                    <a:pt x="596773" y="1068284"/>
                  </a:lnTo>
                  <a:lnTo>
                    <a:pt x="585414" y="1071792"/>
                  </a:lnTo>
                  <a:lnTo>
                    <a:pt x="575875" y="1092022"/>
                  </a:lnTo>
                  <a:lnTo>
                    <a:pt x="569750" y="1080237"/>
                  </a:lnTo>
                  <a:lnTo>
                    <a:pt x="538718" y="1056258"/>
                  </a:lnTo>
                  <a:lnTo>
                    <a:pt x="530106" y="1061028"/>
                  </a:lnTo>
                  <a:lnTo>
                    <a:pt x="527044" y="1047071"/>
                  </a:lnTo>
                  <a:lnTo>
                    <a:pt x="508688" y="1044027"/>
                  </a:lnTo>
                  <a:lnTo>
                    <a:pt x="488699" y="1057408"/>
                  </a:lnTo>
                  <a:lnTo>
                    <a:pt x="481479" y="1044101"/>
                  </a:lnTo>
                  <a:lnTo>
                    <a:pt x="469787" y="1056165"/>
                  </a:lnTo>
                  <a:lnTo>
                    <a:pt x="450781" y="1011566"/>
                  </a:lnTo>
                  <a:lnTo>
                    <a:pt x="459226" y="989814"/>
                  </a:lnTo>
                  <a:lnTo>
                    <a:pt x="438217" y="975300"/>
                  </a:lnTo>
                  <a:lnTo>
                    <a:pt x="448369" y="964331"/>
                  </a:lnTo>
                  <a:lnTo>
                    <a:pt x="460396" y="927545"/>
                  </a:lnTo>
                  <a:lnTo>
                    <a:pt x="452637" y="910935"/>
                  </a:lnTo>
                  <a:lnTo>
                    <a:pt x="454549" y="896161"/>
                  </a:lnTo>
                  <a:lnTo>
                    <a:pt x="469193" y="875986"/>
                  </a:lnTo>
                  <a:lnTo>
                    <a:pt x="467040" y="867820"/>
                  </a:lnTo>
                  <a:lnTo>
                    <a:pt x="451709" y="867709"/>
                  </a:lnTo>
                  <a:lnTo>
                    <a:pt x="439775" y="856851"/>
                  </a:lnTo>
                  <a:lnTo>
                    <a:pt x="495065" y="814034"/>
                  </a:lnTo>
                  <a:lnTo>
                    <a:pt x="486361" y="796718"/>
                  </a:lnTo>
                  <a:lnTo>
                    <a:pt x="465555" y="788960"/>
                  </a:lnTo>
                  <a:lnTo>
                    <a:pt x="455403" y="762512"/>
                  </a:lnTo>
                  <a:lnTo>
                    <a:pt x="442597" y="756907"/>
                  </a:lnTo>
                  <a:lnTo>
                    <a:pt x="421420" y="762827"/>
                  </a:lnTo>
                  <a:lnTo>
                    <a:pt x="416780" y="792467"/>
                  </a:lnTo>
                  <a:lnTo>
                    <a:pt x="396661" y="805032"/>
                  </a:lnTo>
                  <a:lnTo>
                    <a:pt x="393060" y="825151"/>
                  </a:lnTo>
                  <a:lnTo>
                    <a:pt x="399352" y="832668"/>
                  </a:lnTo>
                  <a:lnTo>
                    <a:pt x="371401" y="876228"/>
                  </a:lnTo>
                  <a:lnTo>
                    <a:pt x="351728" y="902323"/>
                  </a:lnTo>
                  <a:lnTo>
                    <a:pt x="347106" y="894546"/>
                  </a:lnTo>
                  <a:lnTo>
                    <a:pt x="318914" y="877768"/>
                  </a:lnTo>
                  <a:lnTo>
                    <a:pt x="302340" y="896569"/>
                  </a:lnTo>
                  <a:lnTo>
                    <a:pt x="280421" y="908559"/>
                  </a:lnTo>
                  <a:lnTo>
                    <a:pt x="268913" y="895084"/>
                  </a:lnTo>
                  <a:lnTo>
                    <a:pt x="267670" y="876562"/>
                  </a:lnTo>
                  <a:lnTo>
                    <a:pt x="276486" y="862419"/>
                  </a:lnTo>
                  <a:lnTo>
                    <a:pt x="262659" y="845047"/>
                  </a:lnTo>
                  <a:lnTo>
                    <a:pt x="269341" y="801469"/>
                  </a:lnTo>
                  <a:lnTo>
                    <a:pt x="263605" y="792171"/>
                  </a:lnTo>
                  <a:lnTo>
                    <a:pt x="271716" y="778975"/>
                  </a:lnTo>
                  <a:lnTo>
                    <a:pt x="262770" y="754884"/>
                  </a:lnTo>
                  <a:lnTo>
                    <a:pt x="240053" y="745753"/>
                  </a:lnTo>
                  <a:lnTo>
                    <a:pt x="229901" y="756721"/>
                  </a:lnTo>
                  <a:lnTo>
                    <a:pt x="222700" y="775727"/>
                  </a:lnTo>
                  <a:lnTo>
                    <a:pt x="201244" y="801246"/>
                  </a:lnTo>
                  <a:lnTo>
                    <a:pt x="192391" y="804364"/>
                  </a:lnTo>
                  <a:lnTo>
                    <a:pt x="178360" y="796384"/>
                  </a:lnTo>
                  <a:lnTo>
                    <a:pt x="155030" y="756721"/>
                  </a:lnTo>
                  <a:lnTo>
                    <a:pt x="167298" y="742876"/>
                  </a:lnTo>
                  <a:lnTo>
                    <a:pt x="148961" y="718562"/>
                  </a:lnTo>
                  <a:lnTo>
                    <a:pt x="107907" y="722553"/>
                  </a:lnTo>
                  <a:lnTo>
                    <a:pt x="118282" y="702193"/>
                  </a:lnTo>
                  <a:lnTo>
                    <a:pt x="105550" y="686361"/>
                  </a:lnTo>
                  <a:lnTo>
                    <a:pt x="107072" y="669101"/>
                  </a:lnTo>
                  <a:lnTo>
                    <a:pt x="90201" y="670084"/>
                  </a:lnTo>
                  <a:lnTo>
                    <a:pt x="63864" y="664925"/>
                  </a:lnTo>
                  <a:lnTo>
                    <a:pt x="88271" y="652545"/>
                  </a:lnTo>
                  <a:lnTo>
                    <a:pt x="78991" y="637011"/>
                  </a:lnTo>
                  <a:lnTo>
                    <a:pt x="63029" y="627638"/>
                  </a:lnTo>
                  <a:lnTo>
                    <a:pt x="65553" y="605979"/>
                  </a:lnTo>
                  <a:lnTo>
                    <a:pt x="51559" y="592894"/>
                  </a:lnTo>
                  <a:lnTo>
                    <a:pt x="57405" y="586862"/>
                  </a:lnTo>
                  <a:lnTo>
                    <a:pt x="45193" y="574353"/>
                  </a:lnTo>
                  <a:lnTo>
                    <a:pt x="50242" y="547181"/>
                  </a:lnTo>
                  <a:lnTo>
                    <a:pt x="66685" y="527564"/>
                  </a:lnTo>
                  <a:lnTo>
                    <a:pt x="85412" y="516929"/>
                  </a:lnTo>
                  <a:lnTo>
                    <a:pt x="103954" y="494416"/>
                  </a:lnTo>
                  <a:lnTo>
                    <a:pt x="92484" y="475838"/>
                  </a:lnTo>
                  <a:lnTo>
                    <a:pt x="92762" y="456220"/>
                  </a:lnTo>
                  <a:lnTo>
                    <a:pt x="104807" y="451766"/>
                  </a:lnTo>
                  <a:lnTo>
                    <a:pt x="126244" y="431331"/>
                  </a:lnTo>
                  <a:lnTo>
                    <a:pt x="130940" y="412734"/>
                  </a:lnTo>
                  <a:lnTo>
                    <a:pt x="122291" y="385192"/>
                  </a:lnTo>
                  <a:lnTo>
                    <a:pt x="137510" y="363217"/>
                  </a:lnTo>
                  <a:lnTo>
                    <a:pt x="103954" y="344731"/>
                  </a:lnTo>
                  <a:lnTo>
                    <a:pt x="78452" y="318172"/>
                  </a:lnTo>
                  <a:lnTo>
                    <a:pt x="61470" y="318339"/>
                  </a:lnTo>
                  <a:lnTo>
                    <a:pt x="52190" y="302805"/>
                  </a:lnTo>
                  <a:lnTo>
                    <a:pt x="52580" y="289126"/>
                  </a:lnTo>
                  <a:lnTo>
                    <a:pt x="43783" y="282018"/>
                  </a:lnTo>
                  <a:lnTo>
                    <a:pt x="51355" y="249352"/>
                  </a:lnTo>
                  <a:lnTo>
                    <a:pt x="27858" y="213978"/>
                  </a:lnTo>
                  <a:lnTo>
                    <a:pt x="27673" y="202099"/>
                  </a:lnTo>
                  <a:lnTo>
                    <a:pt x="8296" y="187326"/>
                  </a:lnTo>
                  <a:lnTo>
                    <a:pt x="2784" y="168642"/>
                  </a:lnTo>
                  <a:lnTo>
                    <a:pt x="22643" y="154427"/>
                  </a:lnTo>
                  <a:lnTo>
                    <a:pt x="60375" y="150975"/>
                  </a:lnTo>
                  <a:lnTo>
                    <a:pt x="60450" y="140757"/>
                  </a:lnTo>
                  <a:lnTo>
                    <a:pt x="81181" y="137457"/>
                  </a:lnTo>
                  <a:lnTo>
                    <a:pt x="88642" y="120115"/>
                  </a:lnTo>
                  <a:lnTo>
                    <a:pt x="77970" y="106505"/>
                  </a:lnTo>
                  <a:lnTo>
                    <a:pt x="100520" y="82508"/>
                  </a:lnTo>
                  <a:lnTo>
                    <a:pt x="115368" y="90349"/>
                  </a:lnTo>
                  <a:lnTo>
                    <a:pt x="122476" y="81565"/>
                  </a:lnTo>
                  <a:lnTo>
                    <a:pt x="110264" y="52892"/>
                  </a:lnTo>
                  <a:lnTo>
                    <a:pt x="128249" y="32175"/>
                  </a:lnTo>
                  <a:lnTo>
                    <a:pt x="126003" y="18073"/>
                  </a:lnTo>
                  <a:lnTo>
                    <a:pt x="143764" y="6745"/>
                  </a:lnTo>
                  <a:lnTo>
                    <a:pt x="168654" y="2784"/>
                  </a:lnTo>
                  <a:lnTo>
                    <a:pt x="207796" y="13565"/>
                  </a:lnTo>
                  <a:lnTo>
                    <a:pt x="216241" y="29230"/>
                  </a:lnTo>
                  <a:lnTo>
                    <a:pt x="230977" y="36242"/>
                  </a:lnTo>
                  <a:lnTo>
                    <a:pt x="224129" y="46685"/>
                  </a:lnTo>
                  <a:lnTo>
                    <a:pt x="227247" y="71700"/>
                  </a:lnTo>
                  <a:lnTo>
                    <a:pt x="241408" y="80503"/>
                  </a:lnTo>
                  <a:lnTo>
                    <a:pt x="255384" y="77430"/>
                  </a:lnTo>
                  <a:lnTo>
                    <a:pt x="260116" y="53716"/>
                  </a:lnTo>
                  <a:lnTo>
                    <a:pt x="292614" y="49397"/>
                  </a:lnTo>
                  <a:lnTo>
                    <a:pt x="301820" y="37728"/>
                  </a:lnTo>
                  <a:lnTo>
                    <a:pt x="331664" y="54239"/>
                  </a:lnTo>
                  <a:lnTo>
                    <a:pt x="331330" y="6279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216">
              <a:extLst>
                <a:ext uri="{FF2B5EF4-FFF2-40B4-BE49-F238E27FC236}">
                  <a16:creationId xmlns:a16="http://schemas.microsoft.com/office/drawing/2014/main" id="{A94E8FF0-237F-4336-8B27-EBDB9E336D4B}"/>
                </a:ext>
              </a:extLst>
            </p:cNvPr>
            <p:cNvSpPr/>
            <p:nvPr/>
          </p:nvSpPr>
          <p:spPr>
            <a:xfrm>
              <a:off x="6041525" y="4205396"/>
              <a:ext cx="811065" cy="885302"/>
            </a:xfrm>
            <a:custGeom>
              <a:avLst/>
              <a:gdLst>
                <a:gd name="connsiteX0" fmla="*/ 714795 w 811065"/>
                <a:gd name="connsiteY0" fmla="*/ 397881 h 885301"/>
                <a:gd name="connsiteX1" fmla="*/ 739035 w 811065"/>
                <a:gd name="connsiteY1" fmla="*/ 443352 h 885301"/>
                <a:gd name="connsiteX2" fmla="*/ 748704 w 811065"/>
                <a:gd name="connsiteY2" fmla="*/ 482643 h 885301"/>
                <a:gd name="connsiteX3" fmla="*/ 745438 w 811065"/>
                <a:gd name="connsiteY3" fmla="*/ 494206 h 885301"/>
                <a:gd name="connsiteX4" fmla="*/ 733003 w 811065"/>
                <a:gd name="connsiteY4" fmla="*/ 474923 h 885301"/>
                <a:gd name="connsiteX5" fmla="*/ 734172 w 811065"/>
                <a:gd name="connsiteY5" fmla="*/ 466237 h 885301"/>
                <a:gd name="connsiteX6" fmla="*/ 721700 w 811065"/>
                <a:gd name="connsiteY6" fmla="*/ 435910 h 885301"/>
                <a:gd name="connsiteX7" fmla="*/ 725263 w 811065"/>
                <a:gd name="connsiteY7" fmla="*/ 420877 h 885301"/>
                <a:gd name="connsiteX8" fmla="*/ 714795 w 811065"/>
                <a:gd name="connsiteY8" fmla="*/ 397881 h 885301"/>
                <a:gd name="connsiteX9" fmla="*/ 696347 w 811065"/>
                <a:gd name="connsiteY9" fmla="*/ 297922 h 885301"/>
                <a:gd name="connsiteX10" fmla="*/ 708207 w 811065"/>
                <a:gd name="connsiteY10" fmla="*/ 318996 h 885301"/>
                <a:gd name="connsiteX11" fmla="*/ 708262 w 811065"/>
                <a:gd name="connsiteY11" fmla="*/ 330043 h 885301"/>
                <a:gd name="connsiteX12" fmla="*/ 695048 w 811065"/>
                <a:gd name="connsiteY12" fmla="*/ 305784 h 885301"/>
                <a:gd name="connsiteX13" fmla="*/ 696347 w 811065"/>
                <a:gd name="connsiteY13" fmla="*/ 297922 h 885301"/>
                <a:gd name="connsiteX14" fmla="*/ 551617 w 811065"/>
                <a:gd name="connsiteY14" fmla="*/ 126197 h 885301"/>
                <a:gd name="connsiteX15" fmla="*/ 565537 w 811065"/>
                <a:gd name="connsiteY15" fmla="*/ 112077 h 885301"/>
                <a:gd name="connsiteX16" fmla="*/ 566020 w 811065"/>
                <a:gd name="connsiteY16" fmla="*/ 104349 h 885301"/>
                <a:gd name="connsiteX17" fmla="*/ 587345 w 811065"/>
                <a:gd name="connsiteY17" fmla="*/ 115414 h 885301"/>
                <a:gd name="connsiteX18" fmla="*/ 594268 w 811065"/>
                <a:gd name="connsiteY18" fmla="*/ 132172 h 885301"/>
                <a:gd name="connsiteX19" fmla="*/ 565667 w 811065"/>
                <a:gd name="connsiteY19" fmla="*/ 112907 h 885301"/>
                <a:gd name="connsiteX20" fmla="*/ 551617 w 811065"/>
                <a:gd name="connsiteY20" fmla="*/ 126197 h 885301"/>
                <a:gd name="connsiteX21" fmla="*/ 808616 w 811065"/>
                <a:gd name="connsiteY21" fmla="*/ 746935 h 885301"/>
                <a:gd name="connsiteX22" fmla="*/ 807780 w 811065"/>
                <a:gd name="connsiteY22" fmla="*/ 747083 h 885301"/>
                <a:gd name="connsiteX23" fmla="*/ 808616 w 811065"/>
                <a:gd name="connsiteY23" fmla="*/ 746935 h 885301"/>
                <a:gd name="connsiteX24" fmla="*/ 808616 w 811065"/>
                <a:gd name="connsiteY24" fmla="*/ 746935 h 885301"/>
                <a:gd name="connsiteX25" fmla="*/ 800338 w 811065"/>
                <a:gd name="connsiteY25" fmla="*/ 727002 h 885301"/>
                <a:gd name="connsiteX26" fmla="*/ 797331 w 811065"/>
                <a:gd name="connsiteY26" fmla="*/ 702818 h 885301"/>
                <a:gd name="connsiteX27" fmla="*/ 803549 w 811065"/>
                <a:gd name="connsiteY27" fmla="*/ 683108 h 885301"/>
                <a:gd name="connsiteX28" fmla="*/ 805757 w 811065"/>
                <a:gd name="connsiteY28" fmla="*/ 702317 h 885301"/>
                <a:gd name="connsiteX29" fmla="*/ 801154 w 811065"/>
                <a:gd name="connsiteY29" fmla="*/ 726872 h 885301"/>
                <a:gd name="connsiteX30" fmla="*/ 809877 w 811065"/>
                <a:gd name="connsiteY30" fmla="*/ 744188 h 885301"/>
                <a:gd name="connsiteX31" fmla="*/ 808616 w 811065"/>
                <a:gd name="connsiteY31" fmla="*/ 746935 h 885301"/>
                <a:gd name="connsiteX32" fmla="*/ 505366 w 811065"/>
                <a:gd name="connsiteY32" fmla="*/ 33209 h 885301"/>
                <a:gd name="connsiteX33" fmla="*/ 493135 w 811065"/>
                <a:gd name="connsiteY33" fmla="*/ 41956 h 885301"/>
                <a:gd name="connsiteX34" fmla="*/ 504401 w 811065"/>
                <a:gd name="connsiteY34" fmla="*/ 32511 h 885301"/>
                <a:gd name="connsiteX35" fmla="*/ 498814 w 811065"/>
                <a:gd name="connsiteY35" fmla="*/ 2784 h 885301"/>
                <a:gd name="connsiteX36" fmla="*/ 515630 w 811065"/>
                <a:gd name="connsiteY36" fmla="*/ 6912 h 885301"/>
                <a:gd name="connsiteX37" fmla="*/ 508354 w 811065"/>
                <a:gd name="connsiteY37" fmla="*/ 19974 h 885301"/>
                <a:gd name="connsiteX38" fmla="*/ 535544 w 811065"/>
                <a:gd name="connsiteY38" fmla="*/ 41162 h 885301"/>
                <a:gd name="connsiteX39" fmla="*/ 540648 w 811065"/>
                <a:gd name="connsiteY39" fmla="*/ 78619 h 885301"/>
                <a:gd name="connsiteX40" fmla="*/ 523128 w 811065"/>
                <a:gd name="connsiteY40" fmla="*/ 75453 h 885301"/>
                <a:gd name="connsiteX41" fmla="*/ 521012 w 811065"/>
                <a:gd name="connsiteY41" fmla="*/ 46026 h 885301"/>
                <a:gd name="connsiteX42" fmla="*/ 505366 w 811065"/>
                <a:gd name="connsiteY42" fmla="*/ 33209 h 885301"/>
                <a:gd name="connsiteX43" fmla="*/ 807780 w 811065"/>
                <a:gd name="connsiteY43" fmla="*/ 747083 h 885301"/>
                <a:gd name="connsiteX44" fmla="*/ 803994 w 811065"/>
                <a:gd name="connsiteY44" fmla="*/ 755324 h 885301"/>
                <a:gd name="connsiteX45" fmla="*/ 772387 w 811065"/>
                <a:gd name="connsiteY45" fmla="*/ 770561 h 885301"/>
                <a:gd name="connsiteX46" fmla="*/ 765352 w 811065"/>
                <a:gd name="connsiteY46" fmla="*/ 769132 h 885301"/>
                <a:gd name="connsiteX47" fmla="*/ 758894 w 811065"/>
                <a:gd name="connsiteY47" fmla="*/ 744652 h 885301"/>
                <a:gd name="connsiteX48" fmla="*/ 738719 w 811065"/>
                <a:gd name="connsiteY48" fmla="*/ 708739 h 885301"/>
                <a:gd name="connsiteX49" fmla="*/ 754643 w 811065"/>
                <a:gd name="connsiteY49" fmla="*/ 685799 h 885301"/>
                <a:gd name="connsiteX50" fmla="*/ 755107 w 811065"/>
                <a:gd name="connsiteY50" fmla="*/ 715476 h 885301"/>
                <a:gd name="connsiteX51" fmla="*/ 767338 w 811065"/>
                <a:gd name="connsiteY51" fmla="*/ 744151 h 885301"/>
                <a:gd name="connsiteX52" fmla="*/ 769009 w 811065"/>
                <a:gd name="connsiteY52" fmla="*/ 760038 h 885301"/>
                <a:gd name="connsiteX53" fmla="*/ 780145 w 811065"/>
                <a:gd name="connsiteY53" fmla="*/ 765921 h 885301"/>
                <a:gd name="connsiteX54" fmla="*/ 801229 w 811065"/>
                <a:gd name="connsiteY54" fmla="*/ 754062 h 885301"/>
                <a:gd name="connsiteX55" fmla="*/ 807780 w 811065"/>
                <a:gd name="connsiteY55" fmla="*/ 747083 h 885301"/>
                <a:gd name="connsiteX56" fmla="*/ 752305 w 811065"/>
                <a:gd name="connsiteY56" fmla="*/ 590921 h 885301"/>
                <a:gd name="connsiteX57" fmla="*/ 744603 w 811065"/>
                <a:gd name="connsiteY57" fmla="*/ 606604 h 885301"/>
                <a:gd name="connsiteX58" fmla="*/ 753474 w 811065"/>
                <a:gd name="connsiteY58" fmla="*/ 619652 h 885301"/>
                <a:gd name="connsiteX59" fmla="*/ 765854 w 811065"/>
                <a:gd name="connsiteY59" fmla="*/ 665309 h 885301"/>
                <a:gd name="connsiteX60" fmla="*/ 759469 w 811065"/>
                <a:gd name="connsiteY60" fmla="*/ 668018 h 885301"/>
                <a:gd name="connsiteX61" fmla="*/ 753511 w 811065"/>
                <a:gd name="connsiteY61" fmla="*/ 651964 h 885301"/>
                <a:gd name="connsiteX62" fmla="*/ 740501 w 811065"/>
                <a:gd name="connsiteY62" fmla="*/ 618316 h 885301"/>
                <a:gd name="connsiteX63" fmla="*/ 735193 w 811065"/>
                <a:gd name="connsiteY63" fmla="*/ 590235 h 885301"/>
                <a:gd name="connsiteX64" fmla="*/ 722553 w 811065"/>
                <a:gd name="connsiteY64" fmla="*/ 580342 h 885301"/>
                <a:gd name="connsiteX65" fmla="*/ 737754 w 811065"/>
                <a:gd name="connsiteY65" fmla="*/ 579618 h 885301"/>
                <a:gd name="connsiteX66" fmla="*/ 741447 w 811065"/>
                <a:gd name="connsiteY66" fmla="*/ 565439 h 885301"/>
                <a:gd name="connsiteX67" fmla="*/ 733467 w 811065"/>
                <a:gd name="connsiteY67" fmla="*/ 542035 h 885301"/>
                <a:gd name="connsiteX68" fmla="*/ 736046 w 811065"/>
                <a:gd name="connsiteY68" fmla="*/ 531419 h 885301"/>
                <a:gd name="connsiteX69" fmla="*/ 747349 w 811065"/>
                <a:gd name="connsiteY69" fmla="*/ 533033 h 885301"/>
                <a:gd name="connsiteX70" fmla="*/ 744305 w 811065"/>
                <a:gd name="connsiteY70" fmla="*/ 572640 h 885301"/>
                <a:gd name="connsiteX71" fmla="*/ 752305 w 811065"/>
                <a:gd name="connsiteY71" fmla="*/ 590921 h 885301"/>
                <a:gd name="connsiteX72" fmla="*/ 180717 w 811065"/>
                <a:gd name="connsiteY72" fmla="*/ 618074 h 885301"/>
                <a:gd name="connsiteX73" fmla="*/ 192187 w 811065"/>
                <a:gd name="connsiteY73" fmla="*/ 615383 h 885301"/>
                <a:gd name="connsiteX74" fmla="*/ 231645 w 811065"/>
                <a:gd name="connsiteY74" fmla="*/ 622714 h 885301"/>
                <a:gd name="connsiteX75" fmla="*/ 298610 w 811065"/>
                <a:gd name="connsiteY75" fmla="*/ 642685 h 885301"/>
                <a:gd name="connsiteX76" fmla="*/ 323201 w 811065"/>
                <a:gd name="connsiteY76" fmla="*/ 642165 h 885301"/>
                <a:gd name="connsiteX77" fmla="*/ 360729 w 811065"/>
                <a:gd name="connsiteY77" fmla="*/ 648104 h 885301"/>
                <a:gd name="connsiteX78" fmla="*/ 380440 w 811065"/>
                <a:gd name="connsiteY78" fmla="*/ 654321 h 885301"/>
                <a:gd name="connsiteX79" fmla="*/ 405718 w 811065"/>
                <a:gd name="connsiteY79" fmla="*/ 652855 h 885301"/>
                <a:gd name="connsiteX80" fmla="*/ 372329 w 811065"/>
                <a:gd name="connsiteY80" fmla="*/ 667518 h 885301"/>
                <a:gd name="connsiteX81" fmla="*/ 345844 w 811065"/>
                <a:gd name="connsiteY81" fmla="*/ 698958 h 885301"/>
                <a:gd name="connsiteX82" fmla="*/ 354846 w 811065"/>
                <a:gd name="connsiteY82" fmla="*/ 696675 h 885301"/>
                <a:gd name="connsiteX83" fmla="*/ 354438 w 811065"/>
                <a:gd name="connsiteY83" fmla="*/ 715439 h 885301"/>
                <a:gd name="connsiteX84" fmla="*/ 369378 w 811065"/>
                <a:gd name="connsiteY84" fmla="*/ 729229 h 885301"/>
                <a:gd name="connsiteX85" fmla="*/ 415945 w 811065"/>
                <a:gd name="connsiteY85" fmla="*/ 781345 h 885301"/>
                <a:gd name="connsiteX86" fmla="*/ 432742 w 811065"/>
                <a:gd name="connsiteY86" fmla="*/ 790587 h 885301"/>
                <a:gd name="connsiteX87" fmla="*/ 458410 w 811065"/>
                <a:gd name="connsiteY87" fmla="*/ 791590 h 885301"/>
                <a:gd name="connsiteX88" fmla="*/ 478640 w 811065"/>
                <a:gd name="connsiteY88" fmla="*/ 784982 h 885301"/>
                <a:gd name="connsiteX89" fmla="*/ 517783 w 811065"/>
                <a:gd name="connsiteY89" fmla="*/ 795766 h 885301"/>
                <a:gd name="connsiteX90" fmla="*/ 523035 w 811065"/>
                <a:gd name="connsiteY90" fmla="*/ 775368 h 885301"/>
                <a:gd name="connsiteX91" fmla="*/ 551562 w 811065"/>
                <a:gd name="connsiteY91" fmla="*/ 783590 h 885301"/>
                <a:gd name="connsiteX92" fmla="*/ 560712 w 811065"/>
                <a:gd name="connsiteY92" fmla="*/ 798290 h 885301"/>
                <a:gd name="connsiteX93" fmla="*/ 541799 w 811065"/>
                <a:gd name="connsiteY93" fmla="*/ 797046 h 885301"/>
                <a:gd name="connsiteX94" fmla="*/ 534672 w 811065"/>
                <a:gd name="connsiteY94" fmla="*/ 789678 h 885301"/>
                <a:gd name="connsiteX95" fmla="*/ 514572 w 811065"/>
                <a:gd name="connsiteY95" fmla="*/ 818390 h 885301"/>
                <a:gd name="connsiteX96" fmla="*/ 503399 w 811065"/>
                <a:gd name="connsiteY96" fmla="*/ 817611 h 885301"/>
                <a:gd name="connsiteX97" fmla="*/ 502712 w 811065"/>
                <a:gd name="connsiteY97" fmla="*/ 834723 h 885301"/>
                <a:gd name="connsiteX98" fmla="*/ 539535 w 811065"/>
                <a:gd name="connsiteY98" fmla="*/ 879043 h 885301"/>
                <a:gd name="connsiteX99" fmla="*/ 526525 w 811065"/>
                <a:gd name="connsiteY99" fmla="*/ 882811 h 885301"/>
                <a:gd name="connsiteX100" fmla="*/ 486713 w 811065"/>
                <a:gd name="connsiteY100" fmla="*/ 867889 h 885301"/>
                <a:gd name="connsiteX101" fmla="*/ 464405 w 811065"/>
                <a:gd name="connsiteY101" fmla="*/ 839975 h 885301"/>
                <a:gd name="connsiteX102" fmla="*/ 426264 w 811065"/>
                <a:gd name="connsiteY102" fmla="*/ 824775 h 885301"/>
                <a:gd name="connsiteX103" fmla="*/ 409727 w 811065"/>
                <a:gd name="connsiteY103" fmla="*/ 801037 h 885301"/>
                <a:gd name="connsiteX104" fmla="*/ 386045 w 811065"/>
                <a:gd name="connsiteY104" fmla="*/ 791200 h 885301"/>
                <a:gd name="connsiteX105" fmla="*/ 349055 w 811065"/>
                <a:gd name="connsiteY105" fmla="*/ 788583 h 885301"/>
                <a:gd name="connsiteX106" fmla="*/ 346067 w 811065"/>
                <a:gd name="connsiteY106" fmla="*/ 780546 h 885301"/>
                <a:gd name="connsiteX107" fmla="*/ 298294 w 811065"/>
                <a:gd name="connsiteY107" fmla="*/ 742239 h 885301"/>
                <a:gd name="connsiteX108" fmla="*/ 255384 w 811065"/>
                <a:gd name="connsiteY108" fmla="*/ 718445 h 885301"/>
                <a:gd name="connsiteX109" fmla="*/ 240740 w 811065"/>
                <a:gd name="connsiteY109" fmla="*/ 717369 h 885301"/>
                <a:gd name="connsiteX110" fmla="*/ 219322 w 811065"/>
                <a:gd name="connsiteY110" fmla="*/ 700368 h 885301"/>
                <a:gd name="connsiteX111" fmla="*/ 210450 w 811065"/>
                <a:gd name="connsiteY111" fmla="*/ 687321 h 885301"/>
                <a:gd name="connsiteX112" fmla="*/ 180643 w 811065"/>
                <a:gd name="connsiteY112" fmla="*/ 681864 h 885301"/>
                <a:gd name="connsiteX113" fmla="*/ 152135 w 811065"/>
                <a:gd name="connsiteY113" fmla="*/ 689789 h 885301"/>
                <a:gd name="connsiteX114" fmla="*/ 110320 w 811065"/>
                <a:gd name="connsiteY114" fmla="*/ 667536 h 885301"/>
                <a:gd name="connsiteX115" fmla="*/ 101875 w 811065"/>
                <a:gd name="connsiteY115" fmla="*/ 651872 h 885301"/>
                <a:gd name="connsiteX116" fmla="*/ 75910 w 811065"/>
                <a:gd name="connsiteY116" fmla="*/ 633033 h 885301"/>
                <a:gd name="connsiteX117" fmla="*/ 48590 w 811065"/>
                <a:gd name="connsiteY117" fmla="*/ 627187 h 885301"/>
                <a:gd name="connsiteX118" fmla="*/ 49481 w 811065"/>
                <a:gd name="connsiteY118" fmla="*/ 600684 h 885301"/>
                <a:gd name="connsiteX119" fmla="*/ 61897 w 811065"/>
                <a:gd name="connsiteY119" fmla="*/ 603802 h 885301"/>
                <a:gd name="connsiteX120" fmla="*/ 58334 w 811065"/>
                <a:gd name="connsiteY120" fmla="*/ 581400 h 885301"/>
                <a:gd name="connsiteX121" fmla="*/ 46975 w 811065"/>
                <a:gd name="connsiteY121" fmla="*/ 584908 h 885301"/>
                <a:gd name="connsiteX122" fmla="*/ 51504 w 811065"/>
                <a:gd name="connsiteY122" fmla="*/ 570580 h 885301"/>
                <a:gd name="connsiteX123" fmla="*/ 32888 w 811065"/>
                <a:gd name="connsiteY123" fmla="*/ 565903 h 885301"/>
                <a:gd name="connsiteX124" fmla="*/ 3731 w 811065"/>
                <a:gd name="connsiteY124" fmla="*/ 569689 h 885301"/>
                <a:gd name="connsiteX125" fmla="*/ 6552 w 811065"/>
                <a:gd name="connsiteY125" fmla="*/ 560725 h 885301"/>
                <a:gd name="connsiteX126" fmla="*/ 2784 w 811065"/>
                <a:gd name="connsiteY126" fmla="*/ 547733 h 885301"/>
                <a:gd name="connsiteX127" fmla="*/ 27246 w 811065"/>
                <a:gd name="connsiteY127" fmla="*/ 546378 h 885301"/>
                <a:gd name="connsiteX128" fmla="*/ 46047 w 811065"/>
                <a:gd name="connsiteY128" fmla="*/ 562952 h 885301"/>
                <a:gd name="connsiteX129" fmla="*/ 64681 w 811065"/>
                <a:gd name="connsiteY129" fmla="*/ 562543 h 885301"/>
                <a:gd name="connsiteX130" fmla="*/ 99592 w 811065"/>
                <a:gd name="connsiteY130" fmla="*/ 568037 h 885301"/>
                <a:gd name="connsiteX131" fmla="*/ 129882 w 811065"/>
                <a:gd name="connsiteY131" fmla="*/ 581938 h 885301"/>
                <a:gd name="connsiteX132" fmla="*/ 151820 w 811065"/>
                <a:gd name="connsiteY132" fmla="*/ 602261 h 885301"/>
                <a:gd name="connsiteX133" fmla="*/ 180717 w 811065"/>
                <a:gd name="connsiteY133" fmla="*/ 618074 h 88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811065" h="885301">
                  <a:moveTo>
                    <a:pt x="714795" y="397881"/>
                  </a:moveTo>
                  <a:lnTo>
                    <a:pt x="739035" y="443352"/>
                  </a:lnTo>
                  <a:lnTo>
                    <a:pt x="748704" y="482643"/>
                  </a:lnTo>
                  <a:lnTo>
                    <a:pt x="745438" y="494206"/>
                  </a:lnTo>
                  <a:lnTo>
                    <a:pt x="733003" y="474923"/>
                  </a:lnTo>
                  <a:lnTo>
                    <a:pt x="734172" y="466237"/>
                  </a:lnTo>
                  <a:lnTo>
                    <a:pt x="721700" y="435910"/>
                  </a:lnTo>
                  <a:lnTo>
                    <a:pt x="725263" y="420877"/>
                  </a:lnTo>
                  <a:lnTo>
                    <a:pt x="714795" y="397881"/>
                  </a:lnTo>
                  <a:close/>
                  <a:moveTo>
                    <a:pt x="696347" y="297922"/>
                  </a:moveTo>
                  <a:lnTo>
                    <a:pt x="708207" y="318996"/>
                  </a:lnTo>
                  <a:lnTo>
                    <a:pt x="708262" y="330043"/>
                  </a:lnTo>
                  <a:lnTo>
                    <a:pt x="695048" y="305784"/>
                  </a:lnTo>
                  <a:lnTo>
                    <a:pt x="696347" y="297922"/>
                  </a:lnTo>
                  <a:close/>
                  <a:moveTo>
                    <a:pt x="551617" y="126197"/>
                  </a:moveTo>
                  <a:lnTo>
                    <a:pt x="565537" y="112077"/>
                  </a:lnTo>
                  <a:lnTo>
                    <a:pt x="566020" y="104349"/>
                  </a:lnTo>
                  <a:lnTo>
                    <a:pt x="587345" y="115414"/>
                  </a:lnTo>
                  <a:lnTo>
                    <a:pt x="594268" y="132172"/>
                  </a:lnTo>
                  <a:lnTo>
                    <a:pt x="565667" y="112907"/>
                  </a:lnTo>
                  <a:lnTo>
                    <a:pt x="551617" y="126197"/>
                  </a:lnTo>
                  <a:close/>
                  <a:moveTo>
                    <a:pt x="808616" y="746935"/>
                  </a:moveTo>
                  <a:lnTo>
                    <a:pt x="807780" y="747083"/>
                  </a:lnTo>
                  <a:lnTo>
                    <a:pt x="808616" y="746935"/>
                  </a:lnTo>
                  <a:close/>
                  <a:moveTo>
                    <a:pt x="808616" y="746935"/>
                  </a:moveTo>
                  <a:lnTo>
                    <a:pt x="800338" y="727002"/>
                  </a:lnTo>
                  <a:lnTo>
                    <a:pt x="797331" y="702818"/>
                  </a:lnTo>
                  <a:lnTo>
                    <a:pt x="803549" y="683108"/>
                  </a:lnTo>
                  <a:lnTo>
                    <a:pt x="805757" y="702317"/>
                  </a:lnTo>
                  <a:lnTo>
                    <a:pt x="801154" y="726872"/>
                  </a:lnTo>
                  <a:lnTo>
                    <a:pt x="809877" y="744188"/>
                  </a:lnTo>
                  <a:lnTo>
                    <a:pt x="808616" y="746935"/>
                  </a:lnTo>
                  <a:close/>
                  <a:moveTo>
                    <a:pt x="505366" y="33209"/>
                  </a:moveTo>
                  <a:lnTo>
                    <a:pt x="493135" y="41956"/>
                  </a:lnTo>
                  <a:lnTo>
                    <a:pt x="504401" y="32511"/>
                  </a:lnTo>
                  <a:lnTo>
                    <a:pt x="498814" y="2784"/>
                  </a:lnTo>
                  <a:lnTo>
                    <a:pt x="515630" y="6912"/>
                  </a:lnTo>
                  <a:lnTo>
                    <a:pt x="508354" y="19974"/>
                  </a:lnTo>
                  <a:lnTo>
                    <a:pt x="535544" y="41162"/>
                  </a:lnTo>
                  <a:lnTo>
                    <a:pt x="540648" y="78619"/>
                  </a:lnTo>
                  <a:lnTo>
                    <a:pt x="523128" y="75453"/>
                  </a:lnTo>
                  <a:lnTo>
                    <a:pt x="521012" y="46026"/>
                  </a:lnTo>
                  <a:lnTo>
                    <a:pt x="505366" y="33209"/>
                  </a:lnTo>
                  <a:close/>
                  <a:moveTo>
                    <a:pt x="807780" y="747083"/>
                  </a:moveTo>
                  <a:lnTo>
                    <a:pt x="803994" y="755324"/>
                  </a:lnTo>
                  <a:lnTo>
                    <a:pt x="772387" y="770561"/>
                  </a:lnTo>
                  <a:lnTo>
                    <a:pt x="765352" y="769132"/>
                  </a:lnTo>
                  <a:lnTo>
                    <a:pt x="758894" y="744652"/>
                  </a:lnTo>
                  <a:lnTo>
                    <a:pt x="738719" y="708739"/>
                  </a:lnTo>
                  <a:lnTo>
                    <a:pt x="754643" y="685799"/>
                  </a:lnTo>
                  <a:lnTo>
                    <a:pt x="755107" y="715476"/>
                  </a:lnTo>
                  <a:lnTo>
                    <a:pt x="767338" y="744151"/>
                  </a:lnTo>
                  <a:lnTo>
                    <a:pt x="769009" y="760038"/>
                  </a:lnTo>
                  <a:lnTo>
                    <a:pt x="780145" y="765921"/>
                  </a:lnTo>
                  <a:lnTo>
                    <a:pt x="801229" y="754062"/>
                  </a:lnTo>
                  <a:lnTo>
                    <a:pt x="807780" y="747083"/>
                  </a:lnTo>
                  <a:close/>
                  <a:moveTo>
                    <a:pt x="752305" y="590921"/>
                  </a:moveTo>
                  <a:lnTo>
                    <a:pt x="744603" y="606604"/>
                  </a:lnTo>
                  <a:lnTo>
                    <a:pt x="753474" y="619652"/>
                  </a:lnTo>
                  <a:lnTo>
                    <a:pt x="765854" y="665309"/>
                  </a:lnTo>
                  <a:lnTo>
                    <a:pt x="759469" y="668018"/>
                  </a:lnTo>
                  <a:lnTo>
                    <a:pt x="753511" y="651964"/>
                  </a:lnTo>
                  <a:lnTo>
                    <a:pt x="740501" y="618316"/>
                  </a:lnTo>
                  <a:lnTo>
                    <a:pt x="735193" y="590235"/>
                  </a:lnTo>
                  <a:lnTo>
                    <a:pt x="722553" y="580342"/>
                  </a:lnTo>
                  <a:lnTo>
                    <a:pt x="737754" y="579618"/>
                  </a:lnTo>
                  <a:lnTo>
                    <a:pt x="741447" y="565439"/>
                  </a:lnTo>
                  <a:lnTo>
                    <a:pt x="733467" y="542035"/>
                  </a:lnTo>
                  <a:lnTo>
                    <a:pt x="736046" y="531419"/>
                  </a:lnTo>
                  <a:lnTo>
                    <a:pt x="747349" y="533033"/>
                  </a:lnTo>
                  <a:lnTo>
                    <a:pt x="744305" y="572640"/>
                  </a:lnTo>
                  <a:lnTo>
                    <a:pt x="752305" y="590921"/>
                  </a:lnTo>
                  <a:close/>
                  <a:moveTo>
                    <a:pt x="180717" y="618074"/>
                  </a:moveTo>
                  <a:lnTo>
                    <a:pt x="192187" y="615383"/>
                  </a:lnTo>
                  <a:lnTo>
                    <a:pt x="231645" y="622714"/>
                  </a:lnTo>
                  <a:lnTo>
                    <a:pt x="298610" y="642685"/>
                  </a:lnTo>
                  <a:lnTo>
                    <a:pt x="323201" y="642165"/>
                  </a:lnTo>
                  <a:lnTo>
                    <a:pt x="360729" y="648104"/>
                  </a:lnTo>
                  <a:lnTo>
                    <a:pt x="380440" y="654321"/>
                  </a:lnTo>
                  <a:lnTo>
                    <a:pt x="405718" y="652855"/>
                  </a:lnTo>
                  <a:lnTo>
                    <a:pt x="372329" y="667518"/>
                  </a:lnTo>
                  <a:lnTo>
                    <a:pt x="345844" y="698958"/>
                  </a:lnTo>
                  <a:lnTo>
                    <a:pt x="354846" y="696675"/>
                  </a:lnTo>
                  <a:lnTo>
                    <a:pt x="354438" y="715439"/>
                  </a:lnTo>
                  <a:lnTo>
                    <a:pt x="369378" y="729229"/>
                  </a:lnTo>
                  <a:lnTo>
                    <a:pt x="415945" y="781345"/>
                  </a:lnTo>
                  <a:lnTo>
                    <a:pt x="432742" y="790587"/>
                  </a:lnTo>
                  <a:lnTo>
                    <a:pt x="458410" y="791590"/>
                  </a:lnTo>
                  <a:lnTo>
                    <a:pt x="478640" y="784982"/>
                  </a:lnTo>
                  <a:lnTo>
                    <a:pt x="517783" y="795766"/>
                  </a:lnTo>
                  <a:lnTo>
                    <a:pt x="523035" y="775368"/>
                  </a:lnTo>
                  <a:lnTo>
                    <a:pt x="551562" y="783590"/>
                  </a:lnTo>
                  <a:lnTo>
                    <a:pt x="560712" y="798290"/>
                  </a:lnTo>
                  <a:lnTo>
                    <a:pt x="541799" y="797046"/>
                  </a:lnTo>
                  <a:lnTo>
                    <a:pt x="534672" y="789678"/>
                  </a:lnTo>
                  <a:lnTo>
                    <a:pt x="514572" y="818390"/>
                  </a:lnTo>
                  <a:lnTo>
                    <a:pt x="503399" y="817611"/>
                  </a:lnTo>
                  <a:lnTo>
                    <a:pt x="502712" y="834723"/>
                  </a:lnTo>
                  <a:lnTo>
                    <a:pt x="539535" y="879043"/>
                  </a:lnTo>
                  <a:lnTo>
                    <a:pt x="526525" y="882811"/>
                  </a:lnTo>
                  <a:lnTo>
                    <a:pt x="486713" y="867889"/>
                  </a:lnTo>
                  <a:lnTo>
                    <a:pt x="464405" y="839975"/>
                  </a:lnTo>
                  <a:lnTo>
                    <a:pt x="426264" y="824775"/>
                  </a:lnTo>
                  <a:lnTo>
                    <a:pt x="409727" y="801037"/>
                  </a:lnTo>
                  <a:lnTo>
                    <a:pt x="386045" y="791200"/>
                  </a:lnTo>
                  <a:lnTo>
                    <a:pt x="349055" y="788583"/>
                  </a:lnTo>
                  <a:lnTo>
                    <a:pt x="346067" y="780546"/>
                  </a:lnTo>
                  <a:lnTo>
                    <a:pt x="298294" y="742239"/>
                  </a:lnTo>
                  <a:lnTo>
                    <a:pt x="255384" y="718445"/>
                  </a:lnTo>
                  <a:lnTo>
                    <a:pt x="240740" y="717369"/>
                  </a:lnTo>
                  <a:lnTo>
                    <a:pt x="219322" y="700368"/>
                  </a:lnTo>
                  <a:lnTo>
                    <a:pt x="210450" y="687321"/>
                  </a:lnTo>
                  <a:lnTo>
                    <a:pt x="180643" y="681864"/>
                  </a:lnTo>
                  <a:lnTo>
                    <a:pt x="152135" y="689789"/>
                  </a:lnTo>
                  <a:lnTo>
                    <a:pt x="110320" y="667536"/>
                  </a:lnTo>
                  <a:lnTo>
                    <a:pt x="101875" y="651872"/>
                  </a:lnTo>
                  <a:lnTo>
                    <a:pt x="75910" y="633033"/>
                  </a:lnTo>
                  <a:lnTo>
                    <a:pt x="48590" y="627187"/>
                  </a:lnTo>
                  <a:lnTo>
                    <a:pt x="49481" y="600684"/>
                  </a:lnTo>
                  <a:lnTo>
                    <a:pt x="61897" y="603802"/>
                  </a:lnTo>
                  <a:lnTo>
                    <a:pt x="58334" y="581400"/>
                  </a:lnTo>
                  <a:lnTo>
                    <a:pt x="46975" y="584908"/>
                  </a:lnTo>
                  <a:lnTo>
                    <a:pt x="51504" y="570580"/>
                  </a:lnTo>
                  <a:lnTo>
                    <a:pt x="32888" y="565903"/>
                  </a:lnTo>
                  <a:lnTo>
                    <a:pt x="3731" y="569689"/>
                  </a:lnTo>
                  <a:lnTo>
                    <a:pt x="6552" y="560725"/>
                  </a:lnTo>
                  <a:lnTo>
                    <a:pt x="2784" y="547733"/>
                  </a:lnTo>
                  <a:lnTo>
                    <a:pt x="27246" y="546378"/>
                  </a:lnTo>
                  <a:lnTo>
                    <a:pt x="46047" y="562952"/>
                  </a:lnTo>
                  <a:lnTo>
                    <a:pt x="64681" y="562543"/>
                  </a:lnTo>
                  <a:lnTo>
                    <a:pt x="99592" y="568037"/>
                  </a:lnTo>
                  <a:lnTo>
                    <a:pt x="129882" y="581938"/>
                  </a:lnTo>
                  <a:lnTo>
                    <a:pt x="151820" y="602261"/>
                  </a:lnTo>
                  <a:lnTo>
                    <a:pt x="180717" y="61807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217">
              <a:extLst>
                <a:ext uri="{FF2B5EF4-FFF2-40B4-BE49-F238E27FC236}">
                  <a16:creationId xmlns:a16="http://schemas.microsoft.com/office/drawing/2014/main" id="{B5BC5139-3DB2-4532-9527-7FBE49367A05}"/>
                </a:ext>
              </a:extLst>
            </p:cNvPr>
            <p:cNvSpPr/>
            <p:nvPr/>
          </p:nvSpPr>
          <p:spPr>
            <a:xfrm>
              <a:off x="5554329" y="3310673"/>
              <a:ext cx="991096" cy="885302"/>
            </a:xfrm>
            <a:custGeom>
              <a:avLst/>
              <a:gdLst>
                <a:gd name="connsiteX0" fmla="*/ 737308 w 991095"/>
                <a:gd name="connsiteY0" fmla="*/ 371543 h 885301"/>
                <a:gd name="connsiteX1" fmla="*/ 743359 w 991095"/>
                <a:gd name="connsiteY1" fmla="*/ 356121 h 885301"/>
                <a:gd name="connsiteX2" fmla="*/ 753975 w 991095"/>
                <a:gd name="connsiteY2" fmla="*/ 358684 h 885301"/>
                <a:gd name="connsiteX3" fmla="*/ 778549 w 991095"/>
                <a:gd name="connsiteY3" fmla="*/ 342020 h 885301"/>
                <a:gd name="connsiteX4" fmla="*/ 789592 w 991095"/>
                <a:gd name="connsiteY4" fmla="*/ 341962 h 885301"/>
                <a:gd name="connsiteX5" fmla="*/ 778159 w 991095"/>
                <a:gd name="connsiteY5" fmla="*/ 355687 h 885301"/>
                <a:gd name="connsiteX6" fmla="*/ 748222 w 991095"/>
                <a:gd name="connsiteY6" fmla="*/ 370656 h 885301"/>
                <a:gd name="connsiteX7" fmla="*/ 741503 w 991095"/>
                <a:gd name="connsiteY7" fmla="*/ 381929 h 885301"/>
                <a:gd name="connsiteX8" fmla="*/ 737308 w 991095"/>
                <a:gd name="connsiteY8" fmla="*/ 371543 h 885301"/>
                <a:gd name="connsiteX9" fmla="*/ 445418 w 991095"/>
                <a:gd name="connsiteY9" fmla="*/ 413723 h 885301"/>
                <a:gd name="connsiteX10" fmla="*/ 439683 w 991095"/>
                <a:gd name="connsiteY10" fmla="*/ 404431 h 885301"/>
                <a:gd name="connsiteX11" fmla="*/ 456591 w 991095"/>
                <a:gd name="connsiteY11" fmla="*/ 398341 h 885301"/>
                <a:gd name="connsiteX12" fmla="*/ 468562 w 991095"/>
                <a:gd name="connsiteY12" fmla="*/ 404091 h 885301"/>
                <a:gd name="connsiteX13" fmla="*/ 469100 w 991095"/>
                <a:gd name="connsiteY13" fmla="*/ 423562 h 885301"/>
                <a:gd name="connsiteX14" fmla="*/ 486305 w 991095"/>
                <a:gd name="connsiteY14" fmla="*/ 451443 h 885301"/>
                <a:gd name="connsiteX15" fmla="*/ 463310 w 991095"/>
                <a:gd name="connsiteY15" fmla="*/ 440643 h 885301"/>
                <a:gd name="connsiteX16" fmla="*/ 445418 w 991095"/>
                <a:gd name="connsiteY16" fmla="*/ 413723 h 885301"/>
                <a:gd name="connsiteX17" fmla="*/ 254140 w 991095"/>
                <a:gd name="connsiteY17" fmla="*/ 2784 h 885301"/>
                <a:gd name="connsiteX18" fmla="*/ 252674 w 991095"/>
                <a:gd name="connsiteY18" fmla="*/ 14924 h 885301"/>
                <a:gd name="connsiteX19" fmla="*/ 268190 w 991095"/>
                <a:gd name="connsiteY19" fmla="*/ 26913 h 885301"/>
                <a:gd name="connsiteX20" fmla="*/ 261341 w 991095"/>
                <a:gd name="connsiteY20" fmla="*/ 37357 h 885301"/>
                <a:gd name="connsiteX21" fmla="*/ 276115 w 991095"/>
                <a:gd name="connsiteY21" fmla="*/ 39259 h 885301"/>
                <a:gd name="connsiteX22" fmla="*/ 304883 w 991095"/>
                <a:gd name="connsiteY22" fmla="*/ 70401 h 885301"/>
                <a:gd name="connsiteX23" fmla="*/ 302322 w 991095"/>
                <a:gd name="connsiteY23" fmla="*/ 81013 h 885301"/>
                <a:gd name="connsiteX24" fmla="*/ 330941 w 991095"/>
                <a:gd name="connsiteY24" fmla="*/ 95169 h 885301"/>
                <a:gd name="connsiteX25" fmla="*/ 336193 w 991095"/>
                <a:gd name="connsiteY25" fmla="*/ 112192 h 885301"/>
                <a:gd name="connsiteX26" fmla="*/ 354029 w 991095"/>
                <a:gd name="connsiteY26" fmla="*/ 128062 h 885301"/>
                <a:gd name="connsiteX27" fmla="*/ 358075 w 991095"/>
                <a:gd name="connsiteY27" fmla="*/ 142728 h 885301"/>
                <a:gd name="connsiteX28" fmla="*/ 376208 w 991095"/>
                <a:gd name="connsiteY28" fmla="*/ 155150 h 885301"/>
                <a:gd name="connsiteX29" fmla="*/ 399111 w 991095"/>
                <a:gd name="connsiteY29" fmla="*/ 160013 h 885301"/>
                <a:gd name="connsiteX30" fmla="*/ 391650 w 991095"/>
                <a:gd name="connsiteY30" fmla="*/ 177355 h 885301"/>
                <a:gd name="connsiteX31" fmla="*/ 366019 w 991095"/>
                <a:gd name="connsiteY31" fmla="*/ 187385 h 885301"/>
                <a:gd name="connsiteX32" fmla="*/ 352767 w 991095"/>
                <a:gd name="connsiteY32" fmla="*/ 205654 h 885301"/>
                <a:gd name="connsiteX33" fmla="*/ 350633 w 991095"/>
                <a:gd name="connsiteY33" fmla="*/ 251064 h 885301"/>
                <a:gd name="connsiteX34" fmla="*/ 366056 w 991095"/>
                <a:gd name="connsiteY34" fmla="*/ 294534 h 885301"/>
                <a:gd name="connsiteX35" fmla="*/ 398146 w 991095"/>
                <a:gd name="connsiteY35" fmla="*/ 325145 h 885301"/>
                <a:gd name="connsiteX36" fmla="*/ 401524 w 991095"/>
                <a:gd name="connsiteY36" fmla="*/ 335665 h 885301"/>
                <a:gd name="connsiteX37" fmla="*/ 353157 w 991095"/>
                <a:gd name="connsiteY37" fmla="*/ 320397 h 885301"/>
                <a:gd name="connsiteX38" fmla="*/ 353602 w 991095"/>
                <a:gd name="connsiteY38" fmla="*/ 333933 h 885301"/>
                <a:gd name="connsiteX39" fmla="*/ 367039 w 991095"/>
                <a:gd name="connsiteY39" fmla="*/ 348805 h 885301"/>
                <a:gd name="connsiteX40" fmla="*/ 378584 w 991095"/>
                <a:gd name="connsiteY40" fmla="*/ 373330 h 885301"/>
                <a:gd name="connsiteX41" fmla="*/ 385934 w 991095"/>
                <a:gd name="connsiteY41" fmla="*/ 371312 h 885301"/>
                <a:gd name="connsiteX42" fmla="*/ 399055 w 991095"/>
                <a:gd name="connsiteY42" fmla="*/ 389635 h 885301"/>
                <a:gd name="connsiteX43" fmla="*/ 373424 w 991095"/>
                <a:gd name="connsiteY43" fmla="*/ 399664 h 885301"/>
                <a:gd name="connsiteX44" fmla="*/ 383391 w 991095"/>
                <a:gd name="connsiteY44" fmla="*/ 414236 h 885301"/>
                <a:gd name="connsiteX45" fmla="*/ 373981 w 991095"/>
                <a:gd name="connsiteY45" fmla="*/ 435292 h 885301"/>
                <a:gd name="connsiteX46" fmla="*/ 385599 w 991095"/>
                <a:gd name="connsiteY46" fmla="*/ 433445 h 885301"/>
                <a:gd name="connsiteX47" fmla="*/ 390332 w 991095"/>
                <a:gd name="connsiteY47" fmla="*/ 447148 h 885301"/>
                <a:gd name="connsiteX48" fmla="*/ 404141 w 991095"/>
                <a:gd name="connsiteY48" fmla="*/ 448354 h 885301"/>
                <a:gd name="connsiteX49" fmla="*/ 411787 w 991095"/>
                <a:gd name="connsiteY49" fmla="*/ 459043 h 885301"/>
                <a:gd name="connsiteX50" fmla="*/ 429920 w 991095"/>
                <a:gd name="connsiteY50" fmla="*/ 455309 h 885301"/>
                <a:gd name="connsiteX51" fmla="*/ 429716 w 991095"/>
                <a:gd name="connsiteY51" fmla="*/ 464698 h 885301"/>
                <a:gd name="connsiteX52" fmla="*/ 445084 w 991095"/>
                <a:gd name="connsiteY52" fmla="*/ 459702 h 885301"/>
                <a:gd name="connsiteX53" fmla="*/ 471847 w 991095"/>
                <a:gd name="connsiteY53" fmla="*/ 499663 h 885301"/>
                <a:gd name="connsiteX54" fmla="*/ 511454 w 991095"/>
                <a:gd name="connsiteY54" fmla="*/ 523980 h 885301"/>
                <a:gd name="connsiteX55" fmla="*/ 523462 w 991095"/>
                <a:gd name="connsiteY55" fmla="*/ 524620 h 885301"/>
                <a:gd name="connsiteX56" fmla="*/ 539906 w 991095"/>
                <a:gd name="connsiteY56" fmla="*/ 504995 h 885301"/>
                <a:gd name="connsiteX57" fmla="*/ 525485 w 991095"/>
                <a:gd name="connsiteY57" fmla="*/ 494533 h 885301"/>
                <a:gd name="connsiteX58" fmla="*/ 548035 w 991095"/>
                <a:gd name="connsiteY58" fmla="*/ 470535 h 885301"/>
                <a:gd name="connsiteX59" fmla="*/ 565482 w 991095"/>
                <a:gd name="connsiteY59" fmla="*/ 483919 h 885301"/>
                <a:gd name="connsiteX60" fmla="*/ 569806 w 991095"/>
                <a:gd name="connsiteY60" fmla="*/ 495136 h 885301"/>
                <a:gd name="connsiteX61" fmla="*/ 615463 w 991095"/>
                <a:gd name="connsiteY61" fmla="*/ 504030 h 885301"/>
                <a:gd name="connsiteX62" fmla="*/ 620029 w 991095"/>
                <a:gd name="connsiteY62" fmla="*/ 484596 h 885301"/>
                <a:gd name="connsiteX63" fmla="*/ 663273 w 991095"/>
                <a:gd name="connsiteY63" fmla="*/ 483670 h 885301"/>
                <a:gd name="connsiteX64" fmla="*/ 674465 w 991095"/>
                <a:gd name="connsiteY64" fmla="*/ 500598 h 885301"/>
                <a:gd name="connsiteX65" fmla="*/ 655701 w 991095"/>
                <a:gd name="connsiteY65" fmla="*/ 516339 h 885301"/>
                <a:gd name="connsiteX66" fmla="*/ 641577 w 991095"/>
                <a:gd name="connsiteY66" fmla="*/ 502426 h 885301"/>
                <a:gd name="connsiteX67" fmla="*/ 636269 w 991095"/>
                <a:gd name="connsiteY67" fmla="*/ 511777 h 885301"/>
                <a:gd name="connsiteX68" fmla="*/ 642783 w 991095"/>
                <a:gd name="connsiteY68" fmla="*/ 526047 h 885301"/>
                <a:gd name="connsiteX69" fmla="*/ 651822 w 991095"/>
                <a:gd name="connsiteY69" fmla="*/ 518657 h 885301"/>
                <a:gd name="connsiteX70" fmla="*/ 658689 w 991095"/>
                <a:gd name="connsiteY70" fmla="*/ 540524 h 885301"/>
                <a:gd name="connsiteX71" fmla="*/ 694584 w 991095"/>
                <a:gd name="connsiteY71" fmla="*/ 562879 h 885301"/>
                <a:gd name="connsiteX72" fmla="*/ 712234 w 991095"/>
                <a:gd name="connsiteY72" fmla="*/ 566875 h 885301"/>
                <a:gd name="connsiteX73" fmla="*/ 734896 w 991095"/>
                <a:gd name="connsiteY73" fmla="*/ 564971 h 885301"/>
                <a:gd name="connsiteX74" fmla="*/ 753622 w 991095"/>
                <a:gd name="connsiteY74" fmla="*/ 554338 h 885301"/>
                <a:gd name="connsiteX75" fmla="*/ 776229 w 991095"/>
                <a:gd name="connsiteY75" fmla="*/ 578805 h 885301"/>
                <a:gd name="connsiteX76" fmla="*/ 774280 w 991095"/>
                <a:gd name="connsiteY76" fmla="*/ 598674 h 885301"/>
                <a:gd name="connsiteX77" fmla="*/ 765129 w 991095"/>
                <a:gd name="connsiteY77" fmla="*/ 605235 h 885301"/>
                <a:gd name="connsiteX78" fmla="*/ 765668 w 991095"/>
                <a:gd name="connsiteY78" fmla="*/ 624707 h 885301"/>
                <a:gd name="connsiteX79" fmla="*/ 786102 w 991095"/>
                <a:gd name="connsiteY79" fmla="*/ 662276 h 885301"/>
                <a:gd name="connsiteX80" fmla="*/ 799707 w 991095"/>
                <a:gd name="connsiteY80" fmla="*/ 672870 h 885301"/>
                <a:gd name="connsiteX81" fmla="*/ 830980 w 991095"/>
                <a:gd name="connsiteY81" fmla="*/ 682350 h 885301"/>
                <a:gd name="connsiteX82" fmla="*/ 865965 w 991095"/>
                <a:gd name="connsiteY82" fmla="*/ 677636 h 885301"/>
                <a:gd name="connsiteX83" fmla="*/ 850208 w 991095"/>
                <a:gd name="connsiteY83" fmla="*/ 696298 h 885301"/>
                <a:gd name="connsiteX84" fmla="*/ 856314 w 991095"/>
                <a:gd name="connsiteY84" fmla="*/ 729344 h 885301"/>
                <a:gd name="connsiteX85" fmla="*/ 865557 w 991095"/>
                <a:gd name="connsiteY85" fmla="*/ 749986 h 885301"/>
                <a:gd name="connsiteX86" fmla="*/ 896106 w 991095"/>
                <a:gd name="connsiteY86" fmla="*/ 765535 h 885301"/>
                <a:gd name="connsiteX87" fmla="*/ 902213 w 991095"/>
                <a:gd name="connsiteY87" fmla="*/ 761163 h 885301"/>
                <a:gd name="connsiteX88" fmla="*/ 929403 w 991095"/>
                <a:gd name="connsiteY88" fmla="*/ 782349 h 885301"/>
                <a:gd name="connsiteX89" fmla="*/ 954421 w 991095"/>
                <a:gd name="connsiteY89" fmla="*/ 816638 h 885301"/>
                <a:gd name="connsiteX90" fmla="*/ 988479 w 991095"/>
                <a:gd name="connsiteY90" fmla="*/ 880955 h 885301"/>
                <a:gd name="connsiteX91" fmla="*/ 966281 w 991095"/>
                <a:gd name="connsiteY91" fmla="*/ 875131 h 885301"/>
                <a:gd name="connsiteX92" fmla="*/ 957261 w 991095"/>
                <a:gd name="connsiteY92" fmla="*/ 882521 h 885301"/>
                <a:gd name="connsiteX93" fmla="*/ 889796 w 991095"/>
                <a:gd name="connsiteY93" fmla="*/ 870290 h 885301"/>
                <a:gd name="connsiteX94" fmla="*/ 833152 w 991095"/>
                <a:gd name="connsiteY94" fmla="*/ 872497 h 885301"/>
                <a:gd name="connsiteX95" fmla="*/ 764443 w 991095"/>
                <a:gd name="connsiteY95" fmla="*/ 863019 h 885301"/>
                <a:gd name="connsiteX96" fmla="*/ 720939 w 991095"/>
                <a:gd name="connsiteY96" fmla="*/ 862286 h 885301"/>
                <a:gd name="connsiteX97" fmla="*/ 656518 w 991095"/>
                <a:gd name="connsiteY97" fmla="*/ 852976 h 885301"/>
                <a:gd name="connsiteX98" fmla="*/ 603770 w 991095"/>
                <a:gd name="connsiteY98" fmla="*/ 831601 h 885301"/>
                <a:gd name="connsiteX99" fmla="*/ 554828 w 991095"/>
                <a:gd name="connsiteY99" fmla="*/ 801970 h 885301"/>
                <a:gd name="connsiteX100" fmla="*/ 541112 w 991095"/>
                <a:gd name="connsiteY100" fmla="*/ 769283 h 885301"/>
                <a:gd name="connsiteX101" fmla="*/ 517374 w 991095"/>
                <a:gd name="connsiteY101" fmla="*/ 748397 h 885301"/>
                <a:gd name="connsiteX102" fmla="*/ 489590 w 991095"/>
                <a:gd name="connsiteY102" fmla="*/ 750264 h 885301"/>
                <a:gd name="connsiteX103" fmla="*/ 485656 w 991095"/>
                <a:gd name="connsiteY103" fmla="*/ 741538 h 885301"/>
                <a:gd name="connsiteX104" fmla="*/ 494379 w 991095"/>
                <a:gd name="connsiteY104" fmla="*/ 721443 h 885301"/>
                <a:gd name="connsiteX105" fmla="*/ 480941 w 991095"/>
                <a:gd name="connsiteY105" fmla="*/ 706569 h 885301"/>
                <a:gd name="connsiteX106" fmla="*/ 486435 w 991095"/>
                <a:gd name="connsiteY106" fmla="*/ 692941 h 885301"/>
                <a:gd name="connsiteX107" fmla="*/ 464405 w 991095"/>
                <a:gd name="connsiteY107" fmla="*/ 645418 h 885301"/>
                <a:gd name="connsiteX108" fmla="*/ 435674 w 991095"/>
                <a:gd name="connsiteY108" fmla="*/ 609169 h 885301"/>
                <a:gd name="connsiteX109" fmla="*/ 417096 w 991095"/>
                <a:gd name="connsiteY109" fmla="*/ 599368 h 885301"/>
                <a:gd name="connsiteX110" fmla="*/ 405236 w 991095"/>
                <a:gd name="connsiteY110" fmla="*/ 578293 h 885301"/>
                <a:gd name="connsiteX111" fmla="*/ 391650 w 991095"/>
                <a:gd name="connsiteY111" fmla="*/ 567699 h 885301"/>
                <a:gd name="connsiteX112" fmla="*/ 389534 w 991095"/>
                <a:gd name="connsiteY112" fmla="*/ 554429 h 885301"/>
                <a:gd name="connsiteX113" fmla="*/ 360098 w 991095"/>
                <a:gd name="connsiteY113" fmla="*/ 519141 h 885301"/>
                <a:gd name="connsiteX114" fmla="*/ 352359 w 991095"/>
                <a:gd name="connsiteY114" fmla="*/ 502515 h 885301"/>
                <a:gd name="connsiteX115" fmla="*/ 336360 w 991095"/>
                <a:gd name="connsiteY115" fmla="*/ 498256 h 885301"/>
                <a:gd name="connsiteX116" fmla="*/ 324055 w 991095"/>
                <a:gd name="connsiteY116" fmla="*/ 463646 h 885301"/>
                <a:gd name="connsiteX117" fmla="*/ 317058 w 991095"/>
                <a:gd name="connsiteY117" fmla="*/ 457105 h 885301"/>
                <a:gd name="connsiteX118" fmla="*/ 308762 w 991095"/>
                <a:gd name="connsiteY118" fmla="*/ 421006 h 885301"/>
                <a:gd name="connsiteX119" fmla="*/ 300948 w 991095"/>
                <a:gd name="connsiteY119" fmla="*/ 430752 h 885301"/>
                <a:gd name="connsiteX120" fmla="*/ 277525 w 991095"/>
                <a:gd name="connsiteY120" fmla="*/ 406416 h 885301"/>
                <a:gd name="connsiteX121" fmla="*/ 271364 w 991095"/>
                <a:gd name="connsiteY121" fmla="*/ 415899 h 885301"/>
                <a:gd name="connsiteX122" fmla="*/ 252266 w 991095"/>
                <a:gd name="connsiteY122" fmla="*/ 402781 h 885301"/>
                <a:gd name="connsiteX123" fmla="*/ 208409 w 991095"/>
                <a:gd name="connsiteY123" fmla="*/ 394449 h 885301"/>
                <a:gd name="connsiteX124" fmla="*/ 196382 w 991095"/>
                <a:gd name="connsiteY124" fmla="*/ 377654 h 885301"/>
                <a:gd name="connsiteX125" fmla="*/ 203342 w 991095"/>
                <a:gd name="connsiteY125" fmla="*/ 351884 h 885301"/>
                <a:gd name="connsiteX126" fmla="*/ 179566 w 991095"/>
                <a:gd name="connsiteY126" fmla="*/ 373527 h 885301"/>
                <a:gd name="connsiteX127" fmla="*/ 185116 w 991095"/>
                <a:gd name="connsiteY127" fmla="*/ 424518 h 885301"/>
                <a:gd name="connsiteX128" fmla="*/ 200057 w 991095"/>
                <a:gd name="connsiteY128" fmla="*/ 422142 h 885301"/>
                <a:gd name="connsiteX129" fmla="*/ 206181 w 991095"/>
                <a:gd name="connsiteY129" fmla="*/ 433924 h 885301"/>
                <a:gd name="connsiteX130" fmla="*/ 219452 w 991095"/>
                <a:gd name="connsiteY130" fmla="*/ 431812 h 885301"/>
                <a:gd name="connsiteX131" fmla="*/ 237343 w 991095"/>
                <a:gd name="connsiteY131" fmla="*/ 442575 h 885301"/>
                <a:gd name="connsiteX132" fmla="*/ 247236 w 991095"/>
                <a:gd name="connsiteY132" fmla="*/ 429945 h 885301"/>
                <a:gd name="connsiteX133" fmla="*/ 260395 w 991095"/>
                <a:gd name="connsiteY133" fmla="*/ 443157 h 885301"/>
                <a:gd name="connsiteX134" fmla="*/ 243635 w 991095"/>
                <a:gd name="connsiteY134" fmla="*/ 450077 h 885301"/>
                <a:gd name="connsiteX135" fmla="*/ 246308 w 991095"/>
                <a:gd name="connsiteY135" fmla="*/ 461558 h 885301"/>
                <a:gd name="connsiteX136" fmla="*/ 224166 w 991095"/>
                <a:gd name="connsiteY136" fmla="*/ 466780 h 885301"/>
                <a:gd name="connsiteX137" fmla="*/ 213197 w 991095"/>
                <a:gd name="connsiteY137" fmla="*/ 456619 h 885301"/>
                <a:gd name="connsiteX138" fmla="*/ 203992 w 991095"/>
                <a:gd name="connsiteY138" fmla="*/ 468289 h 885301"/>
                <a:gd name="connsiteX139" fmla="*/ 199611 w 991095"/>
                <a:gd name="connsiteY139" fmla="*/ 446025 h 885301"/>
                <a:gd name="connsiteX140" fmla="*/ 167856 w 991095"/>
                <a:gd name="connsiteY140" fmla="*/ 444275 h 885301"/>
                <a:gd name="connsiteX141" fmla="*/ 150910 w 991095"/>
                <a:gd name="connsiteY141" fmla="*/ 455472 h 885301"/>
                <a:gd name="connsiteX142" fmla="*/ 138772 w 991095"/>
                <a:gd name="connsiteY142" fmla="*/ 454002 h 885301"/>
                <a:gd name="connsiteX143" fmla="*/ 132555 w 991095"/>
                <a:gd name="connsiteY143" fmla="*/ 436283 h 885301"/>
                <a:gd name="connsiteX144" fmla="*/ 116389 w 991095"/>
                <a:gd name="connsiteY144" fmla="*/ 436303 h 885301"/>
                <a:gd name="connsiteX145" fmla="*/ 99908 w 991095"/>
                <a:gd name="connsiteY145" fmla="*/ 423616 h 885301"/>
                <a:gd name="connsiteX146" fmla="*/ 82183 w 991095"/>
                <a:gd name="connsiteY146" fmla="*/ 429839 h 885301"/>
                <a:gd name="connsiteX147" fmla="*/ 74926 w 991095"/>
                <a:gd name="connsiteY147" fmla="*/ 421637 h 885301"/>
                <a:gd name="connsiteX148" fmla="*/ 59150 w 991095"/>
                <a:gd name="connsiteY148" fmla="*/ 424147 h 885301"/>
                <a:gd name="connsiteX149" fmla="*/ 57870 w 991095"/>
                <a:gd name="connsiteY149" fmla="*/ 410743 h 885301"/>
                <a:gd name="connsiteX150" fmla="*/ 44024 w 991095"/>
                <a:gd name="connsiteY150" fmla="*/ 398492 h 885301"/>
                <a:gd name="connsiteX151" fmla="*/ 30012 w 991095"/>
                <a:gd name="connsiteY151" fmla="*/ 406673 h 885301"/>
                <a:gd name="connsiteX152" fmla="*/ 13716 w 991095"/>
                <a:gd name="connsiteY152" fmla="*/ 405863 h 885301"/>
                <a:gd name="connsiteX153" fmla="*/ 2784 w 991095"/>
                <a:gd name="connsiteY153" fmla="*/ 390594 h 885301"/>
                <a:gd name="connsiteX154" fmla="*/ 6682 w 991095"/>
                <a:gd name="connsiteY154" fmla="*/ 367012 h 885301"/>
                <a:gd name="connsiteX155" fmla="*/ 27450 w 991095"/>
                <a:gd name="connsiteY155" fmla="*/ 342448 h 885301"/>
                <a:gd name="connsiteX156" fmla="*/ 16129 w 991095"/>
                <a:gd name="connsiteY156" fmla="*/ 340847 h 885301"/>
                <a:gd name="connsiteX157" fmla="*/ 24444 w 991095"/>
                <a:gd name="connsiteY157" fmla="*/ 318263 h 885301"/>
                <a:gd name="connsiteX158" fmla="*/ 39959 w 991095"/>
                <a:gd name="connsiteY158" fmla="*/ 314096 h 885301"/>
                <a:gd name="connsiteX159" fmla="*/ 37138 w 991095"/>
                <a:gd name="connsiteY159" fmla="*/ 301786 h 885301"/>
                <a:gd name="connsiteX160" fmla="*/ 44897 w 991095"/>
                <a:gd name="connsiteY160" fmla="*/ 280993 h 885301"/>
                <a:gd name="connsiteX161" fmla="*/ 39069 w 991095"/>
                <a:gd name="connsiteY161" fmla="*/ 265763 h 885301"/>
                <a:gd name="connsiteX162" fmla="*/ 61285 w 991095"/>
                <a:gd name="connsiteY162" fmla="*/ 250323 h 885301"/>
                <a:gd name="connsiteX163" fmla="*/ 64663 w 991095"/>
                <a:gd name="connsiteY163" fmla="*/ 223423 h 885301"/>
                <a:gd name="connsiteX164" fmla="*/ 88104 w 991095"/>
                <a:gd name="connsiteY164" fmla="*/ 210340 h 885301"/>
                <a:gd name="connsiteX165" fmla="*/ 94024 w 991095"/>
                <a:gd name="connsiteY165" fmla="*/ 194089 h 885301"/>
                <a:gd name="connsiteX166" fmla="*/ 117428 w 991095"/>
                <a:gd name="connsiteY166" fmla="*/ 186114 h 885301"/>
                <a:gd name="connsiteX167" fmla="*/ 127265 w 991095"/>
                <a:gd name="connsiteY167" fmla="*/ 199857 h 885301"/>
                <a:gd name="connsiteX168" fmla="*/ 158130 w 991095"/>
                <a:gd name="connsiteY168" fmla="*/ 228113 h 885301"/>
                <a:gd name="connsiteX169" fmla="*/ 168802 w 991095"/>
                <a:gd name="connsiteY169" fmla="*/ 204304 h 885301"/>
                <a:gd name="connsiteX170" fmla="*/ 193579 w 991095"/>
                <a:gd name="connsiteY170" fmla="*/ 178250 h 885301"/>
                <a:gd name="connsiteX171" fmla="*/ 222700 w 991095"/>
                <a:gd name="connsiteY171" fmla="*/ 163413 h 885301"/>
                <a:gd name="connsiteX172" fmla="*/ 225075 w 991095"/>
                <a:gd name="connsiteY172" fmla="*/ 140924 h 885301"/>
                <a:gd name="connsiteX173" fmla="*/ 216055 w 991095"/>
                <a:gd name="connsiteY173" fmla="*/ 127051 h 885301"/>
                <a:gd name="connsiteX174" fmla="*/ 220287 w 991095"/>
                <a:gd name="connsiteY174" fmla="*/ 116173 h 885301"/>
                <a:gd name="connsiteX175" fmla="*/ 208557 w 991095"/>
                <a:gd name="connsiteY175" fmla="*/ 95928 h 885301"/>
                <a:gd name="connsiteX176" fmla="*/ 212919 w 991095"/>
                <a:gd name="connsiteY176" fmla="*/ 85882 h 885301"/>
                <a:gd name="connsiteX177" fmla="*/ 211917 w 991095"/>
                <a:gd name="connsiteY177" fmla="*/ 52873 h 885301"/>
                <a:gd name="connsiteX178" fmla="*/ 201634 w 991095"/>
                <a:gd name="connsiteY178" fmla="*/ 41752 h 885301"/>
                <a:gd name="connsiteX179" fmla="*/ 206645 w 991095"/>
                <a:gd name="connsiteY179" fmla="*/ 19696 h 885301"/>
                <a:gd name="connsiteX180" fmla="*/ 235116 w 991095"/>
                <a:gd name="connsiteY180" fmla="*/ 16867 h 885301"/>
                <a:gd name="connsiteX181" fmla="*/ 242262 w 991095"/>
                <a:gd name="connsiteY181" fmla="*/ 2973 h 885301"/>
                <a:gd name="connsiteX182" fmla="*/ 254140 w 991095"/>
                <a:gd name="connsiteY182" fmla="*/ 2784 h 88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991095" h="885301">
                  <a:moveTo>
                    <a:pt x="737308" y="371543"/>
                  </a:moveTo>
                  <a:lnTo>
                    <a:pt x="743359" y="356121"/>
                  </a:lnTo>
                  <a:lnTo>
                    <a:pt x="753975" y="358684"/>
                  </a:lnTo>
                  <a:lnTo>
                    <a:pt x="778549" y="342020"/>
                  </a:lnTo>
                  <a:lnTo>
                    <a:pt x="789592" y="341962"/>
                  </a:lnTo>
                  <a:lnTo>
                    <a:pt x="778159" y="355687"/>
                  </a:lnTo>
                  <a:lnTo>
                    <a:pt x="748222" y="370656"/>
                  </a:lnTo>
                  <a:lnTo>
                    <a:pt x="741503" y="381929"/>
                  </a:lnTo>
                  <a:lnTo>
                    <a:pt x="737308" y="371543"/>
                  </a:lnTo>
                  <a:close/>
                  <a:moveTo>
                    <a:pt x="445418" y="413723"/>
                  </a:moveTo>
                  <a:lnTo>
                    <a:pt x="439683" y="404431"/>
                  </a:lnTo>
                  <a:lnTo>
                    <a:pt x="456591" y="398341"/>
                  </a:lnTo>
                  <a:lnTo>
                    <a:pt x="468562" y="404091"/>
                  </a:lnTo>
                  <a:lnTo>
                    <a:pt x="469100" y="423562"/>
                  </a:lnTo>
                  <a:lnTo>
                    <a:pt x="486305" y="451443"/>
                  </a:lnTo>
                  <a:lnTo>
                    <a:pt x="463310" y="440643"/>
                  </a:lnTo>
                  <a:lnTo>
                    <a:pt x="445418" y="413723"/>
                  </a:lnTo>
                  <a:close/>
                  <a:moveTo>
                    <a:pt x="254140" y="2784"/>
                  </a:moveTo>
                  <a:lnTo>
                    <a:pt x="252674" y="14924"/>
                  </a:lnTo>
                  <a:lnTo>
                    <a:pt x="268190" y="26913"/>
                  </a:lnTo>
                  <a:lnTo>
                    <a:pt x="261341" y="37357"/>
                  </a:lnTo>
                  <a:lnTo>
                    <a:pt x="276115" y="39259"/>
                  </a:lnTo>
                  <a:lnTo>
                    <a:pt x="304883" y="70401"/>
                  </a:lnTo>
                  <a:lnTo>
                    <a:pt x="302322" y="81013"/>
                  </a:lnTo>
                  <a:lnTo>
                    <a:pt x="330941" y="95169"/>
                  </a:lnTo>
                  <a:lnTo>
                    <a:pt x="336193" y="112192"/>
                  </a:lnTo>
                  <a:lnTo>
                    <a:pt x="354029" y="128062"/>
                  </a:lnTo>
                  <a:lnTo>
                    <a:pt x="358075" y="142728"/>
                  </a:lnTo>
                  <a:lnTo>
                    <a:pt x="376208" y="155150"/>
                  </a:lnTo>
                  <a:lnTo>
                    <a:pt x="399111" y="160013"/>
                  </a:lnTo>
                  <a:lnTo>
                    <a:pt x="391650" y="177355"/>
                  </a:lnTo>
                  <a:lnTo>
                    <a:pt x="366019" y="187385"/>
                  </a:lnTo>
                  <a:lnTo>
                    <a:pt x="352767" y="205654"/>
                  </a:lnTo>
                  <a:lnTo>
                    <a:pt x="350633" y="251064"/>
                  </a:lnTo>
                  <a:lnTo>
                    <a:pt x="366056" y="294534"/>
                  </a:lnTo>
                  <a:lnTo>
                    <a:pt x="398146" y="325145"/>
                  </a:lnTo>
                  <a:lnTo>
                    <a:pt x="401524" y="335665"/>
                  </a:lnTo>
                  <a:lnTo>
                    <a:pt x="353157" y="320397"/>
                  </a:lnTo>
                  <a:lnTo>
                    <a:pt x="353602" y="333933"/>
                  </a:lnTo>
                  <a:lnTo>
                    <a:pt x="367039" y="348805"/>
                  </a:lnTo>
                  <a:lnTo>
                    <a:pt x="378584" y="373330"/>
                  </a:lnTo>
                  <a:lnTo>
                    <a:pt x="385934" y="371312"/>
                  </a:lnTo>
                  <a:lnTo>
                    <a:pt x="399055" y="389635"/>
                  </a:lnTo>
                  <a:lnTo>
                    <a:pt x="373424" y="399664"/>
                  </a:lnTo>
                  <a:lnTo>
                    <a:pt x="383391" y="414236"/>
                  </a:lnTo>
                  <a:lnTo>
                    <a:pt x="373981" y="435292"/>
                  </a:lnTo>
                  <a:lnTo>
                    <a:pt x="385599" y="433445"/>
                  </a:lnTo>
                  <a:lnTo>
                    <a:pt x="390332" y="447148"/>
                  </a:lnTo>
                  <a:lnTo>
                    <a:pt x="404141" y="448354"/>
                  </a:lnTo>
                  <a:lnTo>
                    <a:pt x="411787" y="459043"/>
                  </a:lnTo>
                  <a:lnTo>
                    <a:pt x="429920" y="455309"/>
                  </a:lnTo>
                  <a:lnTo>
                    <a:pt x="429716" y="464698"/>
                  </a:lnTo>
                  <a:lnTo>
                    <a:pt x="445084" y="459702"/>
                  </a:lnTo>
                  <a:lnTo>
                    <a:pt x="471847" y="499663"/>
                  </a:lnTo>
                  <a:lnTo>
                    <a:pt x="511454" y="523980"/>
                  </a:lnTo>
                  <a:lnTo>
                    <a:pt x="523462" y="524620"/>
                  </a:lnTo>
                  <a:lnTo>
                    <a:pt x="539906" y="504995"/>
                  </a:lnTo>
                  <a:lnTo>
                    <a:pt x="525485" y="494533"/>
                  </a:lnTo>
                  <a:lnTo>
                    <a:pt x="548035" y="470535"/>
                  </a:lnTo>
                  <a:lnTo>
                    <a:pt x="565482" y="483919"/>
                  </a:lnTo>
                  <a:lnTo>
                    <a:pt x="569806" y="495136"/>
                  </a:lnTo>
                  <a:lnTo>
                    <a:pt x="615463" y="504030"/>
                  </a:lnTo>
                  <a:lnTo>
                    <a:pt x="620029" y="484596"/>
                  </a:lnTo>
                  <a:lnTo>
                    <a:pt x="663273" y="483670"/>
                  </a:lnTo>
                  <a:lnTo>
                    <a:pt x="674465" y="500598"/>
                  </a:lnTo>
                  <a:lnTo>
                    <a:pt x="655701" y="516339"/>
                  </a:lnTo>
                  <a:lnTo>
                    <a:pt x="641577" y="502426"/>
                  </a:lnTo>
                  <a:lnTo>
                    <a:pt x="636269" y="511777"/>
                  </a:lnTo>
                  <a:lnTo>
                    <a:pt x="642783" y="526047"/>
                  </a:lnTo>
                  <a:lnTo>
                    <a:pt x="651822" y="518657"/>
                  </a:lnTo>
                  <a:lnTo>
                    <a:pt x="658689" y="540524"/>
                  </a:lnTo>
                  <a:lnTo>
                    <a:pt x="694584" y="562879"/>
                  </a:lnTo>
                  <a:lnTo>
                    <a:pt x="712234" y="566875"/>
                  </a:lnTo>
                  <a:lnTo>
                    <a:pt x="734896" y="564971"/>
                  </a:lnTo>
                  <a:lnTo>
                    <a:pt x="753622" y="554338"/>
                  </a:lnTo>
                  <a:lnTo>
                    <a:pt x="776229" y="578805"/>
                  </a:lnTo>
                  <a:lnTo>
                    <a:pt x="774280" y="598674"/>
                  </a:lnTo>
                  <a:lnTo>
                    <a:pt x="765129" y="605235"/>
                  </a:lnTo>
                  <a:lnTo>
                    <a:pt x="765668" y="624707"/>
                  </a:lnTo>
                  <a:lnTo>
                    <a:pt x="786102" y="662276"/>
                  </a:lnTo>
                  <a:lnTo>
                    <a:pt x="799707" y="672870"/>
                  </a:lnTo>
                  <a:lnTo>
                    <a:pt x="830980" y="682350"/>
                  </a:lnTo>
                  <a:lnTo>
                    <a:pt x="865965" y="677636"/>
                  </a:lnTo>
                  <a:lnTo>
                    <a:pt x="850208" y="696298"/>
                  </a:lnTo>
                  <a:lnTo>
                    <a:pt x="856314" y="729344"/>
                  </a:lnTo>
                  <a:lnTo>
                    <a:pt x="865557" y="749986"/>
                  </a:lnTo>
                  <a:lnTo>
                    <a:pt x="896106" y="765535"/>
                  </a:lnTo>
                  <a:lnTo>
                    <a:pt x="902213" y="761163"/>
                  </a:lnTo>
                  <a:lnTo>
                    <a:pt x="929403" y="782349"/>
                  </a:lnTo>
                  <a:lnTo>
                    <a:pt x="954421" y="816638"/>
                  </a:lnTo>
                  <a:lnTo>
                    <a:pt x="988479" y="880955"/>
                  </a:lnTo>
                  <a:lnTo>
                    <a:pt x="966281" y="875131"/>
                  </a:lnTo>
                  <a:lnTo>
                    <a:pt x="957261" y="882521"/>
                  </a:lnTo>
                  <a:lnTo>
                    <a:pt x="889796" y="870290"/>
                  </a:lnTo>
                  <a:lnTo>
                    <a:pt x="833152" y="872497"/>
                  </a:lnTo>
                  <a:lnTo>
                    <a:pt x="764443" y="863019"/>
                  </a:lnTo>
                  <a:lnTo>
                    <a:pt x="720939" y="862286"/>
                  </a:lnTo>
                  <a:lnTo>
                    <a:pt x="656518" y="852976"/>
                  </a:lnTo>
                  <a:lnTo>
                    <a:pt x="603770" y="831601"/>
                  </a:lnTo>
                  <a:lnTo>
                    <a:pt x="554828" y="801970"/>
                  </a:lnTo>
                  <a:lnTo>
                    <a:pt x="541112" y="769283"/>
                  </a:lnTo>
                  <a:lnTo>
                    <a:pt x="517374" y="748397"/>
                  </a:lnTo>
                  <a:lnTo>
                    <a:pt x="489590" y="750264"/>
                  </a:lnTo>
                  <a:lnTo>
                    <a:pt x="485656" y="741538"/>
                  </a:lnTo>
                  <a:lnTo>
                    <a:pt x="494379" y="721443"/>
                  </a:lnTo>
                  <a:lnTo>
                    <a:pt x="480941" y="706569"/>
                  </a:lnTo>
                  <a:lnTo>
                    <a:pt x="486435" y="692941"/>
                  </a:lnTo>
                  <a:lnTo>
                    <a:pt x="464405" y="645418"/>
                  </a:lnTo>
                  <a:lnTo>
                    <a:pt x="435674" y="609169"/>
                  </a:lnTo>
                  <a:lnTo>
                    <a:pt x="417096" y="599368"/>
                  </a:lnTo>
                  <a:lnTo>
                    <a:pt x="405236" y="578293"/>
                  </a:lnTo>
                  <a:lnTo>
                    <a:pt x="391650" y="567699"/>
                  </a:lnTo>
                  <a:lnTo>
                    <a:pt x="389534" y="554429"/>
                  </a:lnTo>
                  <a:lnTo>
                    <a:pt x="360098" y="519141"/>
                  </a:lnTo>
                  <a:lnTo>
                    <a:pt x="352359" y="502515"/>
                  </a:lnTo>
                  <a:lnTo>
                    <a:pt x="336360" y="498256"/>
                  </a:lnTo>
                  <a:lnTo>
                    <a:pt x="324055" y="463646"/>
                  </a:lnTo>
                  <a:lnTo>
                    <a:pt x="317058" y="457105"/>
                  </a:lnTo>
                  <a:lnTo>
                    <a:pt x="308762" y="421006"/>
                  </a:lnTo>
                  <a:lnTo>
                    <a:pt x="300948" y="430752"/>
                  </a:lnTo>
                  <a:lnTo>
                    <a:pt x="277525" y="406416"/>
                  </a:lnTo>
                  <a:lnTo>
                    <a:pt x="271364" y="415899"/>
                  </a:lnTo>
                  <a:lnTo>
                    <a:pt x="252266" y="402781"/>
                  </a:lnTo>
                  <a:lnTo>
                    <a:pt x="208409" y="394449"/>
                  </a:lnTo>
                  <a:lnTo>
                    <a:pt x="196382" y="377654"/>
                  </a:lnTo>
                  <a:lnTo>
                    <a:pt x="203342" y="351884"/>
                  </a:lnTo>
                  <a:lnTo>
                    <a:pt x="179566" y="373527"/>
                  </a:lnTo>
                  <a:lnTo>
                    <a:pt x="185116" y="424518"/>
                  </a:lnTo>
                  <a:lnTo>
                    <a:pt x="200057" y="422142"/>
                  </a:lnTo>
                  <a:lnTo>
                    <a:pt x="206181" y="433924"/>
                  </a:lnTo>
                  <a:lnTo>
                    <a:pt x="219452" y="431812"/>
                  </a:lnTo>
                  <a:lnTo>
                    <a:pt x="237343" y="442575"/>
                  </a:lnTo>
                  <a:lnTo>
                    <a:pt x="247236" y="429945"/>
                  </a:lnTo>
                  <a:lnTo>
                    <a:pt x="260395" y="443157"/>
                  </a:lnTo>
                  <a:lnTo>
                    <a:pt x="243635" y="450077"/>
                  </a:lnTo>
                  <a:lnTo>
                    <a:pt x="246308" y="461558"/>
                  </a:lnTo>
                  <a:lnTo>
                    <a:pt x="224166" y="466780"/>
                  </a:lnTo>
                  <a:lnTo>
                    <a:pt x="213197" y="456619"/>
                  </a:lnTo>
                  <a:lnTo>
                    <a:pt x="203992" y="468289"/>
                  </a:lnTo>
                  <a:lnTo>
                    <a:pt x="199611" y="446025"/>
                  </a:lnTo>
                  <a:lnTo>
                    <a:pt x="167856" y="444275"/>
                  </a:lnTo>
                  <a:lnTo>
                    <a:pt x="150910" y="455472"/>
                  </a:lnTo>
                  <a:lnTo>
                    <a:pt x="138772" y="454002"/>
                  </a:lnTo>
                  <a:lnTo>
                    <a:pt x="132555" y="436283"/>
                  </a:lnTo>
                  <a:lnTo>
                    <a:pt x="116389" y="436303"/>
                  </a:lnTo>
                  <a:lnTo>
                    <a:pt x="99908" y="423616"/>
                  </a:lnTo>
                  <a:lnTo>
                    <a:pt x="82183" y="429839"/>
                  </a:lnTo>
                  <a:lnTo>
                    <a:pt x="74926" y="421637"/>
                  </a:lnTo>
                  <a:lnTo>
                    <a:pt x="59150" y="424147"/>
                  </a:lnTo>
                  <a:lnTo>
                    <a:pt x="57870" y="410743"/>
                  </a:lnTo>
                  <a:lnTo>
                    <a:pt x="44024" y="398492"/>
                  </a:lnTo>
                  <a:lnTo>
                    <a:pt x="30012" y="406673"/>
                  </a:lnTo>
                  <a:lnTo>
                    <a:pt x="13716" y="405863"/>
                  </a:lnTo>
                  <a:lnTo>
                    <a:pt x="2784" y="390594"/>
                  </a:lnTo>
                  <a:lnTo>
                    <a:pt x="6682" y="367012"/>
                  </a:lnTo>
                  <a:lnTo>
                    <a:pt x="27450" y="342448"/>
                  </a:lnTo>
                  <a:lnTo>
                    <a:pt x="16129" y="340847"/>
                  </a:lnTo>
                  <a:lnTo>
                    <a:pt x="24444" y="318263"/>
                  </a:lnTo>
                  <a:lnTo>
                    <a:pt x="39959" y="314096"/>
                  </a:lnTo>
                  <a:lnTo>
                    <a:pt x="37138" y="301786"/>
                  </a:lnTo>
                  <a:lnTo>
                    <a:pt x="44897" y="280993"/>
                  </a:lnTo>
                  <a:lnTo>
                    <a:pt x="39069" y="265763"/>
                  </a:lnTo>
                  <a:lnTo>
                    <a:pt x="61285" y="250323"/>
                  </a:lnTo>
                  <a:lnTo>
                    <a:pt x="64663" y="223423"/>
                  </a:lnTo>
                  <a:lnTo>
                    <a:pt x="88104" y="210340"/>
                  </a:lnTo>
                  <a:lnTo>
                    <a:pt x="94024" y="194089"/>
                  </a:lnTo>
                  <a:lnTo>
                    <a:pt x="117428" y="186114"/>
                  </a:lnTo>
                  <a:lnTo>
                    <a:pt x="127265" y="199857"/>
                  </a:lnTo>
                  <a:lnTo>
                    <a:pt x="158130" y="228113"/>
                  </a:lnTo>
                  <a:lnTo>
                    <a:pt x="168802" y="204304"/>
                  </a:lnTo>
                  <a:lnTo>
                    <a:pt x="193579" y="178250"/>
                  </a:lnTo>
                  <a:lnTo>
                    <a:pt x="222700" y="163413"/>
                  </a:lnTo>
                  <a:lnTo>
                    <a:pt x="225075" y="140924"/>
                  </a:lnTo>
                  <a:lnTo>
                    <a:pt x="216055" y="127051"/>
                  </a:lnTo>
                  <a:lnTo>
                    <a:pt x="220287" y="116173"/>
                  </a:lnTo>
                  <a:lnTo>
                    <a:pt x="208557" y="95928"/>
                  </a:lnTo>
                  <a:lnTo>
                    <a:pt x="212919" y="85882"/>
                  </a:lnTo>
                  <a:lnTo>
                    <a:pt x="211917" y="52873"/>
                  </a:lnTo>
                  <a:lnTo>
                    <a:pt x="201634" y="41752"/>
                  </a:lnTo>
                  <a:lnTo>
                    <a:pt x="206645" y="19696"/>
                  </a:lnTo>
                  <a:lnTo>
                    <a:pt x="235116" y="16867"/>
                  </a:lnTo>
                  <a:lnTo>
                    <a:pt x="242262" y="2973"/>
                  </a:lnTo>
                  <a:lnTo>
                    <a:pt x="254140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218">
              <a:extLst>
                <a:ext uri="{FF2B5EF4-FFF2-40B4-BE49-F238E27FC236}">
                  <a16:creationId xmlns:a16="http://schemas.microsoft.com/office/drawing/2014/main" id="{307907A6-2DE5-4A9D-80DE-E82206DA42C4}"/>
                </a:ext>
              </a:extLst>
            </p:cNvPr>
            <p:cNvSpPr/>
            <p:nvPr/>
          </p:nvSpPr>
          <p:spPr>
            <a:xfrm>
              <a:off x="6025489" y="5320612"/>
              <a:ext cx="178174" cy="222717"/>
            </a:xfrm>
            <a:custGeom>
              <a:avLst/>
              <a:gdLst>
                <a:gd name="connsiteX0" fmla="*/ 4269 w 178174"/>
                <a:gd name="connsiteY0" fmla="*/ 180642 h 222717"/>
                <a:gd name="connsiteX1" fmla="*/ 12157 w 178174"/>
                <a:gd name="connsiteY1" fmla="*/ 160672 h 222717"/>
                <a:gd name="connsiteX2" fmla="*/ 2784 w 178174"/>
                <a:gd name="connsiteY2" fmla="*/ 139198 h 222717"/>
                <a:gd name="connsiteX3" fmla="*/ 10728 w 178174"/>
                <a:gd name="connsiteY3" fmla="*/ 130290 h 222717"/>
                <a:gd name="connsiteX4" fmla="*/ 20267 w 178174"/>
                <a:gd name="connsiteY4" fmla="*/ 110059 h 222717"/>
                <a:gd name="connsiteX5" fmla="*/ 31626 w 178174"/>
                <a:gd name="connsiteY5" fmla="*/ 106552 h 222717"/>
                <a:gd name="connsiteX6" fmla="*/ 21956 w 178174"/>
                <a:gd name="connsiteY6" fmla="*/ 88530 h 222717"/>
                <a:gd name="connsiteX7" fmla="*/ 42001 w 178174"/>
                <a:gd name="connsiteY7" fmla="*/ 86192 h 222717"/>
                <a:gd name="connsiteX8" fmla="*/ 52506 w 178174"/>
                <a:gd name="connsiteY8" fmla="*/ 66667 h 222717"/>
                <a:gd name="connsiteX9" fmla="*/ 60765 w 178174"/>
                <a:gd name="connsiteY9" fmla="*/ 70453 h 222717"/>
                <a:gd name="connsiteX10" fmla="*/ 79213 w 178174"/>
                <a:gd name="connsiteY10" fmla="*/ 58166 h 222717"/>
                <a:gd name="connsiteX11" fmla="*/ 101114 w 178174"/>
                <a:gd name="connsiteY11" fmla="*/ 67428 h 222717"/>
                <a:gd name="connsiteX12" fmla="*/ 120435 w 178174"/>
                <a:gd name="connsiteY12" fmla="*/ 49907 h 222717"/>
                <a:gd name="connsiteX13" fmla="*/ 139422 w 178174"/>
                <a:gd name="connsiteY13" fmla="*/ 40924 h 222717"/>
                <a:gd name="connsiteX14" fmla="*/ 142465 w 178174"/>
                <a:gd name="connsiteY14" fmla="*/ 22587 h 222717"/>
                <a:gd name="connsiteX15" fmla="*/ 155996 w 178174"/>
                <a:gd name="connsiteY15" fmla="*/ 22142 h 222717"/>
                <a:gd name="connsiteX16" fmla="*/ 170788 w 178174"/>
                <a:gd name="connsiteY16" fmla="*/ 2784 h 222717"/>
                <a:gd name="connsiteX17" fmla="*/ 176449 w 178174"/>
                <a:gd name="connsiteY17" fmla="*/ 22290 h 222717"/>
                <a:gd name="connsiteX18" fmla="*/ 162918 w 178174"/>
                <a:gd name="connsiteY18" fmla="*/ 38901 h 222717"/>
                <a:gd name="connsiteX19" fmla="*/ 149110 w 178174"/>
                <a:gd name="connsiteY19" fmla="*/ 75111 h 222717"/>
                <a:gd name="connsiteX20" fmla="*/ 149537 w 178174"/>
                <a:gd name="connsiteY20" fmla="*/ 93745 h 222717"/>
                <a:gd name="connsiteX21" fmla="*/ 135041 w 178174"/>
                <a:gd name="connsiteY21" fmla="*/ 109670 h 222717"/>
                <a:gd name="connsiteX22" fmla="*/ 129752 w 178174"/>
                <a:gd name="connsiteY22" fmla="*/ 135171 h 222717"/>
                <a:gd name="connsiteX23" fmla="*/ 138457 w 178174"/>
                <a:gd name="connsiteY23" fmla="*/ 152487 h 222717"/>
                <a:gd name="connsiteX24" fmla="*/ 107202 w 178174"/>
                <a:gd name="connsiteY24" fmla="*/ 196585 h 222717"/>
                <a:gd name="connsiteX25" fmla="*/ 96678 w 178174"/>
                <a:gd name="connsiteY25" fmla="*/ 199963 h 222717"/>
                <a:gd name="connsiteX26" fmla="*/ 86303 w 178174"/>
                <a:gd name="connsiteY26" fmla="*/ 220323 h 222717"/>
                <a:gd name="connsiteX27" fmla="*/ 52617 w 178174"/>
                <a:gd name="connsiteY27" fmla="*/ 217168 h 222717"/>
                <a:gd name="connsiteX28" fmla="*/ 41853 w 178174"/>
                <a:gd name="connsiteY28" fmla="*/ 197625 h 222717"/>
                <a:gd name="connsiteX29" fmla="*/ 14384 w 178174"/>
                <a:gd name="connsiteY29" fmla="*/ 196047 h 222717"/>
                <a:gd name="connsiteX30" fmla="*/ 4269 w 178174"/>
                <a:gd name="connsiteY30" fmla="*/ 180642 h 22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174" h="222717">
                  <a:moveTo>
                    <a:pt x="4269" y="180642"/>
                  </a:moveTo>
                  <a:lnTo>
                    <a:pt x="12157" y="160672"/>
                  </a:lnTo>
                  <a:lnTo>
                    <a:pt x="2784" y="139198"/>
                  </a:lnTo>
                  <a:lnTo>
                    <a:pt x="10728" y="130290"/>
                  </a:lnTo>
                  <a:lnTo>
                    <a:pt x="20267" y="110059"/>
                  </a:lnTo>
                  <a:lnTo>
                    <a:pt x="31626" y="106552"/>
                  </a:lnTo>
                  <a:lnTo>
                    <a:pt x="21956" y="88530"/>
                  </a:lnTo>
                  <a:lnTo>
                    <a:pt x="42001" y="86192"/>
                  </a:lnTo>
                  <a:lnTo>
                    <a:pt x="52506" y="66667"/>
                  </a:lnTo>
                  <a:lnTo>
                    <a:pt x="60765" y="70453"/>
                  </a:lnTo>
                  <a:lnTo>
                    <a:pt x="79213" y="58166"/>
                  </a:lnTo>
                  <a:lnTo>
                    <a:pt x="101114" y="67428"/>
                  </a:lnTo>
                  <a:lnTo>
                    <a:pt x="120435" y="49907"/>
                  </a:lnTo>
                  <a:lnTo>
                    <a:pt x="139422" y="40924"/>
                  </a:lnTo>
                  <a:lnTo>
                    <a:pt x="142465" y="22587"/>
                  </a:lnTo>
                  <a:lnTo>
                    <a:pt x="155996" y="22142"/>
                  </a:lnTo>
                  <a:lnTo>
                    <a:pt x="170788" y="2784"/>
                  </a:lnTo>
                  <a:lnTo>
                    <a:pt x="176449" y="22290"/>
                  </a:lnTo>
                  <a:lnTo>
                    <a:pt x="162918" y="38901"/>
                  </a:lnTo>
                  <a:lnTo>
                    <a:pt x="149110" y="75111"/>
                  </a:lnTo>
                  <a:lnTo>
                    <a:pt x="149537" y="93745"/>
                  </a:lnTo>
                  <a:lnTo>
                    <a:pt x="135041" y="109670"/>
                  </a:lnTo>
                  <a:lnTo>
                    <a:pt x="129752" y="135171"/>
                  </a:lnTo>
                  <a:lnTo>
                    <a:pt x="138457" y="152487"/>
                  </a:lnTo>
                  <a:lnTo>
                    <a:pt x="107202" y="196585"/>
                  </a:lnTo>
                  <a:lnTo>
                    <a:pt x="96678" y="199963"/>
                  </a:lnTo>
                  <a:lnTo>
                    <a:pt x="86303" y="220323"/>
                  </a:lnTo>
                  <a:lnTo>
                    <a:pt x="52617" y="217168"/>
                  </a:lnTo>
                  <a:lnTo>
                    <a:pt x="41853" y="197625"/>
                  </a:lnTo>
                  <a:lnTo>
                    <a:pt x="14384" y="196047"/>
                  </a:lnTo>
                  <a:lnTo>
                    <a:pt x="4269" y="18064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219">
              <a:extLst>
                <a:ext uri="{FF2B5EF4-FFF2-40B4-BE49-F238E27FC236}">
                  <a16:creationId xmlns:a16="http://schemas.microsoft.com/office/drawing/2014/main" id="{295F1145-81AF-41A1-9A9F-EB5972917341}"/>
                </a:ext>
              </a:extLst>
            </p:cNvPr>
            <p:cNvSpPr/>
            <p:nvPr/>
          </p:nvSpPr>
          <p:spPr>
            <a:xfrm>
              <a:off x="5224781" y="5101848"/>
              <a:ext cx="814777" cy="486266"/>
            </a:xfrm>
            <a:custGeom>
              <a:avLst/>
              <a:gdLst>
                <a:gd name="connsiteX0" fmla="*/ 811436 w 814777"/>
                <a:gd name="connsiteY0" fmla="*/ 349054 h 486266"/>
                <a:gd name="connsiteX1" fmla="*/ 803493 w 814777"/>
                <a:gd name="connsiteY1" fmla="*/ 357963 h 486266"/>
                <a:gd name="connsiteX2" fmla="*/ 812865 w 814777"/>
                <a:gd name="connsiteY2" fmla="*/ 379436 h 486266"/>
                <a:gd name="connsiteX3" fmla="*/ 804977 w 814777"/>
                <a:gd name="connsiteY3" fmla="*/ 399406 h 486266"/>
                <a:gd name="connsiteX4" fmla="*/ 792282 w 814777"/>
                <a:gd name="connsiteY4" fmla="*/ 415888 h 486266"/>
                <a:gd name="connsiteX5" fmla="*/ 770159 w 814777"/>
                <a:gd name="connsiteY5" fmla="*/ 421103 h 486266"/>
                <a:gd name="connsiteX6" fmla="*/ 735081 w 814777"/>
                <a:gd name="connsiteY6" fmla="*/ 419878 h 486266"/>
                <a:gd name="connsiteX7" fmla="*/ 722924 w 814777"/>
                <a:gd name="connsiteY7" fmla="*/ 439663 h 486266"/>
                <a:gd name="connsiteX8" fmla="*/ 703659 w 814777"/>
                <a:gd name="connsiteY8" fmla="*/ 446994 h 486266"/>
                <a:gd name="connsiteX9" fmla="*/ 700114 w 814777"/>
                <a:gd name="connsiteY9" fmla="*/ 440739 h 486266"/>
                <a:gd name="connsiteX10" fmla="*/ 676005 w 814777"/>
                <a:gd name="connsiteY10" fmla="*/ 470954 h 486266"/>
                <a:gd name="connsiteX11" fmla="*/ 663644 w 814777"/>
                <a:gd name="connsiteY11" fmla="*/ 478861 h 486266"/>
                <a:gd name="connsiteX12" fmla="*/ 639182 w 814777"/>
                <a:gd name="connsiteY12" fmla="*/ 480197 h 486266"/>
                <a:gd name="connsiteX13" fmla="*/ 620158 w 814777"/>
                <a:gd name="connsiteY13" fmla="*/ 456867 h 486266"/>
                <a:gd name="connsiteX14" fmla="*/ 605496 w 814777"/>
                <a:gd name="connsiteY14" fmla="*/ 460895 h 486266"/>
                <a:gd name="connsiteX15" fmla="*/ 581053 w 814777"/>
                <a:gd name="connsiteY15" fmla="*/ 440980 h 486266"/>
                <a:gd name="connsiteX16" fmla="*/ 551784 w 814777"/>
                <a:gd name="connsiteY16" fmla="*/ 438827 h 486266"/>
                <a:gd name="connsiteX17" fmla="*/ 532166 w 814777"/>
                <a:gd name="connsiteY17" fmla="*/ 422402 h 486266"/>
                <a:gd name="connsiteX18" fmla="*/ 514070 w 814777"/>
                <a:gd name="connsiteY18" fmla="*/ 421010 h 486266"/>
                <a:gd name="connsiteX19" fmla="*/ 484894 w 814777"/>
                <a:gd name="connsiteY19" fmla="*/ 408649 h 486266"/>
                <a:gd name="connsiteX20" fmla="*/ 478770 w 814777"/>
                <a:gd name="connsiteY20" fmla="*/ 396864 h 486266"/>
                <a:gd name="connsiteX21" fmla="*/ 406646 w 814777"/>
                <a:gd name="connsiteY21" fmla="*/ 381979 h 486266"/>
                <a:gd name="connsiteX22" fmla="*/ 373275 w 814777"/>
                <a:gd name="connsiteY22" fmla="*/ 391537 h 486266"/>
                <a:gd name="connsiteX23" fmla="*/ 346308 w 814777"/>
                <a:gd name="connsiteY23" fmla="*/ 414533 h 486266"/>
                <a:gd name="connsiteX24" fmla="*/ 332369 w 814777"/>
                <a:gd name="connsiteY24" fmla="*/ 412510 h 486266"/>
                <a:gd name="connsiteX25" fmla="*/ 300948 w 814777"/>
                <a:gd name="connsiteY25" fmla="*/ 423460 h 486266"/>
                <a:gd name="connsiteX26" fmla="*/ 287455 w 814777"/>
                <a:gd name="connsiteY26" fmla="*/ 434967 h 486266"/>
                <a:gd name="connsiteX27" fmla="*/ 277655 w 814777"/>
                <a:gd name="connsiteY27" fmla="*/ 453527 h 486266"/>
                <a:gd name="connsiteX28" fmla="*/ 257239 w 814777"/>
                <a:gd name="connsiteY28" fmla="*/ 469525 h 486266"/>
                <a:gd name="connsiteX29" fmla="*/ 249258 w 814777"/>
                <a:gd name="connsiteY29" fmla="*/ 483556 h 486266"/>
                <a:gd name="connsiteX30" fmla="*/ 224945 w 814777"/>
                <a:gd name="connsiteY30" fmla="*/ 464459 h 486266"/>
                <a:gd name="connsiteX31" fmla="*/ 205903 w 814777"/>
                <a:gd name="connsiteY31" fmla="*/ 462398 h 486266"/>
                <a:gd name="connsiteX32" fmla="*/ 188976 w 814777"/>
                <a:gd name="connsiteY32" fmla="*/ 436173 h 486266"/>
                <a:gd name="connsiteX33" fmla="*/ 202896 w 814777"/>
                <a:gd name="connsiteY33" fmla="*/ 422049 h 486266"/>
                <a:gd name="connsiteX34" fmla="*/ 190053 w 814777"/>
                <a:gd name="connsiteY34" fmla="*/ 421548 h 486266"/>
                <a:gd name="connsiteX35" fmla="*/ 177154 w 814777"/>
                <a:gd name="connsiteY35" fmla="*/ 409986 h 486266"/>
                <a:gd name="connsiteX36" fmla="*/ 167855 w 814777"/>
                <a:gd name="connsiteY36" fmla="*/ 415721 h 486266"/>
                <a:gd name="connsiteX37" fmla="*/ 168263 w 814777"/>
                <a:gd name="connsiteY37" fmla="*/ 396938 h 486266"/>
                <a:gd name="connsiteX38" fmla="*/ 146790 w 814777"/>
                <a:gd name="connsiteY38" fmla="*/ 368894 h 486266"/>
                <a:gd name="connsiteX39" fmla="*/ 136749 w 814777"/>
                <a:gd name="connsiteY39" fmla="*/ 364533 h 486266"/>
                <a:gd name="connsiteX40" fmla="*/ 123181 w 814777"/>
                <a:gd name="connsiteY40" fmla="*/ 386248 h 486266"/>
                <a:gd name="connsiteX41" fmla="*/ 107703 w 814777"/>
                <a:gd name="connsiteY41" fmla="*/ 369154 h 486266"/>
                <a:gd name="connsiteX42" fmla="*/ 92855 w 814777"/>
                <a:gd name="connsiteY42" fmla="*/ 361322 h 486266"/>
                <a:gd name="connsiteX43" fmla="*/ 84503 w 814777"/>
                <a:gd name="connsiteY43" fmla="*/ 367744 h 486266"/>
                <a:gd name="connsiteX44" fmla="*/ 63270 w 814777"/>
                <a:gd name="connsiteY44" fmla="*/ 400037 h 486266"/>
                <a:gd name="connsiteX45" fmla="*/ 46102 w 814777"/>
                <a:gd name="connsiteY45" fmla="*/ 388308 h 486266"/>
                <a:gd name="connsiteX46" fmla="*/ 56199 w 814777"/>
                <a:gd name="connsiteY46" fmla="*/ 366296 h 486266"/>
                <a:gd name="connsiteX47" fmla="*/ 39644 w 814777"/>
                <a:gd name="connsiteY47" fmla="*/ 363827 h 486266"/>
                <a:gd name="connsiteX48" fmla="*/ 26206 w 814777"/>
                <a:gd name="connsiteY48" fmla="*/ 370212 h 486266"/>
                <a:gd name="connsiteX49" fmla="*/ 2784 w 814777"/>
                <a:gd name="connsiteY49" fmla="*/ 362046 h 486266"/>
                <a:gd name="connsiteX50" fmla="*/ 4955 w 814777"/>
                <a:gd name="connsiteY50" fmla="*/ 348942 h 486266"/>
                <a:gd name="connsiteX51" fmla="*/ 13938 w 814777"/>
                <a:gd name="connsiteY51" fmla="*/ 330494 h 486266"/>
                <a:gd name="connsiteX52" fmla="*/ 36878 w 814777"/>
                <a:gd name="connsiteY52" fmla="*/ 308983 h 486266"/>
                <a:gd name="connsiteX53" fmla="*/ 52561 w 814777"/>
                <a:gd name="connsiteY53" fmla="*/ 300538 h 486266"/>
                <a:gd name="connsiteX54" fmla="*/ 71566 w 814777"/>
                <a:gd name="connsiteY54" fmla="*/ 307721 h 486266"/>
                <a:gd name="connsiteX55" fmla="*/ 90331 w 814777"/>
                <a:gd name="connsiteY55" fmla="*/ 291982 h 486266"/>
                <a:gd name="connsiteX56" fmla="*/ 116834 w 814777"/>
                <a:gd name="connsiteY56" fmla="*/ 292873 h 486266"/>
                <a:gd name="connsiteX57" fmla="*/ 120231 w 814777"/>
                <a:gd name="connsiteY57" fmla="*/ 282127 h 486266"/>
                <a:gd name="connsiteX58" fmla="*/ 144730 w 814777"/>
                <a:gd name="connsiteY58" fmla="*/ 275669 h 486266"/>
                <a:gd name="connsiteX59" fmla="*/ 163623 w 814777"/>
                <a:gd name="connsiteY59" fmla="*/ 260765 h 486266"/>
                <a:gd name="connsiteX60" fmla="*/ 198831 w 814777"/>
                <a:gd name="connsiteY60" fmla="*/ 262825 h 486266"/>
                <a:gd name="connsiteX61" fmla="*/ 213290 w 814777"/>
                <a:gd name="connsiteY61" fmla="*/ 268170 h 486266"/>
                <a:gd name="connsiteX62" fmla="*/ 230921 w 814777"/>
                <a:gd name="connsiteY62" fmla="*/ 256014 h 486266"/>
                <a:gd name="connsiteX63" fmla="*/ 237510 w 814777"/>
                <a:gd name="connsiteY63" fmla="*/ 243913 h 486266"/>
                <a:gd name="connsiteX64" fmla="*/ 255049 w 814777"/>
                <a:gd name="connsiteY64" fmla="*/ 241964 h 486266"/>
                <a:gd name="connsiteX65" fmla="*/ 272031 w 814777"/>
                <a:gd name="connsiteY65" fmla="*/ 225668 h 486266"/>
                <a:gd name="connsiteX66" fmla="*/ 279994 w 814777"/>
                <a:gd name="connsiteY66" fmla="*/ 232907 h 486266"/>
                <a:gd name="connsiteX67" fmla="*/ 294433 w 814777"/>
                <a:gd name="connsiteY67" fmla="*/ 222086 h 486266"/>
                <a:gd name="connsiteX68" fmla="*/ 304140 w 814777"/>
                <a:gd name="connsiteY68" fmla="*/ 197587 h 486266"/>
                <a:gd name="connsiteX69" fmla="*/ 327971 w 814777"/>
                <a:gd name="connsiteY69" fmla="*/ 186990 h 486266"/>
                <a:gd name="connsiteX70" fmla="*/ 349222 w 814777"/>
                <a:gd name="connsiteY70" fmla="*/ 154696 h 486266"/>
                <a:gd name="connsiteX71" fmla="*/ 362752 w 814777"/>
                <a:gd name="connsiteY71" fmla="*/ 154250 h 486266"/>
                <a:gd name="connsiteX72" fmla="*/ 382073 w 814777"/>
                <a:gd name="connsiteY72" fmla="*/ 136711 h 486266"/>
                <a:gd name="connsiteX73" fmla="*/ 372199 w 814777"/>
                <a:gd name="connsiteY73" fmla="*/ 128081 h 486266"/>
                <a:gd name="connsiteX74" fmla="*/ 386063 w 814777"/>
                <a:gd name="connsiteY74" fmla="*/ 102914 h 486266"/>
                <a:gd name="connsiteX75" fmla="*/ 398981 w 814777"/>
                <a:gd name="connsiteY75" fmla="*/ 93207 h 486266"/>
                <a:gd name="connsiteX76" fmla="*/ 427953 w 814777"/>
                <a:gd name="connsiteY76" fmla="*/ 61396 h 486266"/>
                <a:gd name="connsiteX77" fmla="*/ 436806 w 814777"/>
                <a:gd name="connsiteY77" fmla="*/ 58278 h 486266"/>
                <a:gd name="connsiteX78" fmla="*/ 458261 w 814777"/>
                <a:gd name="connsiteY78" fmla="*/ 32758 h 486266"/>
                <a:gd name="connsiteX79" fmla="*/ 465444 w 814777"/>
                <a:gd name="connsiteY79" fmla="*/ 13753 h 486266"/>
                <a:gd name="connsiteX80" fmla="*/ 475615 w 814777"/>
                <a:gd name="connsiteY80" fmla="*/ 2784 h 486266"/>
                <a:gd name="connsiteX81" fmla="*/ 498332 w 814777"/>
                <a:gd name="connsiteY81" fmla="*/ 11915 h 486266"/>
                <a:gd name="connsiteX82" fmla="*/ 507277 w 814777"/>
                <a:gd name="connsiteY82" fmla="*/ 36006 h 486266"/>
                <a:gd name="connsiteX83" fmla="*/ 499167 w 814777"/>
                <a:gd name="connsiteY83" fmla="*/ 49202 h 486266"/>
                <a:gd name="connsiteX84" fmla="*/ 504902 w 814777"/>
                <a:gd name="connsiteY84" fmla="*/ 58500 h 486266"/>
                <a:gd name="connsiteX85" fmla="*/ 498220 w 814777"/>
                <a:gd name="connsiteY85" fmla="*/ 102079 h 486266"/>
                <a:gd name="connsiteX86" fmla="*/ 512047 w 814777"/>
                <a:gd name="connsiteY86" fmla="*/ 119451 h 486266"/>
                <a:gd name="connsiteX87" fmla="*/ 503231 w 814777"/>
                <a:gd name="connsiteY87" fmla="*/ 133593 h 486266"/>
                <a:gd name="connsiteX88" fmla="*/ 504475 w 814777"/>
                <a:gd name="connsiteY88" fmla="*/ 152116 h 486266"/>
                <a:gd name="connsiteX89" fmla="*/ 515982 w 814777"/>
                <a:gd name="connsiteY89" fmla="*/ 165590 h 486266"/>
                <a:gd name="connsiteX90" fmla="*/ 537882 w 814777"/>
                <a:gd name="connsiteY90" fmla="*/ 153601 h 486266"/>
                <a:gd name="connsiteX91" fmla="*/ 554475 w 814777"/>
                <a:gd name="connsiteY91" fmla="*/ 134800 h 486266"/>
                <a:gd name="connsiteX92" fmla="*/ 582649 w 814777"/>
                <a:gd name="connsiteY92" fmla="*/ 151578 h 486266"/>
                <a:gd name="connsiteX93" fmla="*/ 587289 w 814777"/>
                <a:gd name="connsiteY93" fmla="*/ 159354 h 486266"/>
                <a:gd name="connsiteX94" fmla="*/ 606963 w 814777"/>
                <a:gd name="connsiteY94" fmla="*/ 133259 h 486266"/>
                <a:gd name="connsiteX95" fmla="*/ 634913 w 814777"/>
                <a:gd name="connsiteY95" fmla="*/ 89699 h 486266"/>
                <a:gd name="connsiteX96" fmla="*/ 628622 w 814777"/>
                <a:gd name="connsiteY96" fmla="*/ 82183 h 486266"/>
                <a:gd name="connsiteX97" fmla="*/ 632222 w 814777"/>
                <a:gd name="connsiteY97" fmla="*/ 62064 h 486266"/>
                <a:gd name="connsiteX98" fmla="*/ 652341 w 814777"/>
                <a:gd name="connsiteY98" fmla="*/ 49499 h 486266"/>
                <a:gd name="connsiteX99" fmla="*/ 656981 w 814777"/>
                <a:gd name="connsiteY99" fmla="*/ 19840 h 486266"/>
                <a:gd name="connsiteX100" fmla="*/ 678158 w 814777"/>
                <a:gd name="connsiteY100" fmla="*/ 13920 h 486266"/>
                <a:gd name="connsiteX101" fmla="*/ 690964 w 814777"/>
                <a:gd name="connsiteY101" fmla="*/ 19544 h 486266"/>
                <a:gd name="connsiteX102" fmla="*/ 701117 w 814777"/>
                <a:gd name="connsiteY102" fmla="*/ 45991 h 486266"/>
                <a:gd name="connsiteX103" fmla="*/ 721922 w 814777"/>
                <a:gd name="connsiteY103" fmla="*/ 53730 h 486266"/>
                <a:gd name="connsiteX104" fmla="*/ 730627 w 814777"/>
                <a:gd name="connsiteY104" fmla="*/ 71065 h 486266"/>
                <a:gd name="connsiteX105" fmla="*/ 675337 w 814777"/>
                <a:gd name="connsiteY105" fmla="*/ 113883 h 486266"/>
                <a:gd name="connsiteX106" fmla="*/ 687271 w 814777"/>
                <a:gd name="connsiteY106" fmla="*/ 124740 h 486266"/>
                <a:gd name="connsiteX107" fmla="*/ 702601 w 814777"/>
                <a:gd name="connsiteY107" fmla="*/ 124852 h 486266"/>
                <a:gd name="connsiteX108" fmla="*/ 704754 w 814777"/>
                <a:gd name="connsiteY108" fmla="*/ 132999 h 486266"/>
                <a:gd name="connsiteX109" fmla="*/ 690110 w 814777"/>
                <a:gd name="connsiteY109" fmla="*/ 153192 h 486266"/>
                <a:gd name="connsiteX110" fmla="*/ 688199 w 814777"/>
                <a:gd name="connsiteY110" fmla="*/ 167966 h 486266"/>
                <a:gd name="connsiteX111" fmla="*/ 695938 w 814777"/>
                <a:gd name="connsiteY111" fmla="*/ 184577 h 486266"/>
                <a:gd name="connsiteX112" fmla="*/ 683930 w 814777"/>
                <a:gd name="connsiteY112" fmla="*/ 221363 h 486266"/>
                <a:gd name="connsiteX113" fmla="*/ 673759 w 814777"/>
                <a:gd name="connsiteY113" fmla="*/ 232331 h 486266"/>
                <a:gd name="connsiteX114" fmla="*/ 694787 w 814777"/>
                <a:gd name="connsiteY114" fmla="*/ 246845 h 486266"/>
                <a:gd name="connsiteX115" fmla="*/ 686343 w 814777"/>
                <a:gd name="connsiteY115" fmla="*/ 268597 h 486266"/>
                <a:gd name="connsiteX116" fmla="*/ 705348 w 814777"/>
                <a:gd name="connsiteY116" fmla="*/ 313196 h 486266"/>
                <a:gd name="connsiteX117" fmla="*/ 717041 w 814777"/>
                <a:gd name="connsiteY117" fmla="*/ 301132 h 486266"/>
                <a:gd name="connsiteX118" fmla="*/ 724261 w 814777"/>
                <a:gd name="connsiteY118" fmla="*/ 314440 h 486266"/>
                <a:gd name="connsiteX119" fmla="*/ 744250 w 814777"/>
                <a:gd name="connsiteY119" fmla="*/ 301058 h 486266"/>
                <a:gd name="connsiteX120" fmla="*/ 762605 w 814777"/>
                <a:gd name="connsiteY120" fmla="*/ 304102 h 486266"/>
                <a:gd name="connsiteX121" fmla="*/ 765668 w 814777"/>
                <a:gd name="connsiteY121" fmla="*/ 318059 h 486266"/>
                <a:gd name="connsiteX122" fmla="*/ 774261 w 814777"/>
                <a:gd name="connsiteY122" fmla="*/ 313289 h 486266"/>
                <a:gd name="connsiteX123" fmla="*/ 805311 w 814777"/>
                <a:gd name="connsiteY123" fmla="*/ 337268 h 486266"/>
                <a:gd name="connsiteX124" fmla="*/ 811436 w 814777"/>
                <a:gd name="connsiteY124" fmla="*/ 349054 h 48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814777" h="486266">
                  <a:moveTo>
                    <a:pt x="811436" y="349054"/>
                  </a:moveTo>
                  <a:lnTo>
                    <a:pt x="803493" y="357963"/>
                  </a:lnTo>
                  <a:lnTo>
                    <a:pt x="812865" y="379436"/>
                  </a:lnTo>
                  <a:lnTo>
                    <a:pt x="804977" y="399406"/>
                  </a:lnTo>
                  <a:lnTo>
                    <a:pt x="792282" y="415888"/>
                  </a:lnTo>
                  <a:lnTo>
                    <a:pt x="770159" y="421103"/>
                  </a:lnTo>
                  <a:lnTo>
                    <a:pt x="735081" y="419878"/>
                  </a:lnTo>
                  <a:lnTo>
                    <a:pt x="722924" y="439663"/>
                  </a:lnTo>
                  <a:lnTo>
                    <a:pt x="703659" y="446994"/>
                  </a:lnTo>
                  <a:lnTo>
                    <a:pt x="700114" y="440739"/>
                  </a:lnTo>
                  <a:lnTo>
                    <a:pt x="676005" y="470954"/>
                  </a:lnTo>
                  <a:lnTo>
                    <a:pt x="663644" y="478861"/>
                  </a:lnTo>
                  <a:lnTo>
                    <a:pt x="639182" y="480197"/>
                  </a:lnTo>
                  <a:lnTo>
                    <a:pt x="620158" y="456867"/>
                  </a:lnTo>
                  <a:lnTo>
                    <a:pt x="605496" y="460895"/>
                  </a:lnTo>
                  <a:lnTo>
                    <a:pt x="581053" y="440980"/>
                  </a:lnTo>
                  <a:lnTo>
                    <a:pt x="551784" y="438827"/>
                  </a:lnTo>
                  <a:lnTo>
                    <a:pt x="532166" y="422402"/>
                  </a:lnTo>
                  <a:lnTo>
                    <a:pt x="514070" y="421010"/>
                  </a:lnTo>
                  <a:lnTo>
                    <a:pt x="484894" y="408649"/>
                  </a:lnTo>
                  <a:lnTo>
                    <a:pt x="478770" y="396864"/>
                  </a:lnTo>
                  <a:lnTo>
                    <a:pt x="406646" y="381979"/>
                  </a:lnTo>
                  <a:lnTo>
                    <a:pt x="373275" y="391537"/>
                  </a:lnTo>
                  <a:lnTo>
                    <a:pt x="346308" y="414533"/>
                  </a:lnTo>
                  <a:lnTo>
                    <a:pt x="332369" y="412510"/>
                  </a:lnTo>
                  <a:lnTo>
                    <a:pt x="300948" y="423460"/>
                  </a:lnTo>
                  <a:lnTo>
                    <a:pt x="287455" y="434967"/>
                  </a:lnTo>
                  <a:lnTo>
                    <a:pt x="277655" y="453527"/>
                  </a:lnTo>
                  <a:lnTo>
                    <a:pt x="257239" y="469525"/>
                  </a:lnTo>
                  <a:lnTo>
                    <a:pt x="249258" y="483556"/>
                  </a:lnTo>
                  <a:lnTo>
                    <a:pt x="224945" y="464459"/>
                  </a:lnTo>
                  <a:lnTo>
                    <a:pt x="205903" y="462398"/>
                  </a:lnTo>
                  <a:lnTo>
                    <a:pt x="188976" y="436173"/>
                  </a:lnTo>
                  <a:lnTo>
                    <a:pt x="202896" y="422049"/>
                  </a:lnTo>
                  <a:lnTo>
                    <a:pt x="190053" y="421548"/>
                  </a:lnTo>
                  <a:lnTo>
                    <a:pt x="177154" y="409986"/>
                  </a:lnTo>
                  <a:lnTo>
                    <a:pt x="167855" y="415721"/>
                  </a:lnTo>
                  <a:lnTo>
                    <a:pt x="168263" y="396938"/>
                  </a:lnTo>
                  <a:lnTo>
                    <a:pt x="146790" y="368894"/>
                  </a:lnTo>
                  <a:lnTo>
                    <a:pt x="136749" y="364533"/>
                  </a:lnTo>
                  <a:lnTo>
                    <a:pt x="123181" y="386248"/>
                  </a:lnTo>
                  <a:lnTo>
                    <a:pt x="107703" y="369154"/>
                  </a:lnTo>
                  <a:lnTo>
                    <a:pt x="92855" y="361322"/>
                  </a:lnTo>
                  <a:lnTo>
                    <a:pt x="84503" y="367744"/>
                  </a:lnTo>
                  <a:lnTo>
                    <a:pt x="63270" y="400037"/>
                  </a:lnTo>
                  <a:lnTo>
                    <a:pt x="46102" y="388308"/>
                  </a:lnTo>
                  <a:lnTo>
                    <a:pt x="56199" y="366296"/>
                  </a:lnTo>
                  <a:lnTo>
                    <a:pt x="39644" y="363827"/>
                  </a:lnTo>
                  <a:lnTo>
                    <a:pt x="26206" y="370212"/>
                  </a:lnTo>
                  <a:lnTo>
                    <a:pt x="2784" y="362046"/>
                  </a:lnTo>
                  <a:lnTo>
                    <a:pt x="4955" y="348942"/>
                  </a:lnTo>
                  <a:lnTo>
                    <a:pt x="13938" y="330494"/>
                  </a:lnTo>
                  <a:lnTo>
                    <a:pt x="36878" y="308983"/>
                  </a:lnTo>
                  <a:lnTo>
                    <a:pt x="52561" y="300538"/>
                  </a:lnTo>
                  <a:lnTo>
                    <a:pt x="71566" y="307721"/>
                  </a:lnTo>
                  <a:lnTo>
                    <a:pt x="90331" y="291982"/>
                  </a:lnTo>
                  <a:lnTo>
                    <a:pt x="116834" y="292873"/>
                  </a:lnTo>
                  <a:lnTo>
                    <a:pt x="120231" y="282127"/>
                  </a:lnTo>
                  <a:lnTo>
                    <a:pt x="144730" y="275669"/>
                  </a:lnTo>
                  <a:lnTo>
                    <a:pt x="163623" y="260765"/>
                  </a:lnTo>
                  <a:lnTo>
                    <a:pt x="198831" y="262825"/>
                  </a:lnTo>
                  <a:lnTo>
                    <a:pt x="213290" y="268170"/>
                  </a:lnTo>
                  <a:lnTo>
                    <a:pt x="230921" y="256014"/>
                  </a:lnTo>
                  <a:lnTo>
                    <a:pt x="237510" y="243913"/>
                  </a:lnTo>
                  <a:lnTo>
                    <a:pt x="255049" y="241964"/>
                  </a:lnTo>
                  <a:lnTo>
                    <a:pt x="272031" y="225668"/>
                  </a:lnTo>
                  <a:lnTo>
                    <a:pt x="279994" y="232907"/>
                  </a:lnTo>
                  <a:lnTo>
                    <a:pt x="294433" y="222086"/>
                  </a:lnTo>
                  <a:lnTo>
                    <a:pt x="304140" y="197587"/>
                  </a:lnTo>
                  <a:lnTo>
                    <a:pt x="327971" y="186990"/>
                  </a:lnTo>
                  <a:lnTo>
                    <a:pt x="349222" y="154696"/>
                  </a:lnTo>
                  <a:lnTo>
                    <a:pt x="362752" y="154250"/>
                  </a:lnTo>
                  <a:lnTo>
                    <a:pt x="382073" y="136711"/>
                  </a:lnTo>
                  <a:lnTo>
                    <a:pt x="372199" y="128081"/>
                  </a:lnTo>
                  <a:lnTo>
                    <a:pt x="386063" y="102914"/>
                  </a:lnTo>
                  <a:lnTo>
                    <a:pt x="398981" y="93207"/>
                  </a:lnTo>
                  <a:lnTo>
                    <a:pt x="427953" y="61396"/>
                  </a:lnTo>
                  <a:lnTo>
                    <a:pt x="436806" y="58278"/>
                  </a:lnTo>
                  <a:lnTo>
                    <a:pt x="458261" y="32758"/>
                  </a:lnTo>
                  <a:lnTo>
                    <a:pt x="465444" y="13753"/>
                  </a:lnTo>
                  <a:lnTo>
                    <a:pt x="475615" y="2784"/>
                  </a:lnTo>
                  <a:lnTo>
                    <a:pt x="498332" y="11915"/>
                  </a:lnTo>
                  <a:lnTo>
                    <a:pt x="507277" y="36006"/>
                  </a:lnTo>
                  <a:lnTo>
                    <a:pt x="499167" y="49202"/>
                  </a:lnTo>
                  <a:lnTo>
                    <a:pt x="504902" y="58500"/>
                  </a:lnTo>
                  <a:lnTo>
                    <a:pt x="498220" y="102079"/>
                  </a:lnTo>
                  <a:lnTo>
                    <a:pt x="512047" y="119451"/>
                  </a:lnTo>
                  <a:lnTo>
                    <a:pt x="503231" y="133593"/>
                  </a:lnTo>
                  <a:lnTo>
                    <a:pt x="504475" y="152116"/>
                  </a:lnTo>
                  <a:lnTo>
                    <a:pt x="515982" y="165590"/>
                  </a:lnTo>
                  <a:lnTo>
                    <a:pt x="537882" y="153601"/>
                  </a:lnTo>
                  <a:lnTo>
                    <a:pt x="554475" y="134800"/>
                  </a:lnTo>
                  <a:lnTo>
                    <a:pt x="582649" y="151578"/>
                  </a:lnTo>
                  <a:lnTo>
                    <a:pt x="587289" y="159354"/>
                  </a:lnTo>
                  <a:lnTo>
                    <a:pt x="606963" y="133259"/>
                  </a:lnTo>
                  <a:lnTo>
                    <a:pt x="634913" y="89699"/>
                  </a:lnTo>
                  <a:lnTo>
                    <a:pt x="628622" y="82183"/>
                  </a:lnTo>
                  <a:lnTo>
                    <a:pt x="632222" y="62064"/>
                  </a:lnTo>
                  <a:lnTo>
                    <a:pt x="652341" y="49499"/>
                  </a:lnTo>
                  <a:lnTo>
                    <a:pt x="656981" y="19840"/>
                  </a:lnTo>
                  <a:lnTo>
                    <a:pt x="678158" y="13920"/>
                  </a:lnTo>
                  <a:lnTo>
                    <a:pt x="690964" y="19544"/>
                  </a:lnTo>
                  <a:lnTo>
                    <a:pt x="701117" y="45991"/>
                  </a:lnTo>
                  <a:lnTo>
                    <a:pt x="721922" y="53730"/>
                  </a:lnTo>
                  <a:lnTo>
                    <a:pt x="730627" y="71065"/>
                  </a:lnTo>
                  <a:lnTo>
                    <a:pt x="675337" y="113883"/>
                  </a:lnTo>
                  <a:lnTo>
                    <a:pt x="687271" y="124740"/>
                  </a:lnTo>
                  <a:lnTo>
                    <a:pt x="702601" y="124852"/>
                  </a:lnTo>
                  <a:lnTo>
                    <a:pt x="704754" y="132999"/>
                  </a:lnTo>
                  <a:lnTo>
                    <a:pt x="690110" y="153192"/>
                  </a:lnTo>
                  <a:lnTo>
                    <a:pt x="688199" y="167966"/>
                  </a:lnTo>
                  <a:lnTo>
                    <a:pt x="695938" y="184577"/>
                  </a:lnTo>
                  <a:lnTo>
                    <a:pt x="683930" y="221363"/>
                  </a:lnTo>
                  <a:lnTo>
                    <a:pt x="673759" y="232331"/>
                  </a:lnTo>
                  <a:lnTo>
                    <a:pt x="694787" y="246845"/>
                  </a:lnTo>
                  <a:lnTo>
                    <a:pt x="686343" y="268597"/>
                  </a:lnTo>
                  <a:lnTo>
                    <a:pt x="705348" y="313196"/>
                  </a:lnTo>
                  <a:lnTo>
                    <a:pt x="717041" y="301132"/>
                  </a:lnTo>
                  <a:lnTo>
                    <a:pt x="724261" y="314440"/>
                  </a:lnTo>
                  <a:lnTo>
                    <a:pt x="744250" y="301058"/>
                  </a:lnTo>
                  <a:lnTo>
                    <a:pt x="762605" y="304102"/>
                  </a:lnTo>
                  <a:lnTo>
                    <a:pt x="765668" y="318059"/>
                  </a:lnTo>
                  <a:lnTo>
                    <a:pt x="774261" y="313289"/>
                  </a:lnTo>
                  <a:lnTo>
                    <a:pt x="805311" y="337268"/>
                  </a:lnTo>
                  <a:lnTo>
                    <a:pt x="811436" y="34905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220">
              <a:extLst>
                <a:ext uri="{FF2B5EF4-FFF2-40B4-BE49-F238E27FC236}">
                  <a16:creationId xmlns:a16="http://schemas.microsoft.com/office/drawing/2014/main" id="{986F8A6B-FB8D-4C5A-BE55-7596AD0B4463}"/>
                </a:ext>
              </a:extLst>
            </p:cNvPr>
            <p:cNvSpPr/>
            <p:nvPr/>
          </p:nvSpPr>
          <p:spPr>
            <a:xfrm>
              <a:off x="6264336" y="5166845"/>
              <a:ext cx="239422" cy="642168"/>
            </a:xfrm>
            <a:custGeom>
              <a:avLst/>
              <a:gdLst>
                <a:gd name="connsiteX0" fmla="*/ 112844 w 239421"/>
                <a:gd name="connsiteY0" fmla="*/ 31663 h 642168"/>
                <a:gd name="connsiteX1" fmla="*/ 132573 w 239421"/>
                <a:gd name="connsiteY1" fmla="*/ 16629 h 642168"/>
                <a:gd name="connsiteX2" fmla="*/ 142224 w 239421"/>
                <a:gd name="connsiteY2" fmla="*/ 55902 h 642168"/>
                <a:gd name="connsiteX3" fmla="*/ 175112 w 239421"/>
                <a:gd name="connsiteY3" fmla="*/ 107647 h 642168"/>
                <a:gd name="connsiteX4" fmla="*/ 187956 w 239421"/>
                <a:gd name="connsiteY4" fmla="*/ 145583 h 642168"/>
                <a:gd name="connsiteX5" fmla="*/ 196605 w 239421"/>
                <a:gd name="connsiteY5" fmla="*/ 189273 h 642168"/>
                <a:gd name="connsiteX6" fmla="*/ 195899 w 239421"/>
                <a:gd name="connsiteY6" fmla="*/ 211507 h 642168"/>
                <a:gd name="connsiteX7" fmla="*/ 205216 w 239421"/>
                <a:gd name="connsiteY7" fmla="*/ 238085 h 642168"/>
                <a:gd name="connsiteX8" fmla="*/ 204845 w 239421"/>
                <a:gd name="connsiteY8" fmla="*/ 251745 h 642168"/>
                <a:gd name="connsiteX9" fmla="*/ 215573 w 239421"/>
                <a:gd name="connsiteY9" fmla="*/ 276411 h 642168"/>
                <a:gd name="connsiteX10" fmla="*/ 211174 w 239421"/>
                <a:gd name="connsiteY10" fmla="*/ 291556 h 642168"/>
                <a:gd name="connsiteX11" fmla="*/ 222625 w 239421"/>
                <a:gd name="connsiteY11" fmla="*/ 331403 h 642168"/>
                <a:gd name="connsiteX12" fmla="*/ 230885 w 239421"/>
                <a:gd name="connsiteY12" fmla="*/ 335190 h 642168"/>
                <a:gd name="connsiteX13" fmla="*/ 230606 w 239421"/>
                <a:gd name="connsiteY13" fmla="*/ 354807 h 642168"/>
                <a:gd name="connsiteX14" fmla="*/ 237547 w 239421"/>
                <a:gd name="connsiteY14" fmla="*/ 366444 h 642168"/>
                <a:gd name="connsiteX15" fmla="*/ 233669 w 239421"/>
                <a:gd name="connsiteY15" fmla="*/ 406181 h 642168"/>
                <a:gd name="connsiteX16" fmla="*/ 226838 w 239421"/>
                <a:gd name="connsiteY16" fmla="*/ 432795 h 642168"/>
                <a:gd name="connsiteX17" fmla="*/ 228620 w 239421"/>
                <a:gd name="connsiteY17" fmla="*/ 454622 h 642168"/>
                <a:gd name="connsiteX18" fmla="*/ 216018 w 239421"/>
                <a:gd name="connsiteY18" fmla="*/ 477023 h 642168"/>
                <a:gd name="connsiteX19" fmla="*/ 209763 w 239421"/>
                <a:gd name="connsiteY19" fmla="*/ 501838 h 642168"/>
                <a:gd name="connsiteX20" fmla="*/ 195658 w 239421"/>
                <a:gd name="connsiteY20" fmla="*/ 504084 h 642168"/>
                <a:gd name="connsiteX21" fmla="*/ 193208 w 239421"/>
                <a:gd name="connsiteY21" fmla="*/ 515535 h 642168"/>
                <a:gd name="connsiteX22" fmla="*/ 181645 w 239421"/>
                <a:gd name="connsiteY22" fmla="*/ 512269 h 642168"/>
                <a:gd name="connsiteX23" fmla="*/ 165034 w 239421"/>
                <a:gd name="connsiteY23" fmla="*/ 536173 h 642168"/>
                <a:gd name="connsiteX24" fmla="*/ 141278 w 239421"/>
                <a:gd name="connsiteY24" fmla="*/ 515275 h 642168"/>
                <a:gd name="connsiteX25" fmla="*/ 141630 w 239421"/>
                <a:gd name="connsiteY25" fmla="*/ 544136 h 642168"/>
                <a:gd name="connsiteX26" fmla="*/ 135468 w 239421"/>
                <a:gd name="connsiteY26" fmla="*/ 553620 h 642168"/>
                <a:gd name="connsiteX27" fmla="*/ 134095 w 239421"/>
                <a:gd name="connsiteY27" fmla="*/ 534280 h 642168"/>
                <a:gd name="connsiteX28" fmla="*/ 121883 w 239421"/>
                <a:gd name="connsiteY28" fmla="*/ 543041 h 642168"/>
                <a:gd name="connsiteX29" fmla="*/ 126393 w 239421"/>
                <a:gd name="connsiteY29" fmla="*/ 549963 h 642168"/>
                <a:gd name="connsiteX30" fmla="*/ 127562 w 239421"/>
                <a:gd name="connsiteY30" fmla="*/ 578694 h 642168"/>
                <a:gd name="connsiteX31" fmla="*/ 136230 w 239421"/>
                <a:gd name="connsiteY31" fmla="*/ 601133 h 642168"/>
                <a:gd name="connsiteX32" fmla="*/ 112009 w 239421"/>
                <a:gd name="connsiteY32" fmla="*/ 625390 h 642168"/>
                <a:gd name="connsiteX33" fmla="*/ 127506 w 239421"/>
                <a:gd name="connsiteY33" fmla="*/ 621233 h 642168"/>
                <a:gd name="connsiteX34" fmla="*/ 134002 w 239421"/>
                <a:gd name="connsiteY34" fmla="*/ 640609 h 642168"/>
                <a:gd name="connsiteX35" fmla="*/ 97310 w 239421"/>
                <a:gd name="connsiteY35" fmla="*/ 634540 h 642168"/>
                <a:gd name="connsiteX36" fmla="*/ 105364 w 239421"/>
                <a:gd name="connsiteY36" fmla="*/ 610301 h 642168"/>
                <a:gd name="connsiteX37" fmla="*/ 114960 w 239421"/>
                <a:gd name="connsiteY37" fmla="*/ 601114 h 642168"/>
                <a:gd name="connsiteX38" fmla="*/ 97699 w 239421"/>
                <a:gd name="connsiteY38" fmla="*/ 562194 h 642168"/>
                <a:gd name="connsiteX39" fmla="*/ 84726 w 239421"/>
                <a:gd name="connsiteY39" fmla="*/ 560839 h 642168"/>
                <a:gd name="connsiteX40" fmla="*/ 58835 w 239421"/>
                <a:gd name="connsiteY40" fmla="*/ 531793 h 642168"/>
                <a:gd name="connsiteX41" fmla="*/ 16592 w 239421"/>
                <a:gd name="connsiteY41" fmla="*/ 512157 h 642168"/>
                <a:gd name="connsiteX42" fmla="*/ 2784 w 239421"/>
                <a:gd name="connsiteY42" fmla="*/ 510951 h 642168"/>
                <a:gd name="connsiteX43" fmla="*/ 14458 w 239421"/>
                <a:gd name="connsiteY43" fmla="*/ 482740 h 642168"/>
                <a:gd name="connsiteX44" fmla="*/ 8779 w 239421"/>
                <a:gd name="connsiteY44" fmla="*/ 447068 h 642168"/>
                <a:gd name="connsiteX45" fmla="*/ 20973 w 239421"/>
                <a:gd name="connsiteY45" fmla="*/ 443430 h 642168"/>
                <a:gd name="connsiteX46" fmla="*/ 39718 w 239421"/>
                <a:gd name="connsiteY46" fmla="*/ 448942 h 642168"/>
                <a:gd name="connsiteX47" fmla="*/ 46660 w 239421"/>
                <a:gd name="connsiteY47" fmla="*/ 460598 h 642168"/>
                <a:gd name="connsiteX48" fmla="*/ 74444 w 239421"/>
                <a:gd name="connsiteY48" fmla="*/ 458742 h 642168"/>
                <a:gd name="connsiteX49" fmla="*/ 75687 w 239421"/>
                <a:gd name="connsiteY49" fmla="*/ 439830 h 642168"/>
                <a:gd name="connsiteX50" fmla="*/ 62770 w 239421"/>
                <a:gd name="connsiteY50" fmla="*/ 412120 h 642168"/>
                <a:gd name="connsiteX51" fmla="*/ 69525 w 239421"/>
                <a:gd name="connsiteY51" fmla="*/ 395732 h 642168"/>
                <a:gd name="connsiteX52" fmla="*/ 52654 w 239421"/>
                <a:gd name="connsiteY52" fmla="*/ 380568 h 642168"/>
                <a:gd name="connsiteX53" fmla="*/ 54585 w 239421"/>
                <a:gd name="connsiteY53" fmla="*/ 360691 h 642168"/>
                <a:gd name="connsiteX54" fmla="*/ 40776 w 239421"/>
                <a:gd name="connsiteY54" fmla="*/ 343337 h 642168"/>
                <a:gd name="connsiteX55" fmla="*/ 42632 w 239421"/>
                <a:gd name="connsiteY55" fmla="*/ 333686 h 642168"/>
                <a:gd name="connsiteX56" fmla="*/ 31663 w 239421"/>
                <a:gd name="connsiteY56" fmla="*/ 323515 h 642168"/>
                <a:gd name="connsiteX57" fmla="*/ 32610 w 239421"/>
                <a:gd name="connsiteY57" fmla="*/ 308055 h 642168"/>
                <a:gd name="connsiteX58" fmla="*/ 17873 w 239421"/>
                <a:gd name="connsiteY58" fmla="*/ 301058 h 642168"/>
                <a:gd name="connsiteX59" fmla="*/ 13976 w 239421"/>
                <a:gd name="connsiteY59" fmla="*/ 287213 h 642168"/>
                <a:gd name="connsiteX60" fmla="*/ 25872 w 239421"/>
                <a:gd name="connsiteY60" fmla="*/ 265757 h 642168"/>
                <a:gd name="connsiteX61" fmla="*/ 11062 w 239421"/>
                <a:gd name="connsiteY61" fmla="*/ 252803 h 642168"/>
                <a:gd name="connsiteX62" fmla="*/ 9373 w 239421"/>
                <a:gd name="connsiteY62" fmla="*/ 236915 h 642168"/>
                <a:gd name="connsiteX63" fmla="*/ 18968 w 239421"/>
                <a:gd name="connsiteY63" fmla="*/ 211582 h 642168"/>
                <a:gd name="connsiteX64" fmla="*/ 40702 w 239421"/>
                <a:gd name="connsiteY64" fmla="*/ 203879 h 642168"/>
                <a:gd name="connsiteX65" fmla="*/ 42725 w 239421"/>
                <a:gd name="connsiteY65" fmla="*/ 211210 h 642168"/>
                <a:gd name="connsiteX66" fmla="*/ 54882 w 239421"/>
                <a:gd name="connsiteY66" fmla="*/ 191407 h 642168"/>
                <a:gd name="connsiteX67" fmla="*/ 67020 w 239421"/>
                <a:gd name="connsiteY67" fmla="*/ 192873 h 642168"/>
                <a:gd name="connsiteX68" fmla="*/ 93115 w 239421"/>
                <a:gd name="connsiteY68" fmla="*/ 158964 h 642168"/>
                <a:gd name="connsiteX69" fmla="*/ 91110 w 239421"/>
                <a:gd name="connsiteY69" fmla="*/ 130364 h 642168"/>
                <a:gd name="connsiteX70" fmla="*/ 78249 w 239421"/>
                <a:gd name="connsiteY70" fmla="*/ 113716 h 642168"/>
                <a:gd name="connsiteX71" fmla="*/ 95620 w 239421"/>
                <a:gd name="connsiteY71" fmla="*/ 99889 h 642168"/>
                <a:gd name="connsiteX72" fmla="*/ 95657 w 239421"/>
                <a:gd name="connsiteY72" fmla="*/ 57368 h 642168"/>
                <a:gd name="connsiteX73" fmla="*/ 85617 w 239421"/>
                <a:gd name="connsiteY73" fmla="*/ 53007 h 642168"/>
                <a:gd name="connsiteX74" fmla="*/ 75446 w 239421"/>
                <a:gd name="connsiteY74" fmla="*/ 63976 h 642168"/>
                <a:gd name="connsiteX75" fmla="*/ 37417 w 239421"/>
                <a:gd name="connsiteY75" fmla="*/ 70880 h 642168"/>
                <a:gd name="connsiteX76" fmla="*/ 33909 w 239421"/>
                <a:gd name="connsiteY76" fmla="*/ 59540 h 642168"/>
                <a:gd name="connsiteX77" fmla="*/ 45379 w 239421"/>
                <a:gd name="connsiteY77" fmla="*/ 40701 h 642168"/>
                <a:gd name="connsiteX78" fmla="*/ 45602 w 239421"/>
                <a:gd name="connsiteY78" fmla="*/ 10041 h 642168"/>
                <a:gd name="connsiteX79" fmla="*/ 53805 w 239421"/>
                <a:gd name="connsiteY79" fmla="*/ 2784 h 642168"/>
                <a:gd name="connsiteX80" fmla="*/ 79269 w 239421"/>
                <a:gd name="connsiteY80" fmla="*/ 13196 h 642168"/>
                <a:gd name="connsiteX81" fmla="*/ 97124 w 239421"/>
                <a:gd name="connsiteY81" fmla="*/ 7795 h 642168"/>
                <a:gd name="connsiteX82" fmla="*/ 98646 w 239421"/>
                <a:gd name="connsiteY82" fmla="*/ 27969 h 642168"/>
                <a:gd name="connsiteX83" fmla="*/ 112844 w 239421"/>
                <a:gd name="connsiteY83" fmla="*/ 31663 h 64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39421" h="642168">
                  <a:moveTo>
                    <a:pt x="112844" y="31663"/>
                  </a:moveTo>
                  <a:lnTo>
                    <a:pt x="132573" y="16629"/>
                  </a:lnTo>
                  <a:lnTo>
                    <a:pt x="142224" y="55902"/>
                  </a:lnTo>
                  <a:lnTo>
                    <a:pt x="175112" y="107647"/>
                  </a:lnTo>
                  <a:lnTo>
                    <a:pt x="187956" y="145583"/>
                  </a:lnTo>
                  <a:lnTo>
                    <a:pt x="196605" y="189273"/>
                  </a:lnTo>
                  <a:lnTo>
                    <a:pt x="195899" y="211507"/>
                  </a:lnTo>
                  <a:lnTo>
                    <a:pt x="205216" y="238085"/>
                  </a:lnTo>
                  <a:lnTo>
                    <a:pt x="204845" y="251745"/>
                  </a:lnTo>
                  <a:lnTo>
                    <a:pt x="215573" y="276411"/>
                  </a:lnTo>
                  <a:lnTo>
                    <a:pt x="211174" y="291556"/>
                  </a:lnTo>
                  <a:lnTo>
                    <a:pt x="222625" y="331403"/>
                  </a:lnTo>
                  <a:lnTo>
                    <a:pt x="230885" y="335190"/>
                  </a:lnTo>
                  <a:lnTo>
                    <a:pt x="230606" y="354807"/>
                  </a:lnTo>
                  <a:lnTo>
                    <a:pt x="237547" y="366444"/>
                  </a:lnTo>
                  <a:lnTo>
                    <a:pt x="233669" y="406181"/>
                  </a:lnTo>
                  <a:lnTo>
                    <a:pt x="226838" y="432795"/>
                  </a:lnTo>
                  <a:lnTo>
                    <a:pt x="228620" y="454622"/>
                  </a:lnTo>
                  <a:lnTo>
                    <a:pt x="216018" y="477023"/>
                  </a:lnTo>
                  <a:lnTo>
                    <a:pt x="209763" y="501838"/>
                  </a:lnTo>
                  <a:lnTo>
                    <a:pt x="195658" y="504084"/>
                  </a:lnTo>
                  <a:lnTo>
                    <a:pt x="193208" y="515535"/>
                  </a:lnTo>
                  <a:lnTo>
                    <a:pt x="181645" y="512269"/>
                  </a:lnTo>
                  <a:lnTo>
                    <a:pt x="165034" y="536173"/>
                  </a:lnTo>
                  <a:lnTo>
                    <a:pt x="141278" y="515275"/>
                  </a:lnTo>
                  <a:lnTo>
                    <a:pt x="141630" y="544136"/>
                  </a:lnTo>
                  <a:lnTo>
                    <a:pt x="135468" y="553620"/>
                  </a:lnTo>
                  <a:lnTo>
                    <a:pt x="134095" y="534280"/>
                  </a:lnTo>
                  <a:lnTo>
                    <a:pt x="121883" y="543041"/>
                  </a:lnTo>
                  <a:lnTo>
                    <a:pt x="126393" y="549963"/>
                  </a:lnTo>
                  <a:lnTo>
                    <a:pt x="127562" y="578694"/>
                  </a:lnTo>
                  <a:lnTo>
                    <a:pt x="136230" y="601133"/>
                  </a:lnTo>
                  <a:lnTo>
                    <a:pt x="112009" y="625390"/>
                  </a:lnTo>
                  <a:lnTo>
                    <a:pt x="127506" y="621233"/>
                  </a:lnTo>
                  <a:lnTo>
                    <a:pt x="134002" y="640609"/>
                  </a:lnTo>
                  <a:lnTo>
                    <a:pt x="97310" y="634540"/>
                  </a:lnTo>
                  <a:lnTo>
                    <a:pt x="105364" y="610301"/>
                  </a:lnTo>
                  <a:lnTo>
                    <a:pt x="114960" y="601114"/>
                  </a:lnTo>
                  <a:lnTo>
                    <a:pt x="97699" y="562194"/>
                  </a:lnTo>
                  <a:lnTo>
                    <a:pt x="84726" y="560839"/>
                  </a:lnTo>
                  <a:lnTo>
                    <a:pt x="58835" y="531793"/>
                  </a:lnTo>
                  <a:lnTo>
                    <a:pt x="16592" y="512157"/>
                  </a:lnTo>
                  <a:lnTo>
                    <a:pt x="2784" y="510951"/>
                  </a:lnTo>
                  <a:lnTo>
                    <a:pt x="14458" y="482740"/>
                  </a:lnTo>
                  <a:lnTo>
                    <a:pt x="8779" y="447068"/>
                  </a:lnTo>
                  <a:lnTo>
                    <a:pt x="20973" y="443430"/>
                  </a:lnTo>
                  <a:lnTo>
                    <a:pt x="39718" y="448942"/>
                  </a:lnTo>
                  <a:lnTo>
                    <a:pt x="46660" y="460598"/>
                  </a:lnTo>
                  <a:lnTo>
                    <a:pt x="74444" y="458742"/>
                  </a:lnTo>
                  <a:lnTo>
                    <a:pt x="75687" y="439830"/>
                  </a:lnTo>
                  <a:lnTo>
                    <a:pt x="62770" y="412120"/>
                  </a:lnTo>
                  <a:lnTo>
                    <a:pt x="69525" y="395732"/>
                  </a:lnTo>
                  <a:lnTo>
                    <a:pt x="52654" y="380568"/>
                  </a:lnTo>
                  <a:lnTo>
                    <a:pt x="54585" y="360691"/>
                  </a:lnTo>
                  <a:lnTo>
                    <a:pt x="40776" y="343337"/>
                  </a:lnTo>
                  <a:lnTo>
                    <a:pt x="42632" y="333686"/>
                  </a:lnTo>
                  <a:lnTo>
                    <a:pt x="31663" y="323515"/>
                  </a:lnTo>
                  <a:lnTo>
                    <a:pt x="32610" y="308055"/>
                  </a:lnTo>
                  <a:lnTo>
                    <a:pt x="17873" y="301058"/>
                  </a:lnTo>
                  <a:lnTo>
                    <a:pt x="13976" y="287213"/>
                  </a:lnTo>
                  <a:lnTo>
                    <a:pt x="25872" y="265757"/>
                  </a:lnTo>
                  <a:lnTo>
                    <a:pt x="11062" y="252803"/>
                  </a:lnTo>
                  <a:lnTo>
                    <a:pt x="9373" y="236915"/>
                  </a:lnTo>
                  <a:lnTo>
                    <a:pt x="18968" y="211582"/>
                  </a:lnTo>
                  <a:lnTo>
                    <a:pt x="40702" y="203879"/>
                  </a:lnTo>
                  <a:lnTo>
                    <a:pt x="42725" y="211210"/>
                  </a:lnTo>
                  <a:lnTo>
                    <a:pt x="54882" y="191407"/>
                  </a:lnTo>
                  <a:lnTo>
                    <a:pt x="67020" y="192873"/>
                  </a:lnTo>
                  <a:lnTo>
                    <a:pt x="93115" y="158964"/>
                  </a:lnTo>
                  <a:lnTo>
                    <a:pt x="91110" y="130364"/>
                  </a:lnTo>
                  <a:lnTo>
                    <a:pt x="78249" y="113716"/>
                  </a:lnTo>
                  <a:lnTo>
                    <a:pt x="95620" y="99889"/>
                  </a:lnTo>
                  <a:lnTo>
                    <a:pt x="95657" y="57368"/>
                  </a:lnTo>
                  <a:lnTo>
                    <a:pt x="85617" y="53007"/>
                  </a:lnTo>
                  <a:lnTo>
                    <a:pt x="75446" y="63976"/>
                  </a:lnTo>
                  <a:lnTo>
                    <a:pt x="37417" y="70880"/>
                  </a:lnTo>
                  <a:lnTo>
                    <a:pt x="33909" y="59540"/>
                  </a:lnTo>
                  <a:lnTo>
                    <a:pt x="45379" y="40701"/>
                  </a:lnTo>
                  <a:lnTo>
                    <a:pt x="45602" y="10041"/>
                  </a:lnTo>
                  <a:lnTo>
                    <a:pt x="53805" y="2784"/>
                  </a:lnTo>
                  <a:lnTo>
                    <a:pt x="79269" y="13196"/>
                  </a:lnTo>
                  <a:lnTo>
                    <a:pt x="97124" y="7795"/>
                  </a:lnTo>
                  <a:lnTo>
                    <a:pt x="98646" y="27969"/>
                  </a:lnTo>
                  <a:lnTo>
                    <a:pt x="112844" y="3166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221">
              <a:extLst>
                <a:ext uri="{FF2B5EF4-FFF2-40B4-BE49-F238E27FC236}">
                  <a16:creationId xmlns:a16="http://schemas.microsoft.com/office/drawing/2014/main" id="{DFF5B458-912A-41D1-AF03-F8841BF68444}"/>
                </a:ext>
              </a:extLst>
            </p:cNvPr>
            <p:cNvSpPr/>
            <p:nvPr/>
          </p:nvSpPr>
          <p:spPr>
            <a:xfrm>
              <a:off x="5394287" y="3706379"/>
              <a:ext cx="530811" cy="734967"/>
            </a:xfrm>
            <a:custGeom>
              <a:avLst/>
              <a:gdLst>
                <a:gd name="connsiteX0" fmla="*/ 406350 w 530811"/>
                <a:gd name="connsiteY0" fmla="*/ 65850 h 734967"/>
                <a:gd name="connsiteX1" fmla="*/ 424538 w 530811"/>
                <a:gd name="connsiteY1" fmla="*/ 89319 h 734967"/>
                <a:gd name="connsiteX2" fmla="*/ 472552 w 530811"/>
                <a:gd name="connsiteY2" fmla="*/ 171826 h 734967"/>
                <a:gd name="connsiteX3" fmla="*/ 453937 w 530811"/>
                <a:gd name="connsiteY3" fmla="*/ 167133 h 734967"/>
                <a:gd name="connsiteX4" fmla="*/ 439943 w 530811"/>
                <a:gd name="connsiteY4" fmla="*/ 154052 h 734967"/>
                <a:gd name="connsiteX5" fmla="*/ 443079 w 530811"/>
                <a:gd name="connsiteY5" fmla="*/ 179067 h 734967"/>
                <a:gd name="connsiteX6" fmla="*/ 431405 w 530811"/>
                <a:gd name="connsiteY6" fmla="*/ 169867 h 734967"/>
                <a:gd name="connsiteX7" fmla="*/ 419750 w 530811"/>
                <a:gd name="connsiteY7" fmla="*/ 176825 h 734967"/>
                <a:gd name="connsiteX8" fmla="*/ 399761 w 530811"/>
                <a:gd name="connsiteY8" fmla="*/ 152790 h 734967"/>
                <a:gd name="connsiteX9" fmla="*/ 371234 w 530811"/>
                <a:gd name="connsiteY9" fmla="*/ 144571 h 734967"/>
                <a:gd name="connsiteX10" fmla="*/ 385711 w 530811"/>
                <a:gd name="connsiteY10" fmla="*/ 166080 h 734967"/>
                <a:gd name="connsiteX11" fmla="*/ 385340 w 530811"/>
                <a:gd name="connsiteY11" fmla="*/ 179748 h 734967"/>
                <a:gd name="connsiteX12" fmla="*/ 367912 w 530811"/>
                <a:gd name="connsiteY12" fmla="*/ 182519 h 734967"/>
                <a:gd name="connsiteX13" fmla="*/ 363588 w 530811"/>
                <a:gd name="connsiteY13" fmla="*/ 224878 h 734967"/>
                <a:gd name="connsiteX14" fmla="*/ 369193 w 530811"/>
                <a:gd name="connsiteY14" fmla="*/ 233341 h 734967"/>
                <a:gd name="connsiteX15" fmla="*/ 359913 w 530811"/>
                <a:gd name="connsiteY15" fmla="*/ 255227 h 734967"/>
                <a:gd name="connsiteX16" fmla="*/ 372218 w 530811"/>
                <a:gd name="connsiteY16" fmla="*/ 289837 h 734967"/>
                <a:gd name="connsiteX17" fmla="*/ 395380 w 530811"/>
                <a:gd name="connsiteY17" fmla="*/ 296357 h 734967"/>
                <a:gd name="connsiteX18" fmla="*/ 404586 w 530811"/>
                <a:gd name="connsiteY18" fmla="*/ 322107 h 734967"/>
                <a:gd name="connsiteX19" fmla="*/ 422292 w 530811"/>
                <a:gd name="connsiteY19" fmla="*/ 337150 h 734967"/>
                <a:gd name="connsiteX20" fmla="*/ 439107 w 530811"/>
                <a:gd name="connsiteY20" fmla="*/ 378696 h 734967"/>
                <a:gd name="connsiteX21" fmla="*/ 455106 w 530811"/>
                <a:gd name="connsiteY21" fmla="*/ 399111 h 734967"/>
                <a:gd name="connsiteX22" fmla="*/ 468172 w 530811"/>
                <a:gd name="connsiteY22" fmla="*/ 406387 h 734967"/>
                <a:gd name="connsiteX23" fmla="*/ 467411 w 530811"/>
                <a:gd name="connsiteY23" fmla="*/ 417565 h 734967"/>
                <a:gd name="connsiteX24" fmla="*/ 491743 w 530811"/>
                <a:gd name="connsiteY24" fmla="*/ 431552 h 734967"/>
                <a:gd name="connsiteX25" fmla="*/ 503195 w 530811"/>
                <a:gd name="connsiteY25" fmla="*/ 396563 h 734967"/>
                <a:gd name="connsiteX26" fmla="*/ 529178 w 530811"/>
                <a:gd name="connsiteY26" fmla="*/ 394132 h 734967"/>
                <a:gd name="connsiteX27" fmla="*/ 518080 w 530811"/>
                <a:gd name="connsiteY27" fmla="*/ 420561 h 734967"/>
                <a:gd name="connsiteX28" fmla="*/ 524130 w 530811"/>
                <a:gd name="connsiteY28" fmla="*/ 442560 h 734967"/>
                <a:gd name="connsiteX29" fmla="*/ 502267 w 530811"/>
                <a:gd name="connsiteY29" fmla="*/ 465596 h 734967"/>
                <a:gd name="connsiteX30" fmla="*/ 520029 w 530811"/>
                <a:gd name="connsiteY30" fmla="*/ 491684 h 734967"/>
                <a:gd name="connsiteX31" fmla="*/ 502619 w 530811"/>
                <a:gd name="connsiteY31" fmla="*/ 510611 h 734967"/>
                <a:gd name="connsiteX32" fmla="*/ 511342 w 530811"/>
                <a:gd name="connsiteY32" fmla="*/ 527935 h 734967"/>
                <a:gd name="connsiteX33" fmla="*/ 502842 w 530811"/>
                <a:gd name="connsiteY33" fmla="*/ 554798 h 734967"/>
                <a:gd name="connsiteX34" fmla="*/ 481535 w 530811"/>
                <a:gd name="connsiteY34" fmla="*/ 559887 h 734967"/>
                <a:gd name="connsiteX35" fmla="*/ 488941 w 530811"/>
                <a:gd name="connsiteY35" fmla="*/ 531498 h 734967"/>
                <a:gd name="connsiteX36" fmla="*/ 489386 w 530811"/>
                <a:gd name="connsiteY36" fmla="*/ 507614 h 734967"/>
                <a:gd name="connsiteX37" fmla="*/ 477360 w 530811"/>
                <a:gd name="connsiteY37" fmla="*/ 528237 h 734967"/>
                <a:gd name="connsiteX38" fmla="*/ 450930 w 530811"/>
                <a:gd name="connsiteY38" fmla="*/ 533291 h 734967"/>
                <a:gd name="connsiteX39" fmla="*/ 447329 w 530811"/>
                <a:gd name="connsiteY39" fmla="*/ 553423 h 734967"/>
                <a:gd name="connsiteX40" fmla="*/ 454772 w 530811"/>
                <a:gd name="connsiteY40" fmla="*/ 557345 h 734967"/>
                <a:gd name="connsiteX41" fmla="*/ 446791 w 530811"/>
                <a:gd name="connsiteY41" fmla="*/ 571370 h 734967"/>
                <a:gd name="connsiteX42" fmla="*/ 436435 w 530811"/>
                <a:gd name="connsiteY42" fmla="*/ 570465 h 734967"/>
                <a:gd name="connsiteX43" fmla="*/ 413012 w 530811"/>
                <a:gd name="connsiteY43" fmla="*/ 599704 h 734967"/>
                <a:gd name="connsiteX44" fmla="*/ 414646 w 530811"/>
                <a:gd name="connsiteY44" fmla="*/ 620704 h 734967"/>
                <a:gd name="connsiteX45" fmla="*/ 423350 w 530811"/>
                <a:gd name="connsiteY45" fmla="*/ 621872 h 734967"/>
                <a:gd name="connsiteX46" fmla="*/ 417151 w 530811"/>
                <a:gd name="connsiteY46" fmla="*/ 636463 h 734967"/>
                <a:gd name="connsiteX47" fmla="*/ 427731 w 530811"/>
                <a:gd name="connsiteY47" fmla="*/ 644134 h 734967"/>
                <a:gd name="connsiteX48" fmla="*/ 438829 w 530811"/>
                <a:gd name="connsiteY48" fmla="*/ 638969 h 734967"/>
                <a:gd name="connsiteX49" fmla="*/ 430106 w 530811"/>
                <a:gd name="connsiteY49" fmla="*/ 659065 h 734967"/>
                <a:gd name="connsiteX50" fmla="*/ 421290 w 530811"/>
                <a:gd name="connsiteY50" fmla="*/ 657066 h 734967"/>
                <a:gd name="connsiteX51" fmla="*/ 413142 w 530811"/>
                <a:gd name="connsiteY51" fmla="*/ 675370 h 734967"/>
                <a:gd name="connsiteX52" fmla="*/ 416873 w 530811"/>
                <a:gd name="connsiteY52" fmla="*/ 693486 h 734967"/>
                <a:gd name="connsiteX53" fmla="*/ 397366 w 530811"/>
                <a:gd name="connsiteY53" fmla="*/ 715298 h 734967"/>
                <a:gd name="connsiteX54" fmla="*/ 397719 w 530811"/>
                <a:gd name="connsiteY54" fmla="*/ 706740 h 734967"/>
                <a:gd name="connsiteX55" fmla="*/ 367875 w 530811"/>
                <a:gd name="connsiteY55" fmla="*/ 690227 h 734967"/>
                <a:gd name="connsiteX56" fmla="*/ 358669 w 530811"/>
                <a:gd name="connsiteY56" fmla="*/ 701896 h 734967"/>
                <a:gd name="connsiteX57" fmla="*/ 326171 w 530811"/>
                <a:gd name="connsiteY57" fmla="*/ 706215 h 734967"/>
                <a:gd name="connsiteX58" fmla="*/ 321438 w 530811"/>
                <a:gd name="connsiteY58" fmla="*/ 729928 h 734967"/>
                <a:gd name="connsiteX59" fmla="*/ 307463 w 530811"/>
                <a:gd name="connsiteY59" fmla="*/ 733002 h 734967"/>
                <a:gd name="connsiteX60" fmla="*/ 293301 w 530811"/>
                <a:gd name="connsiteY60" fmla="*/ 724199 h 734967"/>
                <a:gd name="connsiteX61" fmla="*/ 290183 w 530811"/>
                <a:gd name="connsiteY61" fmla="*/ 699184 h 734967"/>
                <a:gd name="connsiteX62" fmla="*/ 297013 w 530811"/>
                <a:gd name="connsiteY62" fmla="*/ 688741 h 734967"/>
                <a:gd name="connsiteX63" fmla="*/ 282295 w 530811"/>
                <a:gd name="connsiteY63" fmla="*/ 681729 h 734967"/>
                <a:gd name="connsiteX64" fmla="*/ 273851 w 530811"/>
                <a:gd name="connsiteY64" fmla="*/ 666064 h 734967"/>
                <a:gd name="connsiteX65" fmla="*/ 234708 w 530811"/>
                <a:gd name="connsiteY65" fmla="*/ 655283 h 734967"/>
                <a:gd name="connsiteX66" fmla="*/ 209819 w 530811"/>
                <a:gd name="connsiteY66" fmla="*/ 659243 h 734967"/>
                <a:gd name="connsiteX67" fmla="*/ 192057 w 530811"/>
                <a:gd name="connsiteY67" fmla="*/ 670574 h 734967"/>
                <a:gd name="connsiteX68" fmla="*/ 194285 w 530811"/>
                <a:gd name="connsiteY68" fmla="*/ 684674 h 734967"/>
                <a:gd name="connsiteX69" fmla="*/ 176319 w 530811"/>
                <a:gd name="connsiteY69" fmla="*/ 705392 h 734967"/>
                <a:gd name="connsiteX70" fmla="*/ 166816 w 530811"/>
                <a:gd name="connsiteY70" fmla="*/ 683091 h 734967"/>
                <a:gd name="connsiteX71" fmla="*/ 151523 w 530811"/>
                <a:gd name="connsiteY71" fmla="*/ 677870 h 734967"/>
                <a:gd name="connsiteX72" fmla="*/ 153564 w 530811"/>
                <a:gd name="connsiteY72" fmla="*/ 663939 h 734967"/>
                <a:gd name="connsiteX73" fmla="*/ 137139 w 530811"/>
                <a:gd name="connsiteY73" fmla="*/ 662300 h 734967"/>
                <a:gd name="connsiteX74" fmla="*/ 106422 w 530811"/>
                <a:gd name="connsiteY74" fmla="*/ 651029 h 734967"/>
                <a:gd name="connsiteX75" fmla="*/ 78879 w 530811"/>
                <a:gd name="connsiteY75" fmla="*/ 622245 h 734967"/>
                <a:gd name="connsiteX76" fmla="*/ 66463 w 530811"/>
                <a:gd name="connsiteY76" fmla="*/ 619117 h 734967"/>
                <a:gd name="connsiteX77" fmla="*/ 66481 w 530811"/>
                <a:gd name="connsiteY77" fmla="*/ 597853 h 734967"/>
                <a:gd name="connsiteX78" fmla="*/ 53805 w 530811"/>
                <a:gd name="connsiteY78" fmla="*/ 576911 h 734967"/>
                <a:gd name="connsiteX79" fmla="*/ 75483 w 530811"/>
                <a:gd name="connsiteY79" fmla="*/ 558152 h 734967"/>
                <a:gd name="connsiteX80" fmla="*/ 72012 w 530811"/>
                <a:gd name="connsiteY80" fmla="*/ 541695 h 734967"/>
                <a:gd name="connsiteX81" fmla="*/ 93449 w 530811"/>
                <a:gd name="connsiteY81" fmla="*/ 537434 h 734967"/>
                <a:gd name="connsiteX82" fmla="*/ 75094 w 530811"/>
                <a:gd name="connsiteY82" fmla="*/ 518245 h 734967"/>
                <a:gd name="connsiteX83" fmla="*/ 63994 w 530811"/>
                <a:gd name="connsiteY83" fmla="*/ 523412 h 734967"/>
                <a:gd name="connsiteX84" fmla="*/ 54863 w 530811"/>
                <a:gd name="connsiteY84" fmla="*/ 508707 h 734967"/>
                <a:gd name="connsiteX85" fmla="*/ 69006 w 530811"/>
                <a:gd name="connsiteY85" fmla="*/ 501355 h 734967"/>
                <a:gd name="connsiteX86" fmla="*/ 77023 w 530811"/>
                <a:gd name="connsiteY86" fmla="*/ 482222 h 734967"/>
                <a:gd name="connsiteX87" fmla="*/ 73311 w 530811"/>
                <a:gd name="connsiteY87" fmla="*/ 458998 h 734967"/>
                <a:gd name="connsiteX88" fmla="*/ 80828 w 530811"/>
                <a:gd name="connsiteY88" fmla="*/ 452701 h 734967"/>
                <a:gd name="connsiteX89" fmla="*/ 104158 w 530811"/>
                <a:gd name="connsiteY89" fmla="*/ 454943 h 734967"/>
                <a:gd name="connsiteX90" fmla="*/ 111563 w 530811"/>
                <a:gd name="connsiteY90" fmla="*/ 442708 h 734967"/>
                <a:gd name="connsiteX91" fmla="*/ 100687 w 530811"/>
                <a:gd name="connsiteY91" fmla="*/ 438486 h 734967"/>
                <a:gd name="connsiteX92" fmla="*/ 106515 w 530811"/>
                <a:gd name="connsiteY92" fmla="*/ 416300 h 734967"/>
                <a:gd name="connsiteX93" fmla="*/ 103824 w 530811"/>
                <a:gd name="connsiteY93" fmla="*/ 388664 h 734967"/>
                <a:gd name="connsiteX94" fmla="*/ 116389 w 530811"/>
                <a:gd name="connsiteY94" fmla="*/ 387513 h 734967"/>
                <a:gd name="connsiteX95" fmla="*/ 99332 w 530811"/>
                <a:gd name="connsiteY95" fmla="*/ 360463 h 734967"/>
                <a:gd name="connsiteX96" fmla="*/ 77487 w 530811"/>
                <a:gd name="connsiteY96" fmla="*/ 362237 h 734967"/>
                <a:gd name="connsiteX97" fmla="*/ 58390 w 530811"/>
                <a:gd name="connsiteY97" fmla="*/ 349117 h 734967"/>
                <a:gd name="connsiteX98" fmla="*/ 56534 w 530811"/>
                <a:gd name="connsiteY98" fmla="*/ 321350 h 734967"/>
                <a:gd name="connsiteX99" fmla="*/ 25242 w 530811"/>
                <a:gd name="connsiteY99" fmla="*/ 311869 h 734967"/>
                <a:gd name="connsiteX100" fmla="*/ 21047 w 530811"/>
                <a:gd name="connsiteY100" fmla="*/ 301483 h 734967"/>
                <a:gd name="connsiteX101" fmla="*/ 30513 w 530811"/>
                <a:gd name="connsiteY101" fmla="*/ 291472 h 734967"/>
                <a:gd name="connsiteX102" fmla="*/ 24388 w 530811"/>
                <a:gd name="connsiteY102" fmla="*/ 279690 h 734967"/>
                <a:gd name="connsiteX103" fmla="*/ 12769 w 530811"/>
                <a:gd name="connsiteY103" fmla="*/ 281539 h 734967"/>
                <a:gd name="connsiteX104" fmla="*/ 2784 w 530811"/>
                <a:gd name="connsiteY104" fmla="*/ 266968 h 734967"/>
                <a:gd name="connsiteX105" fmla="*/ 13345 w 530811"/>
                <a:gd name="connsiteY105" fmla="*/ 258484 h 734967"/>
                <a:gd name="connsiteX106" fmla="*/ 18244 w 530811"/>
                <a:gd name="connsiteY106" fmla="*/ 230490 h 734967"/>
                <a:gd name="connsiteX107" fmla="*/ 31775 w 530811"/>
                <a:gd name="connsiteY107" fmla="*/ 213883 h 734967"/>
                <a:gd name="connsiteX108" fmla="*/ 23293 w 530811"/>
                <a:gd name="connsiteY108" fmla="*/ 203326 h 734967"/>
                <a:gd name="connsiteX109" fmla="*/ 43634 w 530811"/>
                <a:gd name="connsiteY109" fmla="*/ 197537 h 734967"/>
                <a:gd name="connsiteX110" fmla="*/ 49945 w 530811"/>
                <a:gd name="connsiteY110" fmla="*/ 183777 h 734967"/>
                <a:gd name="connsiteX111" fmla="*/ 38326 w 530811"/>
                <a:gd name="connsiteY111" fmla="*/ 169469 h 734967"/>
                <a:gd name="connsiteX112" fmla="*/ 43876 w 530811"/>
                <a:gd name="connsiteY112" fmla="*/ 145624 h 734967"/>
                <a:gd name="connsiteX113" fmla="*/ 25965 w 530811"/>
                <a:gd name="connsiteY113" fmla="*/ 139969 h 734967"/>
                <a:gd name="connsiteX114" fmla="*/ 40052 w 530811"/>
                <a:gd name="connsiteY114" fmla="*/ 121570 h 734967"/>
                <a:gd name="connsiteX115" fmla="*/ 74889 w 530811"/>
                <a:gd name="connsiteY115" fmla="*/ 137291 h 734967"/>
                <a:gd name="connsiteX116" fmla="*/ 105680 w 530811"/>
                <a:gd name="connsiteY116" fmla="*/ 100924 h 734967"/>
                <a:gd name="connsiteX117" fmla="*/ 129919 w 530811"/>
                <a:gd name="connsiteY117" fmla="*/ 92817 h 734967"/>
                <a:gd name="connsiteX118" fmla="*/ 135339 w 530811"/>
                <a:gd name="connsiteY118" fmla="*/ 68142 h 734967"/>
                <a:gd name="connsiteX119" fmla="*/ 161397 w 530811"/>
                <a:gd name="connsiteY119" fmla="*/ 55492 h 734967"/>
                <a:gd name="connsiteX120" fmla="*/ 182277 w 530811"/>
                <a:gd name="connsiteY120" fmla="*/ 15603 h 734967"/>
                <a:gd name="connsiteX121" fmla="*/ 173757 w 530811"/>
                <a:gd name="connsiteY121" fmla="*/ 10156 h 734967"/>
                <a:gd name="connsiteX122" fmla="*/ 190053 w 530811"/>
                <a:gd name="connsiteY122" fmla="*/ 10965 h 734967"/>
                <a:gd name="connsiteX123" fmla="*/ 204066 w 530811"/>
                <a:gd name="connsiteY123" fmla="*/ 2784 h 734967"/>
                <a:gd name="connsiteX124" fmla="*/ 217911 w 530811"/>
                <a:gd name="connsiteY124" fmla="*/ 15035 h 734967"/>
                <a:gd name="connsiteX125" fmla="*/ 219192 w 530811"/>
                <a:gd name="connsiteY125" fmla="*/ 28439 h 734967"/>
                <a:gd name="connsiteX126" fmla="*/ 234968 w 530811"/>
                <a:gd name="connsiteY126" fmla="*/ 25932 h 734967"/>
                <a:gd name="connsiteX127" fmla="*/ 242225 w 530811"/>
                <a:gd name="connsiteY127" fmla="*/ 34131 h 734967"/>
                <a:gd name="connsiteX128" fmla="*/ 259949 w 530811"/>
                <a:gd name="connsiteY128" fmla="*/ 27910 h 734967"/>
                <a:gd name="connsiteX129" fmla="*/ 276431 w 530811"/>
                <a:gd name="connsiteY129" fmla="*/ 40596 h 734967"/>
                <a:gd name="connsiteX130" fmla="*/ 292596 w 530811"/>
                <a:gd name="connsiteY130" fmla="*/ 40575 h 734967"/>
                <a:gd name="connsiteX131" fmla="*/ 298813 w 530811"/>
                <a:gd name="connsiteY131" fmla="*/ 58294 h 734967"/>
                <a:gd name="connsiteX132" fmla="*/ 310952 w 530811"/>
                <a:gd name="connsiteY132" fmla="*/ 59764 h 734967"/>
                <a:gd name="connsiteX133" fmla="*/ 327897 w 530811"/>
                <a:gd name="connsiteY133" fmla="*/ 48567 h 734967"/>
                <a:gd name="connsiteX134" fmla="*/ 359634 w 530811"/>
                <a:gd name="connsiteY134" fmla="*/ 50319 h 734967"/>
                <a:gd name="connsiteX135" fmla="*/ 364033 w 530811"/>
                <a:gd name="connsiteY135" fmla="*/ 72582 h 734967"/>
                <a:gd name="connsiteX136" fmla="*/ 373239 w 530811"/>
                <a:gd name="connsiteY136" fmla="*/ 60911 h 734967"/>
                <a:gd name="connsiteX137" fmla="*/ 384207 w 530811"/>
                <a:gd name="connsiteY137" fmla="*/ 71073 h 734967"/>
                <a:gd name="connsiteX138" fmla="*/ 406350 w 530811"/>
                <a:gd name="connsiteY138" fmla="*/ 65850 h 73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530811" h="734967">
                  <a:moveTo>
                    <a:pt x="406350" y="65850"/>
                  </a:moveTo>
                  <a:lnTo>
                    <a:pt x="424538" y="89319"/>
                  </a:lnTo>
                  <a:lnTo>
                    <a:pt x="472552" y="171826"/>
                  </a:lnTo>
                  <a:lnTo>
                    <a:pt x="453937" y="167133"/>
                  </a:lnTo>
                  <a:lnTo>
                    <a:pt x="439943" y="154052"/>
                  </a:lnTo>
                  <a:lnTo>
                    <a:pt x="443079" y="179067"/>
                  </a:lnTo>
                  <a:lnTo>
                    <a:pt x="431405" y="169867"/>
                  </a:lnTo>
                  <a:lnTo>
                    <a:pt x="419750" y="176825"/>
                  </a:lnTo>
                  <a:lnTo>
                    <a:pt x="399761" y="152790"/>
                  </a:lnTo>
                  <a:lnTo>
                    <a:pt x="371234" y="144571"/>
                  </a:lnTo>
                  <a:lnTo>
                    <a:pt x="385711" y="166080"/>
                  </a:lnTo>
                  <a:lnTo>
                    <a:pt x="385340" y="179748"/>
                  </a:lnTo>
                  <a:lnTo>
                    <a:pt x="367912" y="182519"/>
                  </a:lnTo>
                  <a:lnTo>
                    <a:pt x="363588" y="224878"/>
                  </a:lnTo>
                  <a:lnTo>
                    <a:pt x="369193" y="233341"/>
                  </a:lnTo>
                  <a:lnTo>
                    <a:pt x="359913" y="255227"/>
                  </a:lnTo>
                  <a:lnTo>
                    <a:pt x="372218" y="289837"/>
                  </a:lnTo>
                  <a:lnTo>
                    <a:pt x="395380" y="296357"/>
                  </a:lnTo>
                  <a:lnTo>
                    <a:pt x="404586" y="322107"/>
                  </a:lnTo>
                  <a:lnTo>
                    <a:pt x="422292" y="337150"/>
                  </a:lnTo>
                  <a:lnTo>
                    <a:pt x="439107" y="378696"/>
                  </a:lnTo>
                  <a:lnTo>
                    <a:pt x="455106" y="399111"/>
                  </a:lnTo>
                  <a:lnTo>
                    <a:pt x="468172" y="406387"/>
                  </a:lnTo>
                  <a:lnTo>
                    <a:pt x="467411" y="417565"/>
                  </a:lnTo>
                  <a:lnTo>
                    <a:pt x="491743" y="431552"/>
                  </a:lnTo>
                  <a:lnTo>
                    <a:pt x="503195" y="396563"/>
                  </a:lnTo>
                  <a:lnTo>
                    <a:pt x="529178" y="394132"/>
                  </a:lnTo>
                  <a:lnTo>
                    <a:pt x="518080" y="420561"/>
                  </a:lnTo>
                  <a:lnTo>
                    <a:pt x="524130" y="442560"/>
                  </a:lnTo>
                  <a:lnTo>
                    <a:pt x="502267" y="465596"/>
                  </a:lnTo>
                  <a:lnTo>
                    <a:pt x="520029" y="491684"/>
                  </a:lnTo>
                  <a:lnTo>
                    <a:pt x="502619" y="510611"/>
                  </a:lnTo>
                  <a:lnTo>
                    <a:pt x="511342" y="527935"/>
                  </a:lnTo>
                  <a:lnTo>
                    <a:pt x="502842" y="554798"/>
                  </a:lnTo>
                  <a:lnTo>
                    <a:pt x="481535" y="559887"/>
                  </a:lnTo>
                  <a:lnTo>
                    <a:pt x="488941" y="531498"/>
                  </a:lnTo>
                  <a:lnTo>
                    <a:pt x="489386" y="507614"/>
                  </a:lnTo>
                  <a:lnTo>
                    <a:pt x="477360" y="528237"/>
                  </a:lnTo>
                  <a:lnTo>
                    <a:pt x="450930" y="533291"/>
                  </a:lnTo>
                  <a:lnTo>
                    <a:pt x="447329" y="553423"/>
                  </a:lnTo>
                  <a:lnTo>
                    <a:pt x="454772" y="557345"/>
                  </a:lnTo>
                  <a:lnTo>
                    <a:pt x="446791" y="571370"/>
                  </a:lnTo>
                  <a:lnTo>
                    <a:pt x="436435" y="570465"/>
                  </a:lnTo>
                  <a:lnTo>
                    <a:pt x="413012" y="599704"/>
                  </a:lnTo>
                  <a:lnTo>
                    <a:pt x="414646" y="620704"/>
                  </a:lnTo>
                  <a:lnTo>
                    <a:pt x="423350" y="621872"/>
                  </a:lnTo>
                  <a:lnTo>
                    <a:pt x="417151" y="636463"/>
                  </a:lnTo>
                  <a:lnTo>
                    <a:pt x="427731" y="644134"/>
                  </a:lnTo>
                  <a:lnTo>
                    <a:pt x="438829" y="638969"/>
                  </a:lnTo>
                  <a:lnTo>
                    <a:pt x="430106" y="659065"/>
                  </a:lnTo>
                  <a:lnTo>
                    <a:pt x="421290" y="657066"/>
                  </a:lnTo>
                  <a:lnTo>
                    <a:pt x="413142" y="675370"/>
                  </a:lnTo>
                  <a:lnTo>
                    <a:pt x="416873" y="693486"/>
                  </a:lnTo>
                  <a:lnTo>
                    <a:pt x="397366" y="715298"/>
                  </a:lnTo>
                  <a:lnTo>
                    <a:pt x="397719" y="706740"/>
                  </a:lnTo>
                  <a:lnTo>
                    <a:pt x="367875" y="690227"/>
                  </a:lnTo>
                  <a:lnTo>
                    <a:pt x="358669" y="701896"/>
                  </a:lnTo>
                  <a:lnTo>
                    <a:pt x="326171" y="706215"/>
                  </a:lnTo>
                  <a:lnTo>
                    <a:pt x="321438" y="729928"/>
                  </a:lnTo>
                  <a:lnTo>
                    <a:pt x="307463" y="733002"/>
                  </a:lnTo>
                  <a:lnTo>
                    <a:pt x="293301" y="724199"/>
                  </a:lnTo>
                  <a:lnTo>
                    <a:pt x="290183" y="699184"/>
                  </a:lnTo>
                  <a:lnTo>
                    <a:pt x="297013" y="688741"/>
                  </a:lnTo>
                  <a:lnTo>
                    <a:pt x="282295" y="681729"/>
                  </a:lnTo>
                  <a:lnTo>
                    <a:pt x="273851" y="666064"/>
                  </a:lnTo>
                  <a:lnTo>
                    <a:pt x="234708" y="655283"/>
                  </a:lnTo>
                  <a:lnTo>
                    <a:pt x="209819" y="659243"/>
                  </a:lnTo>
                  <a:lnTo>
                    <a:pt x="192057" y="670574"/>
                  </a:lnTo>
                  <a:lnTo>
                    <a:pt x="194285" y="684674"/>
                  </a:lnTo>
                  <a:lnTo>
                    <a:pt x="176319" y="705392"/>
                  </a:lnTo>
                  <a:lnTo>
                    <a:pt x="166816" y="683091"/>
                  </a:lnTo>
                  <a:lnTo>
                    <a:pt x="151523" y="677870"/>
                  </a:lnTo>
                  <a:lnTo>
                    <a:pt x="153564" y="663939"/>
                  </a:lnTo>
                  <a:lnTo>
                    <a:pt x="137139" y="662300"/>
                  </a:lnTo>
                  <a:lnTo>
                    <a:pt x="106422" y="651029"/>
                  </a:lnTo>
                  <a:lnTo>
                    <a:pt x="78879" y="622245"/>
                  </a:lnTo>
                  <a:lnTo>
                    <a:pt x="66463" y="619117"/>
                  </a:lnTo>
                  <a:lnTo>
                    <a:pt x="66481" y="597853"/>
                  </a:lnTo>
                  <a:lnTo>
                    <a:pt x="53805" y="576911"/>
                  </a:lnTo>
                  <a:lnTo>
                    <a:pt x="75483" y="558152"/>
                  </a:lnTo>
                  <a:lnTo>
                    <a:pt x="72012" y="541695"/>
                  </a:lnTo>
                  <a:lnTo>
                    <a:pt x="93449" y="537434"/>
                  </a:lnTo>
                  <a:lnTo>
                    <a:pt x="75094" y="518245"/>
                  </a:lnTo>
                  <a:lnTo>
                    <a:pt x="63994" y="523412"/>
                  </a:lnTo>
                  <a:lnTo>
                    <a:pt x="54863" y="508707"/>
                  </a:lnTo>
                  <a:lnTo>
                    <a:pt x="69006" y="501355"/>
                  </a:lnTo>
                  <a:lnTo>
                    <a:pt x="77023" y="482222"/>
                  </a:lnTo>
                  <a:lnTo>
                    <a:pt x="73311" y="458998"/>
                  </a:lnTo>
                  <a:lnTo>
                    <a:pt x="80828" y="452701"/>
                  </a:lnTo>
                  <a:lnTo>
                    <a:pt x="104158" y="454943"/>
                  </a:lnTo>
                  <a:lnTo>
                    <a:pt x="111563" y="442708"/>
                  </a:lnTo>
                  <a:lnTo>
                    <a:pt x="100687" y="438486"/>
                  </a:lnTo>
                  <a:lnTo>
                    <a:pt x="106515" y="416300"/>
                  </a:lnTo>
                  <a:lnTo>
                    <a:pt x="103824" y="388664"/>
                  </a:lnTo>
                  <a:lnTo>
                    <a:pt x="116389" y="387513"/>
                  </a:lnTo>
                  <a:lnTo>
                    <a:pt x="99332" y="360463"/>
                  </a:lnTo>
                  <a:lnTo>
                    <a:pt x="77487" y="362237"/>
                  </a:lnTo>
                  <a:lnTo>
                    <a:pt x="58390" y="349117"/>
                  </a:lnTo>
                  <a:lnTo>
                    <a:pt x="56534" y="321350"/>
                  </a:lnTo>
                  <a:lnTo>
                    <a:pt x="25242" y="311869"/>
                  </a:lnTo>
                  <a:lnTo>
                    <a:pt x="21047" y="301483"/>
                  </a:lnTo>
                  <a:lnTo>
                    <a:pt x="30513" y="291472"/>
                  </a:lnTo>
                  <a:lnTo>
                    <a:pt x="24388" y="279690"/>
                  </a:lnTo>
                  <a:lnTo>
                    <a:pt x="12769" y="281539"/>
                  </a:lnTo>
                  <a:lnTo>
                    <a:pt x="2784" y="266968"/>
                  </a:lnTo>
                  <a:lnTo>
                    <a:pt x="13345" y="258484"/>
                  </a:lnTo>
                  <a:lnTo>
                    <a:pt x="18244" y="230490"/>
                  </a:lnTo>
                  <a:lnTo>
                    <a:pt x="31775" y="213883"/>
                  </a:lnTo>
                  <a:lnTo>
                    <a:pt x="23293" y="203326"/>
                  </a:lnTo>
                  <a:lnTo>
                    <a:pt x="43634" y="197537"/>
                  </a:lnTo>
                  <a:lnTo>
                    <a:pt x="49945" y="183777"/>
                  </a:lnTo>
                  <a:lnTo>
                    <a:pt x="38326" y="169469"/>
                  </a:lnTo>
                  <a:lnTo>
                    <a:pt x="43876" y="145624"/>
                  </a:lnTo>
                  <a:lnTo>
                    <a:pt x="25965" y="139969"/>
                  </a:lnTo>
                  <a:lnTo>
                    <a:pt x="40052" y="121570"/>
                  </a:lnTo>
                  <a:lnTo>
                    <a:pt x="74889" y="137291"/>
                  </a:lnTo>
                  <a:lnTo>
                    <a:pt x="105680" y="100924"/>
                  </a:lnTo>
                  <a:lnTo>
                    <a:pt x="129919" y="92817"/>
                  </a:lnTo>
                  <a:lnTo>
                    <a:pt x="135339" y="68142"/>
                  </a:lnTo>
                  <a:lnTo>
                    <a:pt x="161397" y="55492"/>
                  </a:lnTo>
                  <a:lnTo>
                    <a:pt x="182277" y="15603"/>
                  </a:lnTo>
                  <a:lnTo>
                    <a:pt x="173757" y="10156"/>
                  </a:lnTo>
                  <a:lnTo>
                    <a:pt x="190053" y="10965"/>
                  </a:lnTo>
                  <a:lnTo>
                    <a:pt x="204066" y="2784"/>
                  </a:lnTo>
                  <a:lnTo>
                    <a:pt x="217911" y="15035"/>
                  </a:lnTo>
                  <a:lnTo>
                    <a:pt x="219192" y="28439"/>
                  </a:lnTo>
                  <a:lnTo>
                    <a:pt x="234968" y="25932"/>
                  </a:lnTo>
                  <a:lnTo>
                    <a:pt x="242225" y="34131"/>
                  </a:lnTo>
                  <a:lnTo>
                    <a:pt x="259949" y="27910"/>
                  </a:lnTo>
                  <a:lnTo>
                    <a:pt x="276431" y="40596"/>
                  </a:lnTo>
                  <a:lnTo>
                    <a:pt x="292596" y="40575"/>
                  </a:lnTo>
                  <a:lnTo>
                    <a:pt x="298813" y="58294"/>
                  </a:lnTo>
                  <a:lnTo>
                    <a:pt x="310952" y="59764"/>
                  </a:lnTo>
                  <a:lnTo>
                    <a:pt x="327897" y="48567"/>
                  </a:lnTo>
                  <a:lnTo>
                    <a:pt x="359634" y="50319"/>
                  </a:lnTo>
                  <a:lnTo>
                    <a:pt x="364033" y="72582"/>
                  </a:lnTo>
                  <a:lnTo>
                    <a:pt x="373239" y="60911"/>
                  </a:lnTo>
                  <a:lnTo>
                    <a:pt x="384207" y="71073"/>
                  </a:lnTo>
                  <a:lnTo>
                    <a:pt x="406350" y="658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64DB343-20B5-4B82-AB81-67E7702C8629}"/>
                </a:ext>
              </a:extLst>
            </p:cNvPr>
            <p:cNvSpPr/>
            <p:nvPr/>
          </p:nvSpPr>
          <p:spPr>
            <a:xfrm>
              <a:off x="1032306" y="5791864"/>
              <a:ext cx="27840" cy="37120"/>
            </a:xfrm>
            <a:custGeom>
              <a:avLst/>
              <a:gdLst>
                <a:gd name="connsiteX0" fmla="*/ 8534 w 27839"/>
                <a:gd name="connsiteY0" fmla="*/ 32758 h 37119"/>
                <a:gd name="connsiteX1" fmla="*/ 2784 w 27839"/>
                <a:gd name="connsiteY1" fmla="*/ 7312 h 37119"/>
                <a:gd name="connsiteX2" fmla="*/ 13230 w 27839"/>
                <a:gd name="connsiteY2" fmla="*/ 14161 h 37119"/>
                <a:gd name="connsiteX3" fmla="*/ 25884 w 27839"/>
                <a:gd name="connsiteY3" fmla="*/ 2784 h 37119"/>
                <a:gd name="connsiteX4" fmla="*/ 24978 w 27839"/>
                <a:gd name="connsiteY4" fmla="*/ 13140 h 37119"/>
                <a:gd name="connsiteX5" fmla="*/ 17642 w 27839"/>
                <a:gd name="connsiteY5" fmla="*/ 15163 h 37119"/>
                <a:gd name="connsiteX6" fmla="*/ 21489 w 27839"/>
                <a:gd name="connsiteY6" fmla="*/ 17947 h 37119"/>
                <a:gd name="connsiteX7" fmla="*/ 15001 w 27839"/>
                <a:gd name="connsiteY7" fmla="*/ 35987 h 37119"/>
                <a:gd name="connsiteX8" fmla="*/ 8534 w 27839"/>
                <a:gd name="connsiteY8" fmla="*/ 32758 h 37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839" h="37119">
                  <a:moveTo>
                    <a:pt x="8534" y="32758"/>
                  </a:moveTo>
                  <a:lnTo>
                    <a:pt x="2784" y="7312"/>
                  </a:lnTo>
                  <a:lnTo>
                    <a:pt x="13230" y="14161"/>
                  </a:lnTo>
                  <a:lnTo>
                    <a:pt x="25884" y="2784"/>
                  </a:lnTo>
                  <a:lnTo>
                    <a:pt x="24978" y="13140"/>
                  </a:lnTo>
                  <a:lnTo>
                    <a:pt x="17642" y="15163"/>
                  </a:lnTo>
                  <a:lnTo>
                    <a:pt x="21489" y="17947"/>
                  </a:lnTo>
                  <a:lnTo>
                    <a:pt x="15001" y="35987"/>
                  </a:lnTo>
                  <a:lnTo>
                    <a:pt x="8534" y="32758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24D3CDB-A33B-47EF-8B66-473C9E6900F0}"/>
                </a:ext>
              </a:extLst>
            </p:cNvPr>
            <p:cNvSpPr/>
            <p:nvPr/>
          </p:nvSpPr>
          <p:spPr>
            <a:xfrm>
              <a:off x="1038054" y="5716660"/>
              <a:ext cx="178174" cy="193022"/>
            </a:xfrm>
            <a:custGeom>
              <a:avLst/>
              <a:gdLst>
                <a:gd name="connsiteX0" fmla="*/ 2784 w 178174"/>
                <a:gd name="connsiteY0" fmla="*/ 107962 h 193021"/>
                <a:gd name="connsiteX1" fmla="*/ 9252 w 178174"/>
                <a:gd name="connsiteY1" fmla="*/ 111191 h 193021"/>
                <a:gd name="connsiteX2" fmla="*/ 15739 w 178174"/>
                <a:gd name="connsiteY2" fmla="*/ 93151 h 193021"/>
                <a:gd name="connsiteX3" fmla="*/ 11893 w 178174"/>
                <a:gd name="connsiteY3" fmla="*/ 90367 h 193021"/>
                <a:gd name="connsiteX4" fmla="*/ 19228 w 178174"/>
                <a:gd name="connsiteY4" fmla="*/ 88345 h 193021"/>
                <a:gd name="connsiteX5" fmla="*/ 20134 w 178174"/>
                <a:gd name="connsiteY5" fmla="*/ 77988 h 193021"/>
                <a:gd name="connsiteX6" fmla="*/ 32655 w 178174"/>
                <a:gd name="connsiteY6" fmla="*/ 65794 h 193021"/>
                <a:gd name="connsiteX7" fmla="*/ 30940 w 178174"/>
                <a:gd name="connsiteY7" fmla="*/ 55011 h 193021"/>
                <a:gd name="connsiteX8" fmla="*/ 23247 w 178174"/>
                <a:gd name="connsiteY8" fmla="*/ 49443 h 193021"/>
                <a:gd name="connsiteX9" fmla="*/ 20382 w 178174"/>
                <a:gd name="connsiteY9" fmla="*/ 26076 h 193021"/>
                <a:gd name="connsiteX10" fmla="*/ 5297 w 178174"/>
                <a:gd name="connsiteY10" fmla="*/ 11470 h 193021"/>
                <a:gd name="connsiteX11" fmla="*/ 6467 w 178174"/>
                <a:gd name="connsiteY11" fmla="*/ 2784 h 193021"/>
                <a:gd name="connsiteX12" fmla="*/ 53475 w 178174"/>
                <a:gd name="connsiteY12" fmla="*/ 14866 h 193021"/>
                <a:gd name="connsiteX13" fmla="*/ 78611 w 178174"/>
                <a:gd name="connsiteY13" fmla="*/ 33816 h 193021"/>
                <a:gd name="connsiteX14" fmla="*/ 86341 w 178174"/>
                <a:gd name="connsiteY14" fmla="*/ 34298 h 193021"/>
                <a:gd name="connsiteX15" fmla="*/ 80873 w 178174"/>
                <a:gd name="connsiteY15" fmla="*/ 26670 h 193021"/>
                <a:gd name="connsiteX16" fmla="*/ 96978 w 178174"/>
                <a:gd name="connsiteY16" fmla="*/ 15590 h 193021"/>
                <a:gd name="connsiteX17" fmla="*/ 96770 w 178174"/>
                <a:gd name="connsiteY17" fmla="*/ 24981 h 193021"/>
                <a:gd name="connsiteX18" fmla="*/ 101181 w 178174"/>
                <a:gd name="connsiteY18" fmla="*/ 25984 h 193021"/>
                <a:gd name="connsiteX19" fmla="*/ 95469 w 178174"/>
                <a:gd name="connsiteY19" fmla="*/ 32851 h 193021"/>
                <a:gd name="connsiteX20" fmla="*/ 98882 w 178174"/>
                <a:gd name="connsiteY20" fmla="*/ 38252 h 193021"/>
                <a:gd name="connsiteX21" fmla="*/ 101408 w 178174"/>
                <a:gd name="connsiteY21" fmla="*/ 32758 h 193021"/>
                <a:gd name="connsiteX22" fmla="*/ 104689 w 178174"/>
                <a:gd name="connsiteY22" fmla="*/ 37324 h 193021"/>
                <a:gd name="connsiteX23" fmla="*/ 101558 w 178174"/>
                <a:gd name="connsiteY23" fmla="*/ 49740 h 193021"/>
                <a:gd name="connsiteX24" fmla="*/ 105838 w 178174"/>
                <a:gd name="connsiteY24" fmla="*/ 49907 h 193021"/>
                <a:gd name="connsiteX25" fmla="*/ 106309 w 178174"/>
                <a:gd name="connsiteY25" fmla="*/ 42168 h 193021"/>
                <a:gd name="connsiteX26" fmla="*/ 114097 w 178174"/>
                <a:gd name="connsiteY26" fmla="*/ 53693 h 193021"/>
                <a:gd name="connsiteX27" fmla="*/ 108214 w 178174"/>
                <a:gd name="connsiteY27" fmla="*/ 64829 h 193021"/>
                <a:gd name="connsiteX28" fmla="*/ 113060 w 178174"/>
                <a:gd name="connsiteY28" fmla="*/ 63214 h 193021"/>
                <a:gd name="connsiteX29" fmla="*/ 112059 w 178174"/>
                <a:gd name="connsiteY29" fmla="*/ 67632 h 193021"/>
                <a:gd name="connsiteX30" fmla="*/ 117302 w 178174"/>
                <a:gd name="connsiteY30" fmla="*/ 68485 h 193021"/>
                <a:gd name="connsiteX31" fmla="*/ 119264 w 178174"/>
                <a:gd name="connsiteY31" fmla="*/ 64773 h 193021"/>
                <a:gd name="connsiteX32" fmla="*/ 120885 w 178174"/>
                <a:gd name="connsiteY32" fmla="*/ 69618 h 193021"/>
                <a:gd name="connsiteX33" fmla="*/ 104988 w 178174"/>
                <a:gd name="connsiteY33" fmla="*/ 71307 h 193021"/>
                <a:gd name="connsiteX34" fmla="*/ 123863 w 178174"/>
                <a:gd name="connsiteY34" fmla="*/ 77654 h 193021"/>
                <a:gd name="connsiteX35" fmla="*/ 113908 w 178174"/>
                <a:gd name="connsiteY35" fmla="*/ 79232 h 193021"/>
                <a:gd name="connsiteX36" fmla="*/ 118583 w 178174"/>
                <a:gd name="connsiteY36" fmla="*/ 81886 h 193021"/>
                <a:gd name="connsiteX37" fmla="*/ 113171 w 178174"/>
                <a:gd name="connsiteY37" fmla="*/ 85301 h 193021"/>
                <a:gd name="connsiteX38" fmla="*/ 120524 w 178174"/>
                <a:gd name="connsiteY38" fmla="*/ 99443 h 193021"/>
                <a:gd name="connsiteX39" fmla="*/ 116000 w 178174"/>
                <a:gd name="connsiteY39" fmla="*/ 113771 h 193021"/>
                <a:gd name="connsiteX40" fmla="*/ 109927 w 178174"/>
                <a:gd name="connsiteY40" fmla="*/ 113029 h 193021"/>
                <a:gd name="connsiteX41" fmla="*/ 109719 w 178174"/>
                <a:gd name="connsiteY41" fmla="*/ 122420 h 193021"/>
                <a:gd name="connsiteX42" fmla="*/ 120918 w 178174"/>
                <a:gd name="connsiteY42" fmla="*/ 139347 h 193021"/>
                <a:gd name="connsiteX43" fmla="*/ 125239 w 178174"/>
                <a:gd name="connsiteY43" fmla="*/ 96993 h 193021"/>
                <a:gd name="connsiteX44" fmla="*/ 122579 w 178174"/>
                <a:gd name="connsiteY44" fmla="*/ 139087 h 193021"/>
                <a:gd name="connsiteX45" fmla="*/ 134947 w 178174"/>
                <a:gd name="connsiteY45" fmla="*/ 147328 h 193021"/>
                <a:gd name="connsiteX46" fmla="*/ 146564 w 178174"/>
                <a:gd name="connsiteY46" fmla="*/ 145472 h 193021"/>
                <a:gd name="connsiteX47" fmla="*/ 147581 w 178174"/>
                <a:gd name="connsiteY47" fmla="*/ 157220 h 193021"/>
                <a:gd name="connsiteX48" fmla="*/ 165759 w 178174"/>
                <a:gd name="connsiteY48" fmla="*/ 164532 h 193021"/>
                <a:gd name="connsiteX49" fmla="*/ 175733 w 178174"/>
                <a:gd name="connsiteY49" fmla="*/ 179102 h 193021"/>
                <a:gd name="connsiteX50" fmla="*/ 174168 w 178174"/>
                <a:gd name="connsiteY50" fmla="*/ 185301 h 193021"/>
                <a:gd name="connsiteX51" fmla="*/ 161627 w 178174"/>
                <a:gd name="connsiteY51" fmla="*/ 181348 h 193021"/>
                <a:gd name="connsiteX52" fmla="*/ 151332 w 178174"/>
                <a:gd name="connsiteY52" fmla="*/ 191481 h 193021"/>
                <a:gd name="connsiteX53" fmla="*/ 122483 w 178174"/>
                <a:gd name="connsiteY53" fmla="*/ 170564 h 193021"/>
                <a:gd name="connsiteX54" fmla="*/ 114073 w 178174"/>
                <a:gd name="connsiteY54" fmla="*/ 149796 h 193021"/>
                <a:gd name="connsiteX55" fmla="*/ 99138 w 178174"/>
                <a:gd name="connsiteY55" fmla="*/ 152172 h 193021"/>
                <a:gd name="connsiteX56" fmla="*/ 95727 w 178174"/>
                <a:gd name="connsiteY56" fmla="*/ 146752 h 193021"/>
                <a:gd name="connsiteX57" fmla="*/ 79698 w 178174"/>
                <a:gd name="connsiteY57" fmla="*/ 147606 h 193021"/>
                <a:gd name="connsiteX58" fmla="*/ 65179 w 178174"/>
                <a:gd name="connsiteY58" fmla="*/ 131218 h 193021"/>
                <a:gd name="connsiteX59" fmla="*/ 50452 w 178174"/>
                <a:gd name="connsiteY59" fmla="*/ 124202 h 193021"/>
                <a:gd name="connsiteX60" fmla="*/ 35650 w 178174"/>
                <a:gd name="connsiteY60" fmla="*/ 127394 h 193021"/>
                <a:gd name="connsiteX61" fmla="*/ 19660 w 178174"/>
                <a:gd name="connsiteY61" fmla="*/ 123144 h 193021"/>
                <a:gd name="connsiteX62" fmla="*/ 2784 w 178174"/>
                <a:gd name="connsiteY62" fmla="*/ 107962 h 19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78174" h="193021">
                  <a:moveTo>
                    <a:pt x="2784" y="107962"/>
                  </a:moveTo>
                  <a:lnTo>
                    <a:pt x="9252" y="111191"/>
                  </a:lnTo>
                  <a:lnTo>
                    <a:pt x="15739" y="93151"/>
                  </a:lnTo>
                  <a:lnTo>
                    <a:pt x="11893" y="90367"/>
                  </a:lnTo>
                  <a:lnTo>
                    <a:pt x="19228" y="88345"/>
                  </a:lnTo>
                  <a:lnTo>
                    <a:pt x="20134" y="77988"/>
                  </a:lnTo>
                  <a:lnTo>
                    <a:pt x="32655" y="65794"/>
                  </a:lnTo>
                  <a:lnTo>
                    <a:pt x="30940" y="55011"/>
                  </a:lnTo>
                  <a:lnTo>
                    <a:pt x="23247" y="49443"/>
                  </a:lnTo>
                  <a:lnTo>
                    <a:pt x="20382" y="26076"/>
                  </a:lnTo>
                  <a:lnTo>
                    <a:pt x="5297" y="11470"/>
                  </a:lnTo>
                  <a:lnTo>
                    <a:pt x="6467" y="2784"/>
                  </a:lnTo>
                  <a:lnTo>
                    <a:pt x="53475" y="14866"/>
                  </a:lnTo>
                  <a:lnTo>
                    <a:pt x="78611" y="33816"/>
                  </a:lnTo>
                  <a:lnTo>
                    <a:pt x="86341" y="34298"/>
                  </a:lnTo>
                  <a:lnTo>
                    <a:pt x="80873" y="26670"/>
                  </a:lnTo>
                  <a:lnTo>
                    <a:pt x="96978" y="15590"/>
                  </a:lnTo>
                  <a:lnTo>
                    <a:pt x="96770" y="24981"/>
                  </a:lnTo>
                  <a:lnTo>
                    <a:pt x="101181" y="25984"/>
                  </a:lnTo>
                  <a:lnTo>
                    <a:pt x="95469" y="32851"/>
                  </a:lnTo>
                  <a:lnTo>
                    <a:pt x="98882" y="38252"/>
                  </a:lnTo>
                  <a:lnTo>
                    <a:pt x="101408" y="32758"/>
                  </a:lnTo>
                  <a:lnTo>
                    <a:pt x="104689" y="37324"/>
                  </a:lnTo>
                  <a:lnTo>
                    <a:pt x="101558" y="49740"/>
                  </a:lnTo>
                  <a:lnTo>
                    <a:pt x="105838" y="49907"/>
                  </a:lnTo>
                  <a:lnTo>
                    <a:pt x="106309" y="42168"/>
                  </a:lnTo>
                  <a:lnTo>
                    <a:pt x="114097" y="53693"/>
                  </a:lnTo>
                  <a:lnTo>
                    <a:pt x="108214" y="64829"/>
                  </a:lnTo>
                  <a:lnTo>
                    <a:pt x="113060" y="63214"/>
                  </a:lnTo>
                  <a:lnTo>
                    <a:pt x="112059" y="67632"/>
                  </a:lnTo>
                  <a:lnTo>
                    <a:pt x="117302" y="68485"/>
                  </a:lnTo>
                  <a:lnTo>
                    <a:pt x="119264" y="64773"/>
                  </a:lnTo>
                  <a:lnTo>
                    <a:pt x="120885" y="69618"/>
                  </a:lnTo>
                  <a:lnTo>
                    <a:pt x="104988" y="71307"/>
                  </a:lnTo>
                  <a:lnTo>
                    <a:pt x="123863" y="77654"/>
                  </a:lnTo>
                  <a:lnTo>
                    <a:pt x="113908" y="79232"/>
                  </a:lnTo>
                  <a:lnTo>
                    <a:pt x="118583" y="81886"/>
                  </a:lnTo>
                  <a:lnTo>
                    <a:pt x="113171" y="85301"/>
                  </a:lnTo>
                  <a:lnTo>
                    <a:pt x="120524" y="99443"/>
                  </a:lnTo>
                  <a:lnTo>
                    <a:pt x="116000" y="113771"/>
                  </a:lnTo>
                  <a:lnTo>
                    <a:pt x="109927" y="113029"/>
                  </a:lnTo>
                  <a:lnTo>
                    <a:pt x="109719" y="122420"/>
                  </a:lnTo>
                  <a:lnTo>
                    <a:pt x="120918" y="139347"/>
                  </a:lnTo>
                  <a:lnTo>
                    <a:pt x="125239" y="96993"/>
                  </a:lnTo>
                  <a:lnTo>
                    <a:pt x="122579" y="139087"/>
                  </a:lnTo>
                  <a:lnTo>
                    <a:pt x="134947" y="147328"/>
                  </a:lnTo>
                  <a:lnTo>
                    <a:pt x="146564" y="145472"/>
                  </a:lnTo>
                  <a:lnTo>
                    <a:pt x="147581" y="157220"/>
                  </a:lnTo>
                  <a:lnTo>
                    <a:pt x="165759" y="164532"/>
                  </a:lnTo>
                  <a:lnTo>
                    <a:pt x="175733" y="179102"/>
                  </a:lnTo>
                  <a:lnTo>
                    <a:pt x="174168" y="185301"/>
                  </a:lnTo>
                  <a:lnTo>
                    <a:pt x="161627" y="181348"/>
                  </a:lnTo>
                  <a:lnTo>
                    <a:pt x="151332" y="191481"/>
                  </a:lnTo>
                  <a:lnTo>
                    <a:pt x="122483" y="170564"/>
                  </a:lnTo>
                  <a:lnTo>
                    <a:pt x="114073" y="149796"/>
                  </a:lnTo>
                  <a:lnTo>
                    <a:pt x="99138" y="152172"/>
                  </a:lnTo>
                  <a:lnTo>
                    <a:pt x="95727" y="146752"/>
                  </a:lnTo>
                  <a:lnTo>
                    <a:pt x="79698" y="147606"/>
                  </a:lnTo>
                  <a:lnTo>
                    <a:pt x="65179" y="131218"/>
                  </a:lnTo>
                  <a:lnTo>
                    <a:pt x="50452" y="124202"/>
                  </a:lnTo>
                  <a:lnTo>
                    <a:pt x="35650" y="127394"/>
                  </a:lnTo>
                  <a:lnTo>
                    <a:pt x="19660" y="123144"/>
                  </a:lnTo>
                  <a:lnTo>
                    <a:pt x="2784" y="10796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46BC5F7-73E3-485C-84B3-B12F3D8E8536}"/>
                </a:ext>
              </a:extLst>
            </p:cNvPr>
            <p:cNvSpPr/>
            <p:nvPr/>
          </p:nvSpPr>
          <p:spPr>
            <a:xfrm>
              <a:off x="1952925" y="5299213"/>
              <a:ext cx="339645" cy="196734"/>
            </a:xfrm>
            <a:custGeom>
              <a:avLst/>
              <a:gdLst>
                <a:gd name="connsiteX0" fmla="*/ 228629 w 339645"/>
                <a:gd name="connsiteY0" fmla="*/ 81162 h 196733"/>
                <a:gd name="connsiteX1" fmla="*/ 227800 w 339645"/>
                <a:gd name="connsiteY1" fmla="*/ 81292 h 196733"/>
                <a:gd name="connsiteX2" fmla="*/ 227969 w 339645"/>
                <a:gd name="connsiteY2" fmla="*/ 77023 h 196733"/>
                <a:gd name="connsiteX3" fmla="*/ 229762 w 339645"/>
                <a:gd name="connsiteY3" fmla="*/ 77580 h 196733"/>
                <a:gd name="connsiteX4" fmla="*/ 228629 w 339645"/>
                <a:gd name="connsiteY4" fmla="*/ 81162 h 196733"/>
                <a:gd name="connsiteX5" fmla="*/ 337203 w 339645"/>
                <a:gd name="connsiteY5" fmla="*/ 116611 h 196733"/>
                <a:gd name="connsiteX6" fmla="*/ 325644 w 339645"/>
                <a:gd name="connsiteY6" fmla="*/ 129510 h 196733"/>
                <a:gd name="connsiteX7" fmla="*/ 329961 w 339645"/>
                <a:gd name="connsiteY7" fmla="*/ 161990 h 196733"/>
                <a:gd name="connsiteX8" fmla="*/ 324773 w 339645"/>
                <a:gd name="connsiteY8" fmla="*/ 172179 h 196733"/>
                <a:gd name="connsiteX9" fmla="*/ 313498 w 339645"/>
                <a:gd name="connsiteY9" fmla="*/ 165461 h 196733"/>
                <a:gd name="connsiteX10" fmla="*/ 292152 w 339645"/>
                <a:gd name="connsiteY10" fmla="*/ 175668 h 196733"/>
                <a:gd name="connsiteX11" fmla="*/ 275068 w 339645"/>
                <a:gd name="connsiteY11" fmla="*/ 169878 h 196733"/>
                <a:gd name="connsiteX12" fmla="*/ 244916 w 339645"/>
                <a:gd name="connsiteY12" fmla="*/ 194228 h 196733"/>
                <a:gd name="connsiteX13" fmla="*/ 212048 w 339645"/>
                <a:gd name="connsiteY13" fmla="*/ 174796 h 196733"/>
                <a:gd name="connsiteX14" fmla="*/ 192156 w 339645"/>
                <a:gd name="connsiteY14" fmla="*/ 156700 h 196733"/>
                <a:gd name="connsiteX15" fmla="*/ 183915 w 339645"/>
                <a:gd name="connsiteY15" fmla="*/ 169061 h 196733"/>
                <a:gd name="connsiteX16" fmla="*/ 147673 w 339645"/>
                <a:gd name="connsiteY16" fmla="*/ 176541 h 196733"/>
                <a:gd name="connsiteX17" fmla="*/ 125253 w 339645"/>
                <a:gd name="connsiteY17" fmla="*/ 163938 h 196733"/>
                <a:gd name="connsiteX18" fmla="*/ 123538 w 339645"/>
                <a:gd name="connsiteY18" fmla="*/ 153155 h 196733"/>
                <a:gd name="connsiteX19" fmla="*/ 106680 w 339645"/>
                <a:gd name="connsiteY19" fmla="*/ 154139 h 196733"/>
                <a:gd name="connsiteX20" fmla="*/ 91160 w 339645"/>
                <a:gd name="connsiteY20" fmla="*/ 142149 h 196733"/>
                <a:gd name="connsiteX21" fmla="*/ 104249 w 339645"/>
                <a:gd name="connsiteY21" fmla="*/ 128174 h 196733"/>
                <a:gd name="connsiteX22" fmla="*/ 76021 w 339645"/>
                <a:gd name="connsiteY22" fmla="*/ 116500 h 196733"/>
                <a:gd name="connsiteX23" fmla="*/ 65858 w 339645"/>
                <a:gd name="connsiteY23" fmla="*/ 90052 h 196733"/>
                <a:gd name="connsiteX24" fmla="*/ 49453 w 339645"/>
                <a:gd name="connsiteY24" fmla="*/ 104566 h 196733"/>
                <a:gd name="connsiteX25" fmla="*/ 27127 w 339645"/>
                <a:gd name="connsiteY25" fmla="*/ 97921 h 196733"/>
                <a:gd name="connsiteX26" fmla="*/ 2784 w 339645"/>
                <a:gd name="connsiteY26" fmla="*/ 83927 h 196733"/>
                <a:gd name="connsiteX27" fmla="*/ 19887 w 339645"/>
                <a:gd name="connsiteY27" fmla="*/ 68448 h 196733"/>
                <a:gd name="connsiteX28" fmla="*/ 21641 w 339645"/>
                <a:gd name="connsiteY28" fmla="*/ 74128 h 196733"/>
                <a:gd name="connsiteX29" fmla="*/ 39349 w 339645"/>
                <a:gd name="connsiteY29" fmla="*/ 51745 h 196733"/>
                <a:gd name="connsiteX30" fmla="*/ 80305 w 339645"/>
                <a:gd name="connsiteY30" fmla="*/ 41834 h 196733"/>
                <a:gd name="connsiteX31" fmla="*/ 82380 w 339645"/>
                <a:gd name="connsiteY31" fmla="*/ 22791 h 196733"/>
                <a:gd name="connsiteX32" fmla="*/ 99238 w 339645"/>
                <a:gd name="connsiteY32" fmla="*/ 21808 h 196733"/>
                <a:gd name="connsiteX33" fmla="*/ 114644 w 339645"/>
                <a:gd name="connsiteY33" fmla="*/ 11711 h 196733"/>
                <a:gd name="connsiteX34" fmla="*/ 136179 w 339645"/>
                <a:gd name="connsiteY34" fmla="*/ 13382 h 196733"/>
                <a:gd name="connsiteX35" fmla="*/ 144004 w 339645"/>
                <a:gd name="connsiteY35" fmla="*/ 19785 h 196733"/>
                <a:gd name="connsiteX36" fmla="*/ 160014 w 339645"/>
                <a:gd name="connsiteY36" fmla="*/ 2784 h 196733"/>
                <a:gd name="connsiteX37" fmla="*/ 159240 w 339645"/>
                <a:gd name="connsiteY37" fmla="*/ 13957 h 196733"/>
                <a:gd name="connsiteX38" fmla="*/ 173798 w 339645"/>
                <a:gd name="connsiteY38" fmla="*/ 25260 h 196733"/>
                <a:gd name="connsiteX39" fmla="*/ 172326 w 339645"/>
                <a:gd name="connsiteY39" fmla="*/ 37398 h 196733"/>
                <a:gd name="connsiteX40" fmla="*/ 201252 w 339645"/>
                <a:gd name="connsiteY40" fmla="*/ 48107 h 196733"/>
                <a:gd name="connsiteX41" fmla="*/ 224914 w 339645"/>
                <a:gd name="connsiteY41" fmla="*/ 79213 h 196733"/>
                <a:gd name="connsiteX42" fmla="*/ 243713 w 339645"/>
                <a:gd name="connsiteY42" fmla="*/ 95768 h 196733"/>
                <a:gd name="connsiteX43" fmla="*/ 249522 w 339645"/>
                <a:gd name="connsiteY43" fmla="*/ 94859 h 196733"/>
                <a:gd name="connsiteX44" fmla="*/ 278238 w 339645"/>
                <a:gd name="connsiteY44" fmla="*/ 114941 h 196733"/>
                <a:gd name="connsiteX45" fmla="*/ 300339 w 339645"/>
                <a:gd name="connsiteY45" fmla="*/ 114829 h 196733"/>
                <a:gd name="connsiteX46" fmla="*/ 313860 w 339645"/>
                <a:gd name="connsiteY46" fmla="*/ 98218 h 196733"/>
                <a:gd name="connsiteX47" fmla="*/ 337203 w 339645"/>
                <a:gd name="connsiteY47" fmla="*/ 116611 h 19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39645" h="196733">
                  <a:moveTo>
                    <a:pt x="228629" y="81162"/>
                  </a:moveTo>
                  <a:lnTo>
                    <a:pt x="227800" y="81292"/>
                  </a:lnTo>
                  <a:lnTo>
                    <a:pt x="227969" y="77023"/>
                  </a:lnTo>
                  <a:lnTo>
                    <a:pt x="229762" y="77580"/>
                  </a:lnTo>
                  <a:lnTo>
                    <a:pt x="228629" y="81162"/>
                  </a:lnTo>
                  <a:close/>
                  <a:moveTo>
                    <a:pt x="337203" y="116611"/>
                  </a:moveTo>
                  <a:lnTo>
                    <a:pt x="325644" y="129510"/>
                  </a:lnTo>
                  <a:lnTo>
                    <a:pt x="329961" y="161990"/>
                  </a:lnTo>
                  <a:lnTo>
                    <a:pt x="324773" y="172179"/>
                  </a:lnTo>
                  <a:lnTo>
                    <a:pt x="313498" y="165461"/>
                  </a:lnTo>
                  <a:lnTo>
                    <a:pt x="292152" y="175668"/>
                  </a:lnTo>
                  <a:lnTo>
                    <a:pt x="275068" y="169878"/>
                  </a:lnTo>
                  <a:lnTo>
                    <a:pt x="244916" y="194228"/>
                  </a:lnTo>
                  <a:lnTo>
                    <a:pt x="212048" y="174796"/>
                  </a:lnTo>
                  <a:lnTo>
                    <a:pt x="192156" y="156700"/>
                  </a:lnTo>
                  <a:lnTo>
                    <a:pt x="183915" y="169061"/>
                  </a:lnTo>
                  <a:lnTo>
                    <a:pt x="147673" y="176541"/>
                  </a:lnTo>
                  <a:lnTo>
                    <a:pt x="125253" y="163938"/>
                  </a:lnTo>
                  <a:lnTo>
                    <a:pt x="123538" y="153155"/>
                  </a:lnTo>
                  <a:lnTo>
                    <a:pt x="106680" y="154139"/>
                  </a:lnTo>
                  <a:lnTo>
                    <a:pt x="91160" y="142149"/>
                  </a:lnTo>
                  <a:lnTo>
                    <a:pt x="104249" y="128174"/>
                  </a:lnTo>
                  <a:lnTo>
                    <a:pt x="76021" y="116500"/>
                  </a:lnTo>
                  <a:lnTo>
                    <a:pt x="65858" y="90052"/>
                  </a:lnTo>
                  <a:lnTo>
                    <a:pt x="49453" y="104566"/>
                  </a:lnTo>
                  <a:lnTo>
                    <a:pt x="27127" y="97921"/>
                  </a:lnTo>
                  <a:lnTo>
                    <a:pt x="2784" y="83927"/>
                  </a:lnTo>
                  <a:lnTo>
                    <a:pt x="19887" y="68448"/>
                  </a:lnTo>
                  <a:lnTo>
                    <a:pt x="21641" y="74128"/>
                  </a:lnTo>
                  <a:lnTo>
                    <a:pt x="39349" y="51745"/>
                  </a:lnTo>
                  <a:lnTo>
                    <a:pt x="80305" y="41834"/>
                  </a:lnTo>
                  <a:lnTo>
                    <a:pt x="82380" y="22791"/>
                  </a:lnTo>
                  <a:lnTo>
                    <a:pt x="99238" y="21808"/>
                  </a:lnTo>
                  <a:lnTo>
                    <a:pt x="114644" y="11711"/>
                  </a:lnTo>
                  <a:lnTo>
                    <a:pt x="136179" y="13382"/>
                  </a:lnTo>
                  <a:lnTo>
                    <a:pt x="144004" y="19785"/>
                  </a:lnTo>
                  <a:lnTo>
                    <a:pt x="160014" y="2784"/>
                  </a:lnTo>
                  <a:lnTo>
                    <a:pt x="159240" y="13957"/>
                  </a:lnTo>
                  <a:lnTo>
                    <a:pt x="173798" y="25260"/>
                  </a:lnTo>
                  <a:lnTo>
                    <a:pt x="172326" y="37398"/>
                  </a:lnTo>
                  <a:lnTo>
                    <a:pt x="201252" y="48107"/>
                  </a:lnTo>
                  <a:lnTo>
                    <a:pt x="224914" y="79213"/>
                  </a:lnTo>
                  <a:lnTo>
                    <a:pt x="243713" y="95768"/>
                  </a:lnTo>
                  <a:lnTo>
                    <a:pt x="249522" y="94859"/>
                  </a:lnTo>
                  <a:lnTo>
                    <a:pt x="278238" y="114941"/>
                  </a:lnTo>
                  <a:lnTo>
                    <a:pt x="300339" y="114829"/>
                  </a:lnTo>
                  <a:lnTo>
                    <a:pt x="313860" y="98218"/>
                  </a:lnTo>
                  <a:lnTo>
                    <a:pt x="337203" y="116611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123A9B7-4A6A-4561-B401-7201032A7199}"/>
                </a:ext>
              </a:extLst>
            </p:cNvPr>
            <p:cNvSpPr/>
            <p:nvPr/>
          </p:nvSpPr>
          <p:spPr>
            <a:xfrm>
              <a:off x="1724701" y="5350401"/>
              <a:ext cx="70527" cy="59391"/>
            </a:xfrm>
            <a:custGeom>
              <a:avLst/>
              <a:gdLst>
                <a:gd name="connsiteX0" fmla="*/ 38426 w 70527"/>
                <a:gd name="connsiteY0" fmla="*/ 20007 h 59391"/>
                <a:gd name="connsiteX1" fmla="*/ 33617 w 70527"/>
                <a:gd name="connsiteY1" fmla="*/ 16518 h 59391"/>
                <a:gd name="connsiteX2" fmla="*/ 36672 w 70527"/>
                <a:gd name="connsiteY2" fmla="*/ 14328 h 59391"/>
                <a:gd name="connsiteX3" fmla="*/ 42574 w 70527"/>
                <a:gd name="connsiteY3" fmla="*/ 19339 h 59391"/>
                <a:gd name="connsiteX4" fmla="*/ 38426 w 70527"/>
                <a:gd name="connsiteY4" fmla="*/ 20007 h 59391"/>
                <a:gd name="connsiteX5" fmla="*/ 60470 w 70527"/>
                <a:gd name="connsiteY5" fmla="*/ 8853 h 59391"/>
                <a:gd name="connsiteX6" fmla="*/ 57151 w 70527"/>
                <a:gd name="connsiteY6" fmla="*/ 9373 h 59391"/>
                <a:gd name="connsiteX7" fmla="*/ 56491 w 70527"/>
                <a:gd name="connsiteY7" fmla="*/ 5234 h 59391"/>
                <a:gd name="connsiteX8" fmla="*/ 61205 w 70527"/>
                <a:gd name="connsiteY8" fmla="*/ 2784 h 59391"/>
                <a:gd name="connsiteX9" fmla="*/ 60470 w 70527"/>
                <a:gd name="connsiteY9" fmla="*/ 8853 h 59391"/>
                <a:gd name="connsiteX10" fmla="*/ 2784 w 70527"/>
                <a:gd name="connsiteY10" fmla="*/ 57999 h 59391"/>
                <a:gd name="connsiteX11" fmla="*/ 6708 w 70527"/>
                <a:gd name="connsiteY11" fmla="*/ 50557 h 59391"/>
                <a:gd name="connsiteX12" fmla="*/ 7218 w 70527"/>
                <a:gd name="connsiteY12" fmla="*/ 37732 h 59391"/>
                <a:gd name="connsiteX13" fmla="*/ 22662 w 70527"/>
                <a:gd name="connsiteY13" fmla="*/ 22513 h 59391"/>
                <a:gd name="connsiteX14" fmla="*/ 28092 w 70527"/>
                <a:gd name="connsiteY14" fmla="*/ 35264 h 59391"/>
                <a:gd name="connsiteX15" fmla="*/ 47042 w 70527"/>
                <a:gd name="connsiteY15" fmla="*/ 31385 h 59391"/>
                <a:gd name="connsiteX16" fmla="*/ 58866 w 70527"/>
                <a:gd name="connsiteY16" fmla="*/ 20156 h 59391"/>
                <a:gd name="connsiteX17" fmla="*/ 69538 w 70527"/>
                <a:gd name="connsiteY17" fmla="*/ 33760 h 59391"/>
                <a:gd name="connsiteX18" fmla="*/ 23094 w 70527"/>
                <a:gd name="connsiteY18" fmla="*/ 57313 h 59391"/>
                <a:gd name="connsiteX19" fmla="*/ 2784 w 70527"/>
                <a:gd name="connsiteY19" fmla="*/ 57999 h 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527" h="59391">
                  <a:moveTo>
                    <a:pt x="38426" y="20007"/>
                  </a:moveTo>
                  <a:lnTo>
                    <a:pt x="33617" y="16518"/>
                  </a:lnTo>
                  <a:lnTo>
                    <a:pt x="36672" y="14328"/>
                  </a:lnTo>
                  <a:lnTo>
                    <a:pt x="42574" y="19339"/>
                  </a:lnTo>
                  <a:lnTo>
                    <a:pt x="38426" y="20007"/>
                  </a:lnTo>
                  <a:close/>
                  <a:moveTo>
                    <a:pt x="60470" y="8853"/>
                  </a:moveTo>
                  <a:lnTo>
                    <a:pt x="57151" y="9373"/>
                  </a:lnTo>
                  <a:lnTo>
                    <a:pt x="56491" y="5234"/>
                  </a:lnTo>
                  <a:lnTo>
                    <a:pt x="61205" y="2784"/>
                  </a:lnTo>
                  <a:lnTo>
                    <a:pt x="60470" y="8853"/>
                  </a:lnTo>
                  <a:close/>
                  <a:moveTo>
                    <a:pt x="2784" y="57999"/>
                  </a:moveTo>
                  <a:lnTo>
                    <a:pt x="6708" y="50557"/>
                  </a:lnTo>
                  <a:lnTo>
                    <a:pt x="7218" y="37732"/>
                  </a:lnTo>
                  <a:lnTo>
                    <a:pt x="22662" y="22513"/>
                  </a:lnTo>
                  <a:lnTo>
                    <a:pt x="28092" y="35264"/>
                  </a:lnTo>
                  <a:lnTo>
                    <a:pt x="47042" y="31385"/>
                  </a:lnTo>
                  <a:lnTo>
                    <a:pt x="58866" y="20156"/>
                  </a:lnTo>
                  <a:lnTo>
                    <a:pt x="69538" y="33760"/>
                  </a:lnTo>
                  <a:lnTo>
                    <a:pt x="23094" y="57313"/>
                  </a:lnTo>
                  <a:lnTo>
                    <a:pt x="2784" y="5799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6A65145-B45B-498C-8655-84509746F2CC}"/>
                </a:ext>
              </a:extLst>
            </p:cNvPr>
            <p:cNvSpPr/>
            <p:nvPr/>
          </p:nvSpPr>
          <p:spPr>
            <a:xfrm>
              <a:off x="1714153" y="5481155"/>
              <a:ext cx="206014" cy="157758"/>
            </a:xfrm>
            <a:custGeom>
              <a:avLst/>
              <a:gdLst>
                <a:gd name="connsiteX0" fmla="*/ 194440 w 206014"/>
                <a:gd name="connsiteY0" fmla="*/ 108482 h 157758"/>
                <a:gd name="connsiteX1" fmla="*/ 193345 w 206014"/>
                <a:gd name="connsiteY1" fmla="*/ 106960 h 157758"/>
                <a:gd name="connsiteX2" fmla="*/ 194609 w 206014"/>
                <a:gd name="connsiteY2" fmla="*/ 104195 h 157758"/>
                <a:gd name="connsiteX3" fmla="*/ 195571 w 206014"/>
                <a:gd name="connsiteY3" fmla="*/ 104900 h 157758"/>
                <a:gd name="connsiteX4" fmla="*/ 194440 w 206014"/>
                <a:gd name="connsiteY4" fmla="*/ 108482 h 157758"/>
                <a:gd name="connsiteX5" fmla="*/ 38571 w 206014"/>
                <a:gd name="connsiteY5" fmla="*/ 117966 h 157758"/>
                <a:gd name="connsiteX6" fmla="*/ 35047 w 206014"/>
                <a:gd name="connsiteY6" fmla="*/ 90460 h 157758"/>
                <a:gd name="connsiteX7" fmla="*/ 4989 w 206014"/>
                <a:gd name="connsiteY7" fmla="*/ 83352 h 157758"/>
                <a:gd name="connsiteX8" fmla="*/ 2784 w 206014"/>
                <a:gd name="connsiteY8" fmla="*/ 64142 h 157758"/>
                <a:gd name="connsiteX9" fmla="*/ 19662 w 206014"/>
                <a:gd name="connsiteY9" fmla="*/ 41889 h 157758"/>
                <a:gd name="connsiteX10" fmla="*/ 28809 w 206014"/>
                <a:gd name="connsiteY10" fmla="*/ 19172 h 157758"/>
                <a:gd name="connsiteX11" fmla="*/ 46364 w 206014"/>
                <a:gd name="connsiteY11" fmla="*/ 17224 h 157758"/>
                <a:gd name="connsiteX12" fmla="*/ 52682 w 206014"/>
                <a:gd name="connsiteY12" fmla="*/ 3471 h 157758"/>
                <a:gd name="connsiteX13" fmla="*/ 68068 w 206014"/>
                <a:gd name="connsiteY13" fmla="*/ 14625 h 157758"/>
                <a:gd name="connsiteX14" fmla="*/ 86359 w 206014"/>
                <a:gd name="connsiteY14" fmla="*/ 6607 h 157758"/>
                <a:gd name="connsiteX15" fmla="*/ 114228 w 206014"/>
                <a:gd name="connsiteY15" fmla="*/ 10690 h 157758"/>
                <a:gd name="connsiteX16" fmla="*/ 110420 w 206014"/>
                <a:gd name="connsiteY16" fmla="*/ 2784 h 157758"/>
                <a:gd name="connsiteX17" fmla="*/ 136764 w 206014"/>
                <a:gd name="connsiteY17" fmla="*/ 7944 h 157758"/>
                <a:gd name="connsiteX18" fmla="*/ 149132 w 206014"/>
                <a:gd name="connsiteY18" fmla="*/ 16184 h 157758"/>
                <a:gd name="connsiteX19" fmla="*/ 146435 w 206014"/>
                <a:gd name="connsiteY19" fmla="*/ 25965 h 157758"/>
                <a:gd name="connsiteX20" fmla="*/ 162124 w 206014"/>
                <a:gd name="connsiteY20" fmla="*/ 33686 h 157758"/>
                <a:gd name="connsiteX21" fmla="*/ 172324 w 206014"/>
                <a:gd name="connsiteY21" fmla="*/ 55030 h 157758"/>
                <a:gd name="connsiteX22" fmla="*/ 184260 w 206014"/>
                <a:gd name="connsiteY22" fmla="*/ 65887 h 157758"/>
                <a:gd name="connsiteX23" fmla="*/ 191140 w 206014"/>
                <a:gd name="connsiteY23" fmla="*/ 87751 h 157758"/>
                <a:gd name="connsiteX24" fmla="*/ 203681 w 206014"/>
                <a:gd name="connsiteY24" fmla="*/ 91704 h 157758"/>
                <a:gd name="connsiteX25" fmla="*/ 198362 w 206014"/>
                <a:gd name="connsiteY25" fmla="*/ 101058 h 157758"/>
                <a:gd name="connsiteX26" fmla="*/ 190027 w 206014"/>
                <a:gd name="connsiteY26" fmla="*/ 107480 h 157758"/>
                <a:gd name="connsiteX27" fmla="*/ 193627 w 206014"/>
                <a:gd name="connsiteY27" fmla="*/ 124777 h 157758"/>
                <a:gd name="connsiteX28" fmla="*/ 180843 w 206014"/>
                <a:gd name="connsiteY28" fmla="*/ 135301 h 157758"/>
                <a:gd name="connsiteX29" fmla="*/ 161665 w 206014"/>
                <a:gd name="connsiteY29" fmla="*/ 132405 h 157758"/>
                <a:gd name="connsiteX30" fmla="*/ 170546 w 206014"/>
                <a:gd name="connsiteY30" fmla="*/ 145453 h 157758"/>
                <a:gd name="connsiteX31" fmla="*/ 153859 w 206014"/>
                <a:gd name="connsiteY31" fmla="*/ 142149 h 157758"/>
                <a:gd name="connsiteX32" fmla="*/ 155838 w 206014"/>
                <a:gd name="connsiteY32" fmla="*/ 154584 h 157758"/>
                <a:gd name="connsiteX33" fmla="*/ 144221 w 206014"/>
                <a:gd name="connsiteY33" fmla="*/ 156440 h 157758"/>
                <a:gd name="connsiteX34" fmla="*/ 139678 w 206014"/>
                <a:gd name="connsiteY34" fmla="*/ 154603 h 157758"/>
                <a:gd name="connsiteX35" fmla="*/ 135964 w 206014"/>
                <a:gd name="connsiteY35" fmla="*/ 152654 h 157758"/>
                <a:gd name="connsiteX36" fmla="*/ 107114 w 206014"/>
                <a:gd name="connsiteY36" fmla="*/ 131737 h 157758"/>
                <a:gd name="connsiteX37" fmla="*/ 94460 w 206014"/>
                <a:gd name="connsiteY37" fmla="*/ 143096 h 157758"/>
                <a:gd name="connsiteX38" fmla="*/ 82014 w 206014"/>
                <a:gd name="connsiteY38" fmla="*/ 145082 h 157758"/>
                <a:gd name="connsiteX39" fmla="*/ 69759 w 206014"/>
                <a:gd name="connsiteY39" fmla="*/ 121511 h 157758"/>
                <a:gd name="connsiteX40" fmla="*/ 46132 w 206014"/>
                <a:gd name="connsiteY40" fmla="*/ 122717 h 157758"/>
                <a:gd name="connsiteX41" fmla="*/ 38571 w 206014"/>
                <a:gd name="connsiteY41" fmla="*/ 117966 h 15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6014" h="157758">
                  <a:moveTo>
                    <a:pt x="194440" y="108482"/>
                  </a:moveTo>
                  <a:lnTo>
                    <a:pt x="193345" y="106960"/>
                  </a:lnTo>
                  <a:lnTo>
                    <a:pt x="194609" y="104195"/>
                  </a:lnTo>
                  <a:lnTo>
                    <a:pt x="195571" y="104900"/>
                  </a:lnTo>
                  <a:lnTo>
                    <a:pt x="194440" y="108482"/>
                  </a:lnTo>
                  <a:close/>
                  <a:moveTo>
                    <a:pt x="38571" y="117966"/>
                  </a:moveTo>
                  <a:lnTo>
                    <a:pt x="35047" y="90460"/>
                  </a:lnTo>
                  <a:lnTo>
                    <a:pt x="4989" y="83352"/>
                  </a:lnTo>
                  <a:lnTo>
                    <a:pt x="2784" y="64142"/>
                  </a:lnTo>
                  <a:lnTo>
                    <a:pt x="19662" y="41889"/>
                  </a:lnTo>
                  <a:lnTo>
                    <a:pt x="28809" y="19172"/>
                  </a:lnTo>
                  <a:lnTo>
                    <a:pt x="46364" y="17224"/>
                  </a:lnTo>
                  <a:lnTo>
                    <a:pt x="52682" y="3471"/>
                  </a:lnTo>
                  <a:lnTo>
                    <a:pt x="68068" y="14625"/>
                  </a:lnTo>
                  <a:lnTo>
                    <a:pt x="86359" y="6607"/>
                  </a:lnTo>
                  <a:lnTo>
                    <a:pt x="114228" y="10690"/>
                  </a:lnTo>
                  <a:lnTo>
                    <a:pt x="110420" y="2784"/>
                  </a:lnTo>
                  <a:lnTo>
                    <a:pt x="136764" y="7944"/>
                  </a:lnTo>
                  <a:lnTo>
                    <a:pt x="149132" y="16184"/>
                  </a:lnTo>
                  <a:lnTo>
                    <a:pt x="146435" y="25965"/>
                  </a:lnTo>
                  <a:lnTo>
                    <a:pt x="162124" y="33686"/>
                  </a:lnTo>
                  <a:lnTo>
                    <a:pt x="172324" y="55030"/>
                  </a:lnTo>
                  <a:lnTo>
                    <a:pt x="184260" y="65887"/>
                  </a:lnTo>
                  <a:lnTo>
                    <a:pt x="191140" y="87751"/>
                  </a:lnTo>
                  <a:lnTo>
                    <a:pt x="203681" y="91704"/>
                  </a:lnTo>
                  <a:lnTo>
                    <a:pt x="198362" y="101058"/>
                  </a:lnTo>
                  <a:lnTo>
                    <a:pt x="190027" y="107480"/>
                  </a:lnTo>
                  <a:lnTo>
                    <a:pt x="193627" y="124777"/>
                  </a:lnTo>
                  <a:lnTo>
                    <a:pt x="180843" y="135301"/>
                  </a:lnTo>
                  <a:lnTo>
                    <a:pt x="161665" y="132405"/>
                  </a:lnTo>
                  <a:lnTo>
                    <a:pt x="170546" y="145453"/>
                  </a:lnTo>
                  <a:lnTo>
                    <a:pt x="153859" y="142149"/>
                  </a:lnTo>
                  <a:lnTo>
                    <a:pt x="155838" y="154584"/>
                  </a:lnTo>
                  <a:lnTo>
                    <a:pt x="144221" y="156440"/>
                  </a:lnTo>
                  <a:lnTo>
                    <a:pt x="139678" y="154603"/>
                  </a:lnTo>
                  <a:lnTo>
                    <a:pt x="135964" y="152654"/>
                  </a:lnTo>
                  <a:lnTo>
                    <a:pt x="107114" y="131737"/>
                  </a:lnTo>
                  <a:lnTo>
                    <a:pt x="94460" y="143096"/>
                  </a:lnTo>
                  <a:lnTo>
                    <a:pt x="82014" y="145082"/>
                  </a:lnTo>
                  <a:lnTo>
                    <a:pt x="69759" y="121511"/>
                  </a:lnTo>
                  <a:lnTo>
                    <a:pt x="46132" y="122717"/>
                  </a:lnTo>
                  <a:lnTo>
                    <a:pt x="38571" y="11796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7AADBA0-45AF-4BF2-869A-939F1FE85B5B}"/>
                </a:ext>
              </a:extLst>
            </p:cNvPr>
            <p:cNvSpPr/>
            <p:nvPr/>
          </p:nvSpPr>
          <p:spPr>
            <a:xfrm>
              <a:off x="3333032" y="5983958"/>
              <a:ext cx="476988" cy="304380"/>
            </a:xfrm>
            <a:custGeom>
              <a:avLst/>
              <a:gdLst>
                <a:gd name="connsiteX0" fmla="*/ 119804 w 476987"/>
                <a:gd name="connsiteY0" fmla="*/ 302283 h 304380"/>
                <a:gd name="connsiteX1" fmla="*/ 61359 w 476987"/>
                <a:gd name="connsiteY1" fmla="*/ 250353 h 304380"/>
                <a:gd name="connsiteX2" fmla="*/ 54826 w 476987"/>
                <a:gd name="connsiteY2" fmla="*/ 236080 h 304380"/>
                <a:gd name="connsiteX3" fmla="*/ 68764 w 476987"/>
                <a:gd name="connsiteY3" fmla="*/ 238122 h 304380"/>
                <a:gd name="connsiteX4" fmla="*/ 79436 w 476987"/>
                <a:gd name="connsiteY4" fmla="*/ 214310 h 304380"/>
                <a:gd name="connsiteX5" fmla="*/ 21678 w 476987"/>
                <a:gd name="connsiteY5" fmla="*/ 236247 h 304380"/>
                <a:gd name="connsiteX6" fmla="*/ 25093 w 476987"/>
                <a:gd name="connsiteY6" fmla="*/ 204232 h 304380"/>
                <a:gd name="connsiteX7" fmla="*/ 32034 w 476987"/>
                <a:gd name="connsiteY7" fmla="*/ 199740 h 304380"/>
                <a:gd name="connsiteX8" fmla="*/ 2784 w 476987"/>
                <a:gd name="connsiteY8" fmla="*/ 138901 h 304380"/>
                <a:gd name="connsiteX9" fmla="*/ 13344 w 476987"/>
                <a:gd name="connsiteY9" fmla="*/ 130419 h 304380"/>
                <a:gd name="connsiteX10" fmla="*/ 5067 w 476987"/>
                <a:gd name="connsiteY10" fmla="*/ 110468 h 304380"/>
                <a:gd name="connsiteX11" fmla="*/ 39235 w 476987"/>
                <a:gd name="connsiteY11" fmla="*/ 84633 h 304380"/>
                <a:gd name="connsiteX12" fmla="*/ 64532 w 476987"/>
                <a:gd name="connsiteY12" fmla="*/ 83166 h 304380"/>
                <a:gd name="connsiteX13" fmla="*/ 54900 w 476987"/>
                <a:gd name="connsiteY13" fmla="*/ 60022 h 304380"/>
                <a:gd name="connsiteX14" fmla="*/ 44933 w 476987"/>
                <a:gd name="connsiteY14" fmla="*/ 61618 h 304380"/>
                <a:gd name="connsiteX15" fmla="*/ 66630 w 476987"/>
                <a:gd name="connsiteY15" fmla="*/ 42854 h 304380"/>
                <a:gd name="connsiteX16" fmla="*/ 61953 w 476987"/>
                <a:gd name="connsiteY16" fmla="*/ 2784 h 304380"/>
                <a:gd name="connsiteX17" fmla="*/ 97124 w 476987"/>
                <a:gd name="connsiteY17" fmla="*/ 9948 h 304380"/>
                <a:gd name="connsiteX18" fmla="*/ 165294 w 476987"/>
                <a:gd name="connsiteY18" fmla="*/ 16110 h 304380"/>
                <a:gd name="connsiteX19" fmla="*/ 164867 w 476987"/>
                <a:gd name="connsiteY19" fmla="*/ 18727 h 304380"/>
                <a:gd name="connsiteX20" fmla="*/ 215981 w 476987"/>
                <a:gd name="connsiteY20" fmla="*/ 35245 h 304380"/>
                <a:gd name="connsiteX21" fmla="*/ 247477 w 476987"/>
                <a:gd name="connsiteY21" fmla="*/ 72773 h 304380"/>
                <a:gd name="connsiteX22" fmla="*/ 284671 w 476987"/>
                <a:gd name="connsiteY22" fmla="*/ 65998 h 304380"/>
                <a:gd name="connsiteX23" fmla="*/ 304975 w 476987"/>
                <a:gd name="connsiteY23" fmla="*/ 86581 h 304380"/>
                <a:gd name="connsiteX24" fmla="*/ 340258 w 476987"/>
                <a:gd name="connsiteY24" fmla="*/ 78415 h 304380"/>
                <a:gd name="connsiteX25" fmla="*/ 374333 w 476987"/>
                <a:gd name="connsiteY25" fmla="*/ 62788 h 304380"/>
                <a:gd name="connsiteX26" fmla="*/ 381330 w 476987"/>
                <a:gd name="connsiteY26" fmla="*/ 69321 h 304380"/>
                <a:gd name="connsiteX27" fmla="*/ 373888 w 476987"/>
                <a:gd name="connsiteY27" fmla="*/ 86674 h 304380"/>
                <a:gd name="connsiteX28" fmla="*/ 390685 w 476987"/>
                <a:gd name="connsiteY28" fmla="*/ 112064 h 304380"/>
                <a:gd name="connsiteX29" fmla="*/ 382314 w 476987"/>
                <a:gd name="connsiteY29" fmla="*/ 123608 h 304380"/>
                <a:gd name="connsiteX30" fmla="*/ 402192 w 476987"/>
                <a:gd name="connsiteY30" fmla="*/ 125538 h 304380"/>
                <a:gd name="connsiteX31" fmla="*/ 415481 w 476987"/>
                <a:gd name="connsiteY31" fmla="*/ 102171 h 304380"/>
                <a:gd name="connsiteX32" fmla="*/ 436101 w 476987"/>
                <a:gd name="connsiteY32" fmla="*/ 98033 h 304380"/>
                <a:gd name="connsiteX33" fmla="*/ 442040 w 476987"/>
                <a:gd name="connsiteY33" fmla="*/ 97940 h 304380"/>
                <a:gd name="connsiteX34" fmla="*/ 444063 w 476987"/>
                <a:gd name="connsiteY34" fmla="*/ 121437 h 304380"/>
                <a:gd name="connsiteX35" fmla="*/ 460730 w 476987"/>
                <a:gd name="connsiteY35" fmla="*/ 145991 h 304380"/>
                <a:gd name="connsiteX36" fmla="*/ 463829 w 476987"/>
                <a:gd name="connsiteY36" fmla="*/ 176114 h 304380"/>
                <a:gd name="connsiteX37" fmla="*/ 473573 w 476987"/>
                <a:gd name="connsiteY37" fmla="*/ 183927 h 304380"/>
                <a:gd name="connsiteX38" fmla="*/ 467689 w 476987"/>
                <a:gd name="connsiteY38" fmla="*/ 195063 h 304380"/>
                <a:gd name="connsiteX39" fmla="*/ 475837 w 476987"/>
                <a:gd name="connsiteY39" fmla="*/ 214180 h 304380"/>
                <a:gd name="connsiteX40" fmla="*/ 457946 w 476987"/>
                <a:gd name="connsiteY40" fmla="*/ 224666 h 304380"/>
                <a:gd name="connsiteX41" fmla="*/ 446902 w 476987"/>
                <a:gd name="connsiteY41" fmla="*/ 240887 h 304380"/>
                <a:gd name="connsiteX42" fmla="*/ 437567 w 476987"/>
                <a:gd name="connsiteY42" fmla="*/ 235579 h 304380"/>
                <a:gd name="connsiteX43" fmla="*/ 403231 w 476987"/>
                <a:gd name="connsiteY43" fmla="*/ 244432 h 304380"/>
                <a:gd name="connsiteX44" fmla="*/ 395956 w 476987"/>
                <a:gd name="connsiteY44" fmla="*/ 257498 h 304380"/>
                <a:gd name="connsiteX45" fmla="*/ 385376 w 476987"/>
                <a:gd name="connsiteY45" fmla="*/ 249833 h 304380"/>
                <a:gd name="connsiteX46" fmla="*/ 364088 w 476987"/>
                <a:gd name="connsiteY46" fmla="*/ 271065 h 304380"/>
                <a:gd name="connsiteX47" fmla="*/ 352581 w 476987"/>
                <a:gd name="connsiteY47" fmla="*/ 295008 h 304380"/>
                <a:gd name="connsiteX48" fmla="*/ 320955 w 476987"/>
                <a:gd name="connsiteY48" fmla="*/ 277933 h 304380"/>
                <a:gd name="connsiteX49" fmla="*/ 321234 w 476987"/>
                <a:gd name="connsiteY49" fmla="*/ 258333 h 304380"/>
                <a:gd name="connsiteX50" fmla="*/ 306293 w 476987"/>
                <a:gd name="connsiteY50" fmla="*/ 260709 h 304380"/>
                <a:gd name="connsiteX51" fmla="*/ 302228 w 476987"/>
                <a:gd name="connsiteY51" fmla="*/ 251151 h 304380"/>
                <a:gd name="connsiteX52" fmla="*/ 285005 w 476987"/>
                <a:gd name="connsiteY52" fmla="*/ 244525 h 304380"/>
                <a:gd name="connsiteX53" fmla="*/ 275335 w 476987"/>
                <a:gd name="connsiteY53" fmla="*/ 226503 h 304380"/>
                <a:gd name="connsiteX54" fmla="*/ 262250 w 476987"/>
                <a:gd name="connsiteY54" fmla="*/ 240498 h 304380"/>
                <a:gd name="connsiteX55" fmla="*/ 223832 w 476987"/>
                <a:gd name="connsiteY55" fmla="*/ 261062 h 304380"/>
                <a:gd name="connsiteX56" fmla="*/ 202711 w 476987"/>
                <a:gd name="connsiteY56" fmla="*/ 278025 h 304380"/>
                <a:gd name="connsiteX57" fmla="*/ 175502 w 476987"/>
                <a:gd name="connsiteY57" fmla="*/ 278118 h 304380"/>
                <a:gd name="connsiteX58" fmla="*/ 161897 w 476987"/>
                <a:gd name="connsiteY58" fmla="*/ 288772 h 304380"/>
                <a:gd name="connsiteX59" fmla="*/ 144340 w 476987"/>
                <a:gd name="connsiteY59" fmla="*/ 290720 h 304380"/>
                <a:gd name="connsiteX60" fmla="*/ 142187 w 476987"/>
                <a:gd name="connsiteY60" fmla="*/ 282554 h 304380"/>
                <a:gd name="connsiteX61" fmla="*/ 119804 w 476987"/>
                <a:gd name="connsiteY61" fmla="*/ 302283 h 30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76987" h="304380">
                  <a:moveTo>
                    <a:pt x="119804" y="302283"/>
                  </a:moveTo>
                  <a:lnTo>
                    <a:pt x="61359" y="250353"/>
                  </a:lnTo>
                  <a:lnTo>
                    <a:pt x="54826" y="236080"/>
                  </a:lnTo>
                  <a:lnTo>
                    <a:pt x="68764" y="238122"/>
                  </a:lnTo>
                  <a:lnTo>
                    <a:pt x="79436" y="214310"/>
                  </a:lnTo>
                  <a:lnTo>
                    <a:pt x="21678" y="236247"/>
                  </a:lnTo>
                  <a:lnTo>
                    <a:pt x="25093" y="204232"/>
                  </a:lnTo>
                  <a:lnTo>
                    <a:pt x="32034" y="199740"/>
                  </a:lnTo>
                  <a:lnTo>
                    <a:pt x="2784" y="138901"/>
                  </a:lnTo>
                  <a:lnTo>
                    <a:pt x="13344" y="130419"/>
                  </a:lnTo>
                  <a:lnTo>
                    <a:pt x="5067" y="110468"/>
                  </a:lnTo>
                  <a:lnTo>
                    <a:pt x="39235" y="84633"/>
                  </a:lnTo>
                  <a:lnTo>
                    <a:pt x="64532" y="83166"/>
                  </a:lnTo>
                  <a:lnTo>
                    <a:pt x="54900" y="60022"/>
                  </a:lnTo>
                  <a:lnTo>
                    <a:pt x="44933" y="61618"/>
                  </a:lnTo>
                  <a:lnTo>
                    <a:pt x="66630" y="42854"/>
                  </a:lnTo>
                  <a:lnTo>
                    <a:pt x="61953" y="2784"/>
                  </a:lnTo>
                  <a:lnTo>
                    <a:pt x="97124" y="9948"/>
                  </a:lnTo>
                  <a:lnTo>
                    <a:pt x="165294" y="16110"/>
                  </a:lnTo>
                  <a:lnTo>
                    <a:pt x="164867" y="18727"/>
                  </a:lnTo>
                  <a:lnTo>
                    <a:pt x="215981" y="35245"/>
                  </a:lnTo>
                  <a:lnTo>
                    <a:pt x="247477" y="72773"/>
                  </a:lnTo>
                  <a:lnTo>
                    <a:pt x="284671" y="65998"/>
                  </a:lnTo>
                  <a:lnTo>
                    <a:pt x="304975" y="86581"/>
                  </a:lnTo>
                  <a:lnTo>
                    <a:pt x="340258" y="78415"/>
                  </a:lnTo>
                  <a:lnTo>
                    <a:pt x="374333" y="62788"/>
                  </a:lnTo>
                  <a:lnTo>
                    <a:pt x="381330" y="69321"/>
                  </a:lnTo>
                  <a:lnTo>
                    <a:pt x="373888" y="86674"/>
                  </a:lnTo>
                  <a:lnTo>
                    <a:pt x="390685" y="112064"/>
                  </a:lnTo>
                  <a:lnTo>
                    <a:pt x="382314" y="123608"/>
                  </a:lnTo>
                  <a:lnTo>
                    <a:pt x="402192" y="125538"/>
                  </a:lnTo>
                  <a:lnTo>
                    <a:pt x="415481" y="102171"/>
                  </a:lnTo>
                  <a:lnTo>
                    <a:pt x="436101" y="98033"/>
                  </a:lnTo>
                  <a:lnTo>
                    <a:pt x="442040" y="97940"/>
                  </a:lnTo>
                  <a:lnTo>
                    <a:pt x="444063" y="121437"/>
                  </a:lnTo>
                  <a:lnTo>
                    <a:pt x="460730" y="145991"/>
                  </a:lnTo>
                  <a:lnTo>
                    <a:pt x="463829" y="176114"/>
                  </a:lnTo>
                  <a:lnTo>
                    <a:pt x="473573" y="183927"/>
                  </a:lnTo>
                  <a:lnTo>
                    <a:pt x="467689" y="195063"/>
                  </a:lnTo>
                  <a:lnTo>
                    <a:pt x="475837" y="214180"/>
                  </a:lnTo>
                  <a:lnTo>
                    <a:pt x="457946" y="224666"/>
                  </a:lnTo>
                  <a:lnTo>
                    <a:pt x="446902" y="240887"/>
                  </a:lnTo>
                  <a:lnTo>
                    <a:pt x="437567" y="235579"/>
                  </a:lnTo>
                  <a:lnTo>
                    <a:pt x="403231" y="244432"/>
                  </a:lnTo>
                  <a:lnTo>
                    <a:pt x="395956" y="257498"/>
                  </a:lnTo>
                  <a:lnTo>
                    <a:pt x="385376" y="249833"/>
                  </a:lnTo>
                  <a:lnTo>
                    <a:pt x="364088" y="271065"/>
                  </a:lnTo>
                  <a:lnTo>
                    <a:pt x="352581" y="295008"/>
                  </a:lnTo>
                  <a:lnTo>
                    <a:pt x="320955" y="277933"/>
                  </a:lnTo>
                  <a:lnTo>
                    <a:pt x="321234" y="258333"/>
                  </a:lnTo>
                  <a:lnTo>
                    <a:pt x="306293" y="260709"/>
                  </a:lnTo>
                  <a:lnTo>
                    <a:pt x="302228" y="251151"/>
                  </a:lnTo>
                  <a:lnTo>
                    <a:pt x="285005" y="244525"/>
                  </a:lnTo>
                  <a:lnTo>
                    <a:pt x="275335" y="226503"/>
                  </a:lnTo>
                  <a:lnTo>
                    <a:pt x="262250" y="240498"/>
                  </a:lnTo>
                  <a:lnTo>
                    <a:pt x="223832" y="261062"/>
                  </a:lnTo>
                  <a:lnTo>
                    <a:pt x="202711" y="278025"/>
                  </a:lnTo>
                  <a:lnTo>
                    <a:pt x="175502" y="278118"/>
                  </a:lnTo>
                  <a:lnTo>
                    <a:pt x="161897" y="288772"/>
                  </a:lnTo>
                  <a:lnTo>
                    <a:pt x="144340" y="290720"/>
                  </a:lnTo>
                  <a:lnTo>
                    <a:pt x="142187" y="282554"/>
                  </a:lnTo>
                  <a:lnTo>
                    <a:pt x="119804" y="30228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929F455-F1EB-4F53-A04C-6EC5C29FB59E}"/>
                </a:ext>
              </a:extLst>
            </p:cNvPr>
            <p:cNvSpPr/>
            <p:nvPr/>
          </p:nvSpPr>
          <p:spPr>
            <a:xfrm>
              <a:off x="1848866" y="4582638"/>
              <a:ext cx="408317" cy="488122"/>
            </a:xfrm>
            <a:custGeom>
              <a:avLst/>
              <a:gdLst>
                <a:gd name="connsiteX0" fmla="*/ 396370 w 408316"/>
                <a:gd name="connsiteY0" fmla="*/ 91110 h 488122"/>
                <a:gd name="connsiteX1" fmla="*/ 395672 w 408316"/>
                <a:gd name="connsiteY1" fmla="*/ 92075 h 488122"/>
                <a:gd name="connsiteX2" fmla="*/ 398688 w 408316"/>
                <a:gd name="connsiteY2" fmla="*/ 95007 h 488122"/>
                <a:gd name="connsiteX3" fmla="*/ 398819 w 408316"/>
                <a:gd name="connsiteY3" fmla="*/ 95824 h 488122"/>
                <a:gd name="connsiteX4" fmla="*/ 400178 w 408316"/>
                <a:gd name="connsiteY4" fmla="*/ 99016 h 488122"/>
                <a:gd name="connsiteX5" fmla="*/ 405701 w 408316"/>
                <a:gd name="connsiteY5" fmla="*/ 117687 h 488122"/>
                <a:gd name="connsiteX6" fmla="*/ 396273 w 408316"/>
                <a:gd name="connsiteY6" fmla="*/ 122606 h 488122"/>
                <a:gd name="connsiteX7" fmla="*/ 404606 w 408316"/>
                <a:gd name="connsiteY7" fmla="*/ 153582 h 488122"/>
                <a:gd name="connsiteX8" fmla="*/ 401002 w 408316"/>
                <a:gd name="connsiteY8" fmla="*/ 173720 h 488122"/>
                <a:gd name="connsiteX9" fmla="*/ 390970 w 408316"/>
                <a:gd name="connsiteY9" fmla="*/ 185524 h 488122"/>
                <a:gd name="connsiteX10" fmla="*/ 362195 w 408316"/>
                <a:gd name="connsiteY10" fmla="*/ 191797 h 488122"/>
                <a:gd name="connsiteX11" fmla="*/ 354708 w 408316"/>
                <a:gd name="connsiteY11" fmla="*/ 214254 h 488122"/>
                <a:gd name="connsiteX12" fmla="*/ 381633 w 408316"/>
                <a:gd name="connsiteY12" fmla="*/ 233779 h 488122"/>
                <a:gd name="connsiteX13" fmla="*/ 370772 w 408316"/>
                <a:gd name="connsiteY13" fmla="*/ 245713 h 488122"/>
                <a:gd name="connsiteX14" fmla="*/ 371282 w 408316"/>
                <a:gd name="connsiteY14" fmla="*/ 232870 h 488122"/>
                <a:gd name="connsiteX15" fmla="*/ 352049 w 408316"/>
                <a:gd name="connsiteY15" fmla="*/ 218931 h 488122"/>
                <a:gd name="connsiteX16" fmla="*/ 332511 w 408316"/>
                <a:gd name="connsiteY16" fmla="*/ 245843 h 488122"/>
                <a:gd name="connsiteX17" fmla="*/ 324517 w 408316"/>
                <a:gd name="connsiteY17" fmla="*/ 243708 h 488122"/>
                <a:gd name="connsiteX18" fmla="*/ 325118 w 408316"/>
                <a:gd name="connsiteY18" fmla="*/ 274239 h 488122"/>
                <a:gd name="connsiteX19" fmla="*/ 337620 w 408316"/>
                <a:gd name="connsiteY19" fmla="*/ 283297 h 488122"/>
                <a:gd name="connsiteX20" fmla="*/ 335562 w 408316"/>
                <a:gd name="connsiteY20" fmla="*/ 318504 h 488122"/>
                <a:gd name="connsiteX21" fmla="*/ 314045 w 408316"/>
                <a:gd name="connsiteY21" fmla="*/ 332981 h 488122"/>
                <a:gd name="connsiteX22" fmla="*/ 298225 w 408316"/>
                <a:gd name="connsiteY22" fmla="*/ 324443 h 488122"/>
                <a:gd name="connsiteX23" fmla="*/ 298375 w 408316"/>
                <a:gd name="connsiteY23" fmla="*/ 341426 h 488122"/>
                <a:gd name="connsiteX24" fmla="*/ 278047 w 408316"/>
                <a:gd name="connsiteY24" fmla="*/ 363363 h 488122"/>
                <a:gd name="connsiteX25" fmla="*/ 273219 w 408316"/>
                <a:gd name="connsiteY25" fmla="*/ 381144 h 488122"/>
                <a:gd name="connsiteX26" fmla="*/ 279667 w 408316"/>
                <a:gd name="connsiteY26" fmla="*/ 405624 h 488122"/>
                <a:gd name="connsiteX27" fmla="*/ 290773 w 408316"/>
                <a:gd name="connsiteY27" fmla="*/ 416611 h 488122"/>
                <a:gd name="connsiteX28" fmla="*/ 277382 w 408316"/>
                <a:gd name="connsiteY28" fmla="*/ 434058 h 488122"/>
                <a:gd name="connsiteX29" fmla="*/ 267067 w 408316"/>
                <a:gd name="connsiteY29" fmla="*/ 465461 h 488122"/>
                <a:gd name="connsiteX30" fmla="*/ 238874 w 408316"/>
                <a:gd name="connsiteY30" fmla="*/ 486099 h 488122"/>
                <a:gd name="connsiteX31" fmla="*/ 224186 w 408316"/>
                <a:gd name="connsiteY31" fmla="*/ 473980 h 488122"/>
                <a:gd name="connsiteX32" fmla="*/ 221378 w 408316"/>
                <a:gd name="connsiteY32" fmla="*/ 461675 h 488122"/>
                <a:gd name="connsiteX33" fmla="*/ 206519 w 408316"/>
                <a:gd name="connsiteY33" fmla="*/ 453824 h 488122"/>
                <a:gd name="connsiteX34" fmla="*/ 196827 w 408316"/>
                <a:gd name="connsiteY34" fmla="*/ 457072 h 488122"/>
                <a:gd name="connsiteX35" fmla="*/ 160999 w 408316"/>
                <a:gd name="connsiteY35" fmla="*/ 445769 h 488122"/>
                <a:gd name="connsiteX36" fmla="*/ 158323 w 408316"/>
                <a:gd name="connsiteY36" fmla="*/ 434280 h 488122"/>
                <a:gd name="connsiteX37" fmla="*/ 136808 w 408316"/>
                <a:gd name="connsiteY37" fmla="*/ 411340 h 488122"/>
                <a:gd name="connsiteX38" fmla="*/ 107036 w 408316"/>
                <a:gd name="connsiteY38" fmla="*/ 384614 h 488122"/>
                <a:gd name="connsiteX39" fmla="*/ 99700 w 408316"/>
                <a:gd name="connsiteY39" fmla="*/ 386637 h 488122"/>
                <a:gd name="connsiteX40" fmla="*/ 107317 w 408316"/>
                <a:gd name="connsiteY40" fmla="*/ 402432 h 488122"/>
                <a:gd name="connsiteX41" fmla="*/ 96795 w 408316"/>
                <a:gd name="connsiteY41" fmla="*/ 405810 h 488122"/>
                <a:gd name="connsiteX42" fmla="*/ 92328 w 408316"/>
                <a:gd name="connsiteY42" fmla="*/ 393764 h 488122"/>
                <a:gd name="connsiteX43" fmla="*/ 67172 w 408316"/>
                <a:gd name="connsiteY43" fmla="*/ 396066 h 488122"/>
                <a:gd name="connsiteX44" fmla="*/ 51748 w 408316"/>
                <a:gd name="connsiteY44" fmla="*/ 390015 h 488122"/>
                <a:gd name="connsiteX45" fmla="*/ 10174 w 408316"/>
                <a:gd name="connsiteY45" fmla="*/ 278415 h 488122"/>
                <a:gd name="connsiteX46" fmla="*/ 2784 w 408316"/>
                <a:gd name="connsiteY46" fmla="*/ 269395 h 488122"/>
                <a:gd name="connsiteX47" fmla="*/ 3729 w 408316"/>
                <a:gd name="connsiteY47" fmla="*/ 253935 h 488122"/>
                <a:gd name="connsiteX48" fmla="*/ 32862 w 408316"/>
                <a:gd name="connsiteY48" fmla="*/ 255253 h 488122"/>
                <a:gd name="connsiteX49" fmla="*/ 88545 w 408316"/>
                <a:gd name="connsiteY49" fmla="*/ 252339 h 488122"/>
                <a:gd name="connsiteX50" fmla="*/ 121959 w 408316"/>
                <a:gd name="connsiteY50" fmla="*/ 253824 h 488122"/>
                <a:gd name="connsiteX51" fmla="*/ 153525 w 408316"/>
                <a:gd name="connsiteY51" fmla="*/ 243708 h 488122"/>
                <a:gd name="connsiteX52" fmla="*/ 162408 w 408316"/>
                <a:gd name="connsiteY52" fmla="*/ 219339 h 488122"/>
                <a:gd name="connsiteX53" fmla="*/ 160448 w 408316"/>
                <a:gd name="connsiteY53" fmla="*/ 185616 h 488122"/>
                <a:gd name="connsiteX54" fmla="*/ 165353 w 408316"/>
                <a:gd name="connsiteY54" fmla="*/ 157628 h 488122"/>
                <a:gd name="connsiteX55" fmla="*/ 192130 w 408316"/>
                <a:gd name="connsiteY55" fmla="*/ 160171 h 488122"/>
                <a:gd name="connsiteX56" fmla="*/ 206838 w 408316"/>
                <a:gd name="connsiteY56" fmla="*/ 151040 h 488122"/>
                <a:gd name="connsiteX57" fmla="*/ 205632 w 408316"/>
                <a:gd name="connsiteY57" fmla="*/ 127413 h 488122"/>
                <a:gd name="connsiteX58" fmla="*/ 229242 w 408316"/>
                <a:gd name="connsiteY58" fmla="*/ 110041 h 488122"/>
                <a:gd name="connsiteX59" fmla="*/ 224472 w 408316"/>
                <a:gd name="connsiteY59" fmla="*/ 101448 h 488122"/>
                <a:gd name="connsiteX60" fmla="*/ 231488 w 408316"/>
                <a:gd name="connsiteY60" fmla="*/ 86730 h 488122"/>
                <a:gd name="connsiteX61" fmla="*/ 249608 w 408316"/>
                <a:gd name="connsiteY61" fmla="*/ 82999 h 488122"/>
                <a:gd name="connsiteX62" fmla="*/ 272293 w 408316"/>
                <a:gd name="connsiteY62" fmla="*/ 59837 h 488122"/>
                <a:gd name="connsiteX63" fmla="*/ 282175 w 408316"/>
                <a:gd name="connsiteY63" fmla="*/ 68467 h 488122"/>
                <a:gd name="connsiteX64" fmla="*/ 305031 w 408316"/>
                <a:gd name="connsiteY64" fmla="*/ 41017 h 488122"/>
                <a:gd name="connsiteX65" fmla="*/ 326171 w 408316"/>
                <a:gd name="connsiteY65" fmla="*/ 2784 h 488122"/>
                <a:gd name="connsiteX66" fmla="*/ 363862 w 408316"/>
                <a:gd name="connsiteY66" fmla="*/ 41852 h 488122"/>
                <a:gd name="connsiteX67" fmla="*/ 371913 w 408316"/>
                <a:gd name="connsiteY67" fmla="*/ 55030 h 488122"/>
                <a:gd name="connsiteX68" fmla="*/ 362069 w 408316"/>
                <a:gd name="connsiteY68" fmla="*/ 78712 h 488122"/>
                <a:gd name="connsiteX69" fmla="*/ 371384 w 408316"/>
                <a:gd name="connsiteY69" fmla="*/ 89143 h 488122"/>
                <a:gd name="connsiteX70" fmla="*/ 389241 w 408316"/>
                <a:gd name="connsiteY70" fmla="*/ 83742 h 488122"/>
                <a:gd name="connsiteX71" fmla="*/ 396370 w 408316"/>
                <a:gd name="connsiteY71" fmla="*/ 91110 h 48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408316" h="488122">
                  <a:moveTo>
                    <a:pt x="396370" y="91110"/>
                  </a:moveTo>
                  <a:lnTo>
                    <a:pt x="395672" y="92075"/>
                  </a:lnTo>
                  <a:lnTo>
                    <a:pt x="398688" y="95007"/>
                  </a:lnTo>
                  <a:lnTo>
                    <a:pt x="398819" y="95824"/>
                  </a:lnTo>
                  <a:lnTo>
                    <a:pt x="400178" y="99016"/>
                  </a:lnTo>
                  <a:lnTo>
                    <a:pt x="405701" y="117687"/>
                  </a:lnTo>
                  <a:lnTo>
                    <a:pt x="396273" y="122606"/>
                  </a:lnTo>
                  <a:lnTo>
                    <a:pt x="404606" y="153582"/>
                  </a:lnTo>
                  <a:lnTo>
                    <a:pt x="401002" y="173720"/>
                  </a:lnTo>
                  <a:lnTo>
                    <a:pt x="390970" y="185524"/>
                  </a:lnTo>
                  <a:lnTo>
                    <a:pt x="362195" y="191797"/>
                  </a:lnTo>
                  <a:lnTo>
                    <a:pt x="354708" y="214254"/>
                  </a:lnTo>
                  <a:lnTo>
                    <a:pt x="381633" y="233779"/>
                  </a:lnTo>
                  <a:lnTo>
                    <a:pt x="370772" y="245713"/>
                  </a:lnTo>
                  <a:lnTo>
                    <a:pt x="371282" y="232870"/>
                  </a:lnTo>
                  <a:lnTo>
                    <a:pt x="352049" y="218931"/>
                  </a:lnTo>
                  <a:lnTo>
                    <a:pt x="332511" y="245843"/>
                  </a:lnTo>
                  <a:lnTo>
                    <a:pt x="324517" y="243708"/>
                  </a:lnTo>
                  <a:lnTo>
                    <a:pt x="325118" y="274239"/>
                  </a:lnTo>
                  <a:lnTo>
                    <a:pt x="337620" y="283297"/>
                  </a:lnTo>
                  <a:lnTo>
                    <a:pt x="335562" y="318504"/>
                  </a:lnTo>
                  <a:lnTo>
                    <a:pt x="314045" y="332981"/>
                  </a:lnTo>
                  <a:lnTo>
                    <a:pt x="298225" y="324443"/>
                  </a:lnTo>
                  <a:lnTo>
                    <a:pt x="298375" y="341426"/>
                  </a:lnTo>
                  <a:lnTo>
                    <a:pt x="278047" y="363363"/>
                  </a:lnTo>
                  <a:lnTo>
                    <a:pt x="273219" y="381144"/>
                  </a:lnTo>
                  <a:lnTo>
                    <a:pt x="279667" y="405624"/>
                  </a:lnTo>
                  <a:lnTo>
                    <a:pt x="290773" y="416611"/>
                  </a:lnTo>
                  <a:lnTo>
                    <a:pt x="277382" y="434058"/>
                  </a:lnTo>
                  <a:lnTo>
                    <a:pt x="267067" y="465461"/>
                  </a:lnTo>
                  <a:lnTo>
                    <a:pt x="238874" y="486099"/>
                  </a:lnTo>
                  <a:lnTo>
                    <a:pt x="224186" y="473980"/>
                  </a:lnTo>
                  <a:lnTo>
                    <a:pt x="221378" y="461675"/>
                  </a:lnTo>
                  <a:lnTo>
                    <a:pt x="206519" y="453824"/>
                  </a:lnTo>
                  <a:lnTo>
                    <a:pt x="196827" y="457072"/>
                  </a:lnTo>
                  <a:lnTo>
                    <a:pt x="160999" y="445769"/>
                  </a:lnTo>
                  <a:lnTo>
                    <a:pt x="158323" y="434280"/>
                  </a:lnTo>
                  <a:lnTo>
                    <a:pt x="136808" y="411340"/>
                  </a:lnTo>
                  <a:lnTo>
                    <a:pt x="107036" y="384614"/>
                  </a:lnTo>
                  <a:lnTo>
                    <a:pt x="99700" y="386637"/>
                  </a:lnTo>
                  <a:lnTo>
                    <a:pt x="107317" y="402432"/>
                  </a:lnTo>
                  <a:lnTo>
                    <a:pt x="96795" y="405810"/>
                  </a:lnTo>
                  <a:lnTo>
                    <a:pt x="92328" y="393764"/>
                  </a:lnTo>
                  <a:lnTo>
                    <a:pt x="67172" y="396066"/>
                  </a:lnTo>
                  <a:lnTo>
                    <a:pt x="51748" y="390015"/>
                  </a:lnTo>
                  <a:lnTo>
                    <a:pt x="10174" y="278415"/>
                  </a:lnTo>
                  <a:lnTo>
                    <a:pt x="2784" y="269395"/>
                  </a:lnTo>
                  <a:lnTo>
                    <a:pt x="3729" y="253935"/>
                  </a:lnTo>
                  <a:lnTo>
                    <a:pt x="32862" y="255253"/>
                  </a:lnTo>
                  <a:lnTo>
                    <a:pt x="88545" y="252339"/>
                  </a:lnTo>
                  <a:lnTo>
                    <a:pt x="121959" y="253824"/>
                  </a:lnTo>
                  <a:lnTo>
                    <a:pt x="153525" y="243708"/>
                  </a:lnTo>
                  <a:lnTo>
                    <a:pt x="162408" y="219339"/>
                  </a:lnTo>
                  <a:lnTo>
                    <a:pt x="160448" y="185616"/>
                  </a:lnTo>
                  <a:lnTo>
                    <a:pt x="165353" y="157628"/>
                  </a:lnTo>
                  <a:lnTo>
                    <a:pt x="192130" y="160171"/>
                  </a:lnTo>
                  <a:lnTo>
                    <a:pt x="206838" y="151040"/>
                  </a:lnTo>
                  <a:lnTo>
                    <a:pt x="205632" y="127413"/>
                  </a:lnTo>
                  <a:lnTo>
                    <a:pt x="229242" y="110041"/>
                  </a:lnTo>
                  <a:lnTo>
                    <a:pt x="224472" y="101448"/>
                  </a:lnTo>
                  <a:lnTo>
                    <a:pt x="231488" y="86730"/>
                  </a:lnTo>
                  <a:lnTo>
                    <a:pt x="249608" y="82999"/>
                  </a:lnTo>
                  <a:lnTo>
                    <a:pt x="272293" y="59837"/>
                  </a:lnTo>
                  <a:lnTo>
                    <a:pt x="282175" y="68467"/>
                  </a:lnTo>
                  <a:lnTo>
                    <a:pt x="305031" y="41017"/>
                  </a:lnTo>
                  <a:lnTo>
                    <a:pt x="326171" y="2784"/>
                  </a:lnTo>
                  <a:lnTo>
                    <a:pt x="363862" y="41852"/>
                  </a:lnTo>
                  <a:lnTo>
                    <a:pt x="371913" y="55030"/>
                  </a:lnTo>
                  <a:lnTo>
                    <a:pt x="362069" y="78712"/>
                  </a:lnTo>
                  <a:lnTo>
                    <a:pt x="371384" y="89143"/>
                  </a:lnTo>
                  <a:lnTo>
                    <a:pt x="389241" y="83742"/>
                  </a:lnTo>
                  <a:lnTo>
                    <a:pt x="396370" y="9111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6BCA713-A16F-4DAD-B4A2-61330C88D8F3}"/>
                </a:ext>
              </a:extLst>
            </p:cNvPr>
            <p:cNvSpPr/>
            <p:nvPr/>
          </p:nvSpPr>
          <p:spPr>
            <a:xfrm>
              <a:off x="1303461" y="6138208"/>
              <a:ext cx="128063" cy="113215"/>
            </a:xfrm>
            <a:custGeom>
              <a:avLst/>
              <a:gdLst>
                <a:gd name="connsiteX0" fmla="*/ 70266 w 128062"/>
                <a:gd name="connsiteY0" fmla="*/ 110542 h 113214"/>
                <a:gd name="connsiteX1" fmla="*/ 54447 w 128062"/>
                <a:gd name="connsiteY1" fmla="*/ 102004 h 113214"/>
                <a:gd name="connsiteX2" fmla="*/ 30312 w 128062"/>
                <a:gd name="connsiteY2" fmla="*/ 78638 h 113214"/>
                <a:gd name="connsiteX3" fmla="*/ 27502 w 128062"/>
                <a:gd name="connsiteY3" fmla="*/ 66333 h 113214"/>
                <a:gd name="connsiteX4" fmla="*/ 11192 w 128062"/>
                <a:gd name="connsiteY4" fmla="*/ 49369 h 113214"/>
                <a:gd name="connsiteX5" fmla="*/ 2784 w 128062"/>
                <a:gd name="connsiteY5" fmla="*/ 28582 h 113214"/>
                <a:gd name="connsiteX6" fmla="*/ 26129 w 128062"/>
                <a:gd name="connsiteY6" fmla="*/ 9577 h 113214"/>
                <a:gd name="connsiteX7" fmla="*/ 36877 w 128062"/>
                <a:gd name="connsiteY7" fmla="*/ 12955 h 113214"/>
                <a:gd name="connsiteX8" fmla="*/ 42062 w 128062"/>
                <a:gd name="connsiteY8" fmla="*/ 2784 h 113214"/>
                <a:gd name="connsiteX9" fmla="*/ 61183 w 128062"/>
                <a:gd name="connsiteY9" fmla="*/ 32053 h 113214"/>
                <a:gd name="connsiteX10" fmla="*/ 75683 w 128062"/>
                <a:gd name="connsiteY10" fmla="*/ 32294 h 113214"/>
                <a:gd name="connsiteX11" fmla="*/ 95407 w 128062"/>
                <a:gd name="connsiteY11" fmla="*/ 17260 h 113214"/>
                <a:gd name="connsiteX12" fmla="*/ 125331 w 128062"/>
                <a:gd name="connsiteY12" fmla="*/ 60969 h 113214"/>
                <a:gd name="connsiteX13" fmla="*/ 107812 w 128062"/>
                <a:gd name="connsiteY13" fmla="*/ 57795 h 113214"/>
                <a:gd name="connsiteX14" fmla="*/ 104549 w 128062"/>
                <a:gd name="connsiteY14" fmla="*/ 69376 h 113214"/>
                <a:gd name="connsiteX15" fmla="*/ 118052 w 128062"/>
                <a:gd name="connsiteY15" fmla="*/ 74035 h 113214"/>
                <a:gd name="connsiteX16" fmla="*/ 111300 w 128062"/>
                <a:gd name="connsiteY16" fmla="*/ 90423 h 113214"/>
                <a:gd name="connsiteX17" fmla="*/ 92085 w 128062"/>
                <a:gd name="connsiteY17" fmla="*/ 92613 h 113214"/>
                <a:gd name="connsiteX18" fmla="*/ 70266 w 128062"/>
                <a:gd name="connsiteY18" fmla="*/ 110542 h 11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8062" h="113214">
                  <a:moveTo>
                    <a:pt x="70266" y="110542"/>
                  </a:moveTo>
                  <a:lnTo>
                    <a:pt x="54447" y="102004"/>
                  </a:lnTo>
                  <a:lnTo>
                    <a:pt x="30312" y="78638"/>
                  </a:lnTo>
                  <a:lnTo>
                    <a:pt x="27502" y="66333"/>
                  </a:lnTo>
                  <a:lnTo>
                    <a:pt x="11192" y="49369"/>
                  </a:lnTo>
                  <a:lnTo>
                    <a:pt x="2784" y="28582"/>
                  </a:lnTo>
                  <a:lnTo>
                    <a:pt x="26129" y="9577"/>
                  </a:lnTo>
                  <a:lnTo>
                    <a:pt x="36877" y="12955"/>
                  </a:lnTo>
                  <a:lnTo>
                    <a:pt x="42062" y="2784"/>
                  </a:lnTo>
                  <a:lnTo>
                    <a:pt x="61183" y="32053"/>
                  </a:lnTo>
                  <a:lnTo>
                    <a:pt x="75683" y="32294"/>
                  </a:lnTo>
                  <a:lnTo>
                    <a:pt x="95407" y="17260"/>
                  </a:lnTo>
                  <a:lnTo>
                    <a:pt x="125331" y="60969"/>
                  </a:lnTo>
                  <a:lnTo>
                    <a:pt x="107812" y="57795"/>
                  </a:lnTo>
                  <a:lnTo>
                    <a:pt x="104549" y="69376"/>
                  </a:lnTo>
                  <a:lnTo>
                    <a:pt x="118052" y="74035"/>
                  </a:lnTo>
                  <a:lnTo>
                    <a:pt x="111300" y="90423"/>
                  </a:lnTo>
                  <a:lnTo>
                    <a:pt x="92085" y="92613"/>
                  </a:lnTo>
                  <a:lnTo>
                    <a:pt x="70266" y="11054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E800A44-0AAB-42A3-B8E3-DF6BEF855E1F}"/>
                </a:ext>
              </a:extLst>
            </p:cNvPr>
            <p:cNvSpPr/>
            <p:nvPr/>
          </p:nvSpPr>
          <p:spPr>
            <a:xfrm>
              <a:off x="1463315" y="6309143"/>
              <a:ext cx="57536" cy="76095"/>
            </a:xfrm>
            <a:custGeom>
              <a:avLst/>
              <a:gdLst>
                <a:gd name="connsiteX0" fmla="*/ 22808 w 57535"/>
                <a:gd name="connsiteY0" fmla="*/ 73961 h 76095"/>
                <a:gd name="connsiteX1" fmla="*/ 14889 w 57535"/>
                <a:gd name="connsiteY1" fmla="*/ 61618 h 76095"/>
                <a:gd name="connsiteX2" fmla="*/ 4762 w 57535"/>
                <a:gd name="connsiteY2" fmla="*/ 67465 h 76095"/>
                <a:gd name="connsiteX3" fmla="*/ 2784 w 57535"/>
                <a:gd name="connsiteY3" fmla="*/ 55030 h 76095"/>
                <a:gd name="connsiteX4" fmla="*/ 8233 w 57535"/>
                <a:gd name="connsiteY4" fmla="*/ 46511 h 76095"/>
                <a:gd name="connsiteX5" fmla="*/ 17548 w 57535"/>
                <a:gd name="connsiteY5" fmla="*/ 56941 h 76095"/>
                <a:gd name="connsiteX6" fmla="*/ 30202 w 57535"/>
                <a:gd name="connsiteY6" fmla="*/ 45564 h 76095"/>
                <a:gd name="connsiteX7" fmla="*/ 23133 w 57535"/>
                <a:gd name="connsiteY7" fmla="*/ 11823 h 76095"/>
                <a:gd name="connsiteX8" fmla="*/ 31901 w 57535"/>
                <a:gd name="connsiteY8" fmla="*/ 2784 h 76095"/>
                <a:gd name="connsiteX9" fmla="*/ 48816 w 57535"/>
                <a:gd name="connsiteY9" fmla="*/ 12843 h 76095"/>
                <a:gd name="connsiteX10" fmla="*/ 55206 w 57535"/>
                <a:gd name="connsiteY10" fmla="*/ 26281 h 76095"/>
                <a:gd name="connsiteX11" fmla="*/ 31804 w 57535"/>
                <a:gd name="connsiteY11" fmla="*/ 71678 h 76095"/>
                <a:gd name="connsiteX12" fmla="*/ 22808 w 57535"/>
                <a:gd name="connsiteY12" fmla="*/ 73961 h 76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535" h="76095">
                  <a:moveTo>
                    <a:pt x="22808" y="73961"/>
                  </a:moveTo>
                  <a:lnTo>
                    <a:pt x="14889" y="61618"/>
                  </a:lnTo>
                  <a:lnTo>
                    <a:pt x="4762" y="67465"/>
                  </a:lnTo>
                  <a:lnTo>
                    <a:pt x="2784" y="55030"/>
                  </a:lnTo>
                  <a:lnTo>
                    <a:pt x="8233" y="46511"/>
                  </a:lnTo>
                  <a:lnTo>
                    <a:pt x="17548" y="56941"/>
                  </a:lnTo>
                  <a:lnTo>
                    <a:pt x="30202" y="45564"/>
                  </a:lnTo>
                  <a:lnTo>
                    <a:pt x="23133" y="11823"/>
                  </a:lnTo>
                  <a:lnTo>
                    <a:pt x="31901" y="2784"/>
                  </a:lnTo>
                  <a:lnTo>
                    <a:pt x="48816" y="12843"/>
                  </a:lnTo>
                  <a:lnTo>
                    <a:pt x="55206" y="26281"/>
                  </a:lnTo>
                  <a:lnTo>
                    <a:pt x="31804" y="71678"/>
                  </a:lnTo>
                  <a:lnTo>
                    <a:pt x="22808" y="73961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05C92B2-8B31-4794-9BC4-C9057665ADF1}"/>
                </a:ext>
              </a:extLst>
            </p:cNvPr>
            <p:cNvSpPr/>
            <p:nvPr/>
          </p:nvSpPr>
          <p:spPr>
            <a:xfrm>
              <a:off x="1370944" y="6225847"/>
              <a:ext cx="128063" cy="90943"/>
            </a:xfrm>
            <a:custGeom>
              <a:avLst/>
              <a:gdLst>
                <a:gd name="connsiteX0" fmla="*/ 37704 w 128062"/>
                <a:gd name="connsiteY0" fmla="*/ 81979 h 90942"/>
                <a:gd name="connsiteX1" fmla="*/ 28955 w 128062"/>
                <a:gd name="connsiteY1" fmla="*/ 69766 h 90942"/>
                <a:gd name="connsiteX2" fmla="*/ 28371 w 128062"/>
                <a:gd name="connsiteY2" fmla="*/ 55401 h 90942"/>
                <a:gd name="connsiteX3" fmla="*/ 10137 w 128062"/>
                <a:gd name="connsiteY3" fmla="*/ 37045 h 90942"/>
                <a:gd name="connsiteX4" fmla="*/ 2784 w 128062"/>
                <a:gd name="connsiteY4" fmla="*/ 22903 h 90942"/>
                <a:gd name="connsiteX5" fmla="*/ 24603 w 128062"/>
                <a:gd name="connsiteY5" fmla="*/ 4974 h 90942"/>
                <a:gd name="connsiteX6" fmla="*/ 43818 w 128062"/>
                <a:gd name="connsiteY6" fmla="*/ 2784 h 90942"/>
                <a:gd name="connsiteX7" fmla="*/ 74403 w 128062"/>
                <a:gd name="connsiteY7" fmla="*/ 13215 h 90942"/>
                <a:gd name="connsiteX8" fmla="*/ 75815 w 128062"/>
                <a:gd name="connsiteY8" fmla="*/ 27450 h 90942"/>
                <a:gd name="connsiteX9" fmla="*/ 96576 w 128062"/>
                <a:gd name="connsiteY9" fmla="*/ 40312 h 90942"/>
                <a:gd name="connsiteX10" fmla="*/ 112473 w 128062"/>
                <a:gd name="connsiteY10" fmla="*/ 38623 h 90942"/>
                <a:gd name="connsiteX11" fmla="*/ 126990 w 128062"/>
                <a:gd name="connsiteY11" fmla="*/ 55030 h 90942"/>
                <a:gd name="connsiteX12" fmla="*/ 123068 w 128062"/>
                <a:gd name="connsiteY12" fmla="*/ 62454 h 90942"/>
                <a:gd name="connsiteX13" fmla="*/ 123785 w 128062"/>
                <a:gd name="connsiteY13" fmla="*/ 77654 h 90942"/>
                <a:gd name="connsiteX14" fmla="*/ 113922 w 128062"/>
                <a:gd name="connsiteY14" fmla="*/ 85171 h 90942"/>
                <a:gd name="connsiteX15" fmla="*/ 91728 w 128062"/>
                <a:gd name="connsiteY15" fmla="*/ 79343 h 90942"/>
                <a:gd name="connsiteX16" fmla="*/ 83788 w 128062"/>
                <a:gd name="connsiteY16" fmla="*/ 88270 h 90942"/>
                <a:gd name="connsiteX17" fmla="*/ 79187 w 128062"/>
                <a:gd name="connsiteY17" fmla="*/ 75390 h 90942"/>
                <a:gd name="connsiteX18" fmla="*/ 49414 w 128062"/>
                <a:gd name="connsiteY18" fmla="*/ 86080 h 90942"/>
                <a:gd name="connsiteX19" fmla="*/ 37704 w 128062"/>
                <a:gd name="connsiteY19" fmla="*/ 81979 h 90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8062" h="90942">
                  <a:moveTo>
                    <a:pt x="37704" y="81979"/>
                  </a:moveTo>
                  <a:lnTo>
                    <a:pt x="28955" y="69766"/>
                  </a:lnTo>
                  <a:lnTo>
                    <a:pt x="28371" y="55401"/>
                  </a:lnTo>
                  <a:lnTo>
                    <a:pt x="10137" y="37045"/>
                  </a:lnTo>
                  <a:lnTo>
                    <a:pt x="2784" y="22903"/>
                  </a:lnTo>
                  <a:lnTo>
                    <a:pt x="24603" y="4974"/>
                  </a:lnTo>
                  <a:lnTo>
                    <a:pt x="43818" y="2784"/>
                  </a:lnTo>
                  <a:lnTo>
                    <a:pt x="74403" y="13215"/>
                  </a:lnTo>
                  <a:lnTo>
                    <a:pt x="75815" y="27450"/>
                  </a:lnTo>
                  <a:lnTo>
                    <a:pt x="96576" y="40312"/>
                  </a:lnTo>
                  <a:lnTo>
                    <a:pt x="112473" y="38623"/>
                  </a:lnTo>
                  <a:lnTo>
                    <a:pt x="126990" y="55030"/>
                  </a:lnTo>
                  <a:lnTo>
                    <a:pt x="123068" y="62454"/>
                  </a:lnTo>
                  <a:lnTo>
                    <a:pt x="123785" y="77654"/>
                  </a:lnTo>
                  <a:lnTo>
                    <a:pt x="113922" y="85171"/>
                  </a:lnTo>
                  <a:lnTo>
                    <a:pt x="91728" y="79343"/>
                  </a:lnTo>
                  <a:lnTo>
                    <a:pt x="83788" y="88270"/>
                  </a:lnTo>
                  <a:lnTo>
                    <a:pt x="79187" y="75390"/>
                  </a:lnTo>
                  <a:lnTo>
                    <a:pt x="49414" y="86080"/>
                  </a:lnTo>
                  <a:lnTo>
                    <a:pt x="37704" y="8197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28F5F2-60C1-460D-8234-49814C12912B}"/>
                </a:ext>
              </a:extLst>
            </p:cNvPr>
            <p:cNvSpPr/>
            <p:nvPr/>
          </p:nvSpPr>
          <p:spPr>
            <a:xfrm>
              <a:off x="1405861" y="6285517"/>
              <a:ext cx="115071" cy="81663"/>
            </a:xfrm>
            <a:custGeom>
              <a:avLst/>
              <a:gdLst>
                <a:gd name="connsiteX0" fmla="*/ 106268 w 115071"/>
                <a:gd name="connsiteY0" fmla="*/ 36470 h 81663"/>
                <a:gd name="connsiteX1" fmla="*/ 89355 w 115071"/>
                <a:gd name="connsiteY1" fmla="*/ 26411 h 81663"/>
                <a:gd name="connsiteX2" fmla="*/ 80585 w 115071"/>
                <a:gd name="connsiteY2" fmla="*/ 35449 h 81663"/>
                <a:gd name="connsiteX3" fmla="*/ 87654 w 115071"/>
                <a:gd name="connsiteY3" fmla="*/ 69191 h 81663"/>
                <a:gd name="connsiteX4" fmla="*/ 75000 w 115071"/>
                <a:gd name="connsiteY4" fmla="*/ 80568 h 81663"/>
                <a:gd name="connsiteX5" fmla="*/ 65687 w 115071"/>
                <a:gd name="connsiteY5" fmla="*/ 70137 h 81663"/>
                <a:gd name="connsiteX6" fmla="*/ 60236 w 115071"/>
                <a:gd name="connsiteY6" fmla="*/ 78656 h 81663"/>
                <a:gd name="connsiteX7" fmla="*/ 39609 w 115071"/>
                <a:gd name="connsiteY7" fmla="*/ 66629 h 81663"/>
                <a:gd name="connsiteX8" fmla="*/ 16019 w 115071"/>
                <a:gd name="connsiteY8" fmla="*/ 62732 h 81663"/>
                <a:gd name="connsiteX9" fmla="*/ 8495 w 115071"/>
                <a:gd name="connsiteY9" fmla="*/ 52877 h 81663"/>
                <a:gd name="connsiteX10" fmla="*/ 17660 w 115071"/>
                <a:gd name="connsiteY10" fmla="*/ 46307 h 81663"/>
                <a:gd name="connsiteX11" fmla="*/ 2784 w 115071"/>
                <a:gd name="connsiteY11" fmla="*/ 22309 h 81663"/>
                <a:gd name="connsiteX12" fmla="*/ 14493 w 115071"/>
                <a:gd name="connsiteY12" fmla="*/ 26411 h 81663"/>
                <a:gd name="connsiteX13" fmla="*/ 44269 w 115071"/>
                <a:gd name="connsiteY13" fmla="*/ 15720 h 81663"/>
                <a:gd name="connsiteX14" fmla="*/ 48868 w 115071"/>
                <a:gd name="connsiteY14" fmla="*/ 28600 h 81663"/>
                <a:gd name="connsiteX15" fmla="*/ 56808 w 115071"/>
                <a:gd name="connsiteY15" fmla="*/ 19673 h 81663"/>
                <a:gd name="connsiteX16" fmla="*/ 79002 w 115071"/>
                <a:gd name="connsiteY16" fmla="*/ 25501 h 81663"/>
                <a:gd name="connsiteX17" fmla="*/ 88865 w 115071"/>
                <a:gd name="connsiteY17" fmla="*/ 17984 h 81663"/>
                <a:gd name="connsiteX18" fmla="*/ 88148 w 115071"/>
                <a:gd name="connsiteY18" fmla="*/ 2784 h 81663"/>
                <a:gd name="connsiteX19" fmla="*/ 113415 w 115071"/>
                <a:gd name="connsiteY19" fmla="*/ 22569 h 81663"/>
                <a:gd name="connsiteX20" fmla="*/ 109058 w 115071"/>
                <a:gd name="connsiteY20" fmla="*/ 32628 h 81663"/>
                <a:gd name="connsiteX21" fmla="*/ 106268 w 115071"/>
                <a:gd name="connsiteY21" fmla="*/ 36470 h 8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5071" h="81663">
                  <a:moveTo>
                    <a:pt x="106268" y="36470"/>
                  </a:moveTo>
                  <a:lnTo>
                    <a:pt x="89355" y="26411"/>
                  </a:lnTo>
                  <a:lnTo>
                    <a:pt x="80585" y="35449"/>
                  </a:lnTo>
                  <a:lnTo>
                    <a:pt x="87654" y="69191"/>
                  </a:lnTo>
                  <a:lnTo>
                    <a:pt x="75000" y="80568"/>
                  </a:lnTo>
                  <a:lnTo>
                    <a:pt x="65687" y="70137"/>
                  </a:lnTo>
                  <a:lnTo>
                    <a:pt x="60236" y="78656"/>
                  </a:lnTo>
                  <a:lnTo>
                    <a:pt x="39609" y="66629"/>
                  </a:lnTo>
                  <a:lnTo>
                    <a:pt x="16019" y="62732"/>
                  </a:lnTo>
                  <a:lnTo>
                    <a:pt x="8495" y="52877"/>
                  </a:lnTo>
                  <a:lnTo>
                    <a:pt x="17660" y="46307"/>
                  </a:lnTo>
                  <a:lnTo>
                    <a:pt x="2784" y="22309"/>
                  </a:lnTo>
                  <a:lnTo>
                    <a:pt x="14493" y="26411"/>
                  </a:lnTo>
                  <a:lnTo>
                    <a:pt x="44269" y="15720"/>
                  </a:lnTo>
                  <a:lnTo>
                    <a:pt x="48868" y="28600"/>
                  </a:lnTo>
                  <a:lnTo>
                    <a:pt x="56808" y="19673"/>
                  </a:lnTo>
                  <a:lnTo>
                    <a:pt x="79002" y="25501"/>
                  </a:lnTo>
                  <a:lnTo>
                    <a:pt x="88865" y="17984"/>
                  </a:lnTo>
                  <a:lnTo>
                    <a:pt x="88148" y="2784"/>
                  </a:lnTo>
                  <a:lnTo>
                    <a:pt x="113415" y="22569"/>
                  </a:lnTo>
                  <a:lnTo>
                    <a:pt x="109058" y="32628"/>
                  </a:lnTo>
                  <a:lnTo>
                    <a:pt x="106268" y="3647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05BED2F-10EA-42C1-93A7-F171292BDBB0}"/>
                </a:ext>
              </a:extLst>
            </p:cNvPr>
            <p:cNvSpPr/>
            <p:nvPr/>
          </p:nvSpPr>
          <p:spPr>
            <a:xfrm>
              <a:off x="1392823" y="6047228"/>
              <a:ext cx="224574" cy="282109"/>
            </a:xfrm>
            <a:custGeom>
              <a:avLst/>
              <a:gdLst>
                <a:gd name="connsiteX0" fmla="*/ 122098 w 224574"/>
                <a:gd name="connsiteY0" fmla="*/ 270917 h 282108"/>
                <a:gd name="connsiteX1" fmla="*/ 126456 w 224574"/>
                <a:gd name="connsiteY1" fmla="*/ 260858 h 282108"/>
                <a:gd name="connsiteX2" fmla="*/ 101188 w 224574"/>
                <a:gd name="connsiteY2" fmla="*/ 241073 h 282108"/>
                <a:gd name="connsiteX3" fmla="*/ 105110 w 224574"/>
                <a:gd name="connsiteY3" fmla="*/ 233649 h 282108"/>
                <a:gd name="connsiteX4" fmla="*/ 90592 w 224574"/>
                <a:gd name="connsiteY4" fmla="*/ 217242 h 282108"/>
                <a:gd name="connsiteX5" fmla="*/ 74696 w 224574"/>
                <a:gd name="connsiteY5" fmla="*/ 218931 h 282108"/>
                <a:gd name="connsiteX6" fmla="*/ 53935 w 224574"/>
                <a:gd name="connsiteY6" fmla="*/ 206069 h 282108"/>
                <a:gd name="connsiteX7" fmla="*/ 52523 w 224574"/>
                <a:gd name="connsiteY7" fmla="*/ 191834 h 282108"/>
                <a:gd name="connsiteX8" fmla="*/ 21938 w 224574"/>
                <a:gd name="connsiteY8" fmla="*/ 181403 h 282108"/>
                <a:gd name="connsiteX9" fmla="*/ 28690 w 224574"/>
                <a:gd name="connsiteY9" fmla="*/ 165015 h 282108"/>
                <a:gd name="connsiteX10" fmla="*/ 15188 w 224574"/>
                <a:gd name="connsiteY10" fmla="*/ 160357 h 282108"/>
                <a:gd name="connsiteX11" fmla="*/ 18450 w 224574"/>
                <a:gd name="connsiteY11" fmla="*/ 148775 h 282108"/>
                <a:gd name="connsiteX12" fmla="*/ 35969 w 224574"/>
                <a:gd name="connsiteY12" fmla="*/ 151949 h 282108"/>
                <a:gd name="connsiteX13" fmla="*/ 6045 w 224574"/>
                <a:gd name="connsiteY13" fmla="*/ 108241 h 282108"/>
                <a:gd name="connsiteX14" fmla="*/ 2784 w 224574"/>
                <a:gd name="connsiteY14" fmla="*/ 82387 h 282108"/>
                <a:gd name="connsiteX15" fmla="*/ 26318 w 224574"/>
                <a:gd name="connsiteY15" fmla="*/ 75241 h 282108"/>
                <a:gd name="connsiteX16" fmla="*/ 18493 w 224574"/>
                <a:gd name="connsiteY16" fmla="*/ 68838 h 282108"/>
                <a:gd name="connsiteX17" fmla="*/ 23452 w 224574"/>
                <a:gd name="connsiteY17" fmla="*/ 51893 h 282108"/>
                <a:gd name="connsiteX18" fmla="*/ 8500 w 224574"/>
                <a:gd name="connsiteY18" fmla="*/ 38103 h 282108"/>
                <a:gd name="connsiteX19" fmla="*/ 14763 w 224574"/>
                <a:gd name="connsiteY19" fmla="*/ 13307 h 282108"/>
                <a:gd name="connsiteX20" fmla="*/ 23796 w 224574"/>
                <a:gd name="connsiteY20" fmla="*/ 5920 h 282108"/>
                <a:gd name="connsiteX21" fmla="*/ 44423 w 224574"/>
                <a:gd name="connsiteY21" fmla="*/ 17947 h 282108"/>
                <a:gd name="connsiteX22" fmla="*/ 48818 w 224574"/>
                <a:gd name="connsiteY22" fmla="*/ 2784 h 282108"/>
                <a:gd name="connsiteX23" fmla="*/ 61752 w 224574"/>
                <a:gd name="connsiteY23" fmla="*/ 9224 h 282108"/>
                <a:gd name="connsiteX24" fmla="*/ 76311 w 224574"/>
                <a:gd name="connsiteY24" fmla="*/ 20527 h 282108"/>
                <a:gd name="connsiteX25" fmla="*/ 93846 w 224574"/>
                <a:gd name="connsiteY25" fmla="*/ 39848 h 282108"/>
                <a:gd name="connsiteX26" fmla="*/ 113512 w 224574"/>
                <a:gd name="connsiteY26" fmla="*/ 51169 h 282108"/>
                <a:gd name="connsiteX27" fmla="*/ 142382 w 224574"/>
                <a:gd name="connsiteY27" fmla="*/ 50835 h 282108"/>
                <a:gd name="connsiteX28" fmla="*/ 154863 w 224574"/>
                <a:gd name="connsiteY28" fmla="*/ 81162 h 282108"/>
                <a:gd name="connsiteX29" fmla="*/ 174453 w 224574"/>
                <a:gd name="connsiteY29" fmla="*/ 102710 h 282108"/>
                <a:gd name="connsiteX30" fmla="*/ 174527 w 224574"/>
                <a:gd name="connsiteY30" fmla="*/ 129900 h 282108"/>
                <a:gd name="connsiteX31" fmla="*/ 182276 w 224574"/>
                <a:gd name="connsiteY31" fmla="*/ 146529 h 282108"/>
                <a:gd name="connsiteX32" fmla="*/ 195173 w 224574"/>
                <a:gd name="connsiteY32" fmla="*/ 158092 h 282108"/>
                <a:gd name="connsiteX33" fmla="*/ 222833 w 224574"/>
                <a:gd name="connsiteY33" fmla="*/ 208965 h 282108"/>
                <a:gd name="connsiteX34" fmla="*/ 221061 w 224574"/>
                <a:gd name="connsiteY34" fmla="*/ 224555 h 282108"/>
                <a:gd name="connsiteX35" fmla="*/ 208011 w 224574"/>
                <a:gd name="connsiteY35" fmla="*/ 233426 h 282108"/>
                <a:gd name="connsiteX36" fmla="*/ 183026 w 224574"/>
                <a:gd name="connsiteY36" fmla="*/ 231459 h 282108"/>
                <a:gd name="connsiteX37" fmla="*/ 178726 w 224574"/>
                <a:gd name="connsiteY37" fmla="*/ 252543 h 282108"/>
                <a:gd name="connsiteX38" fmla="*/ 159550 w 224574"/>
                <a:gd name="connsiteY38" fmla="*/ 249648 h 282108"/>
                <a:gd name="connsiteX39" fmla="*/ 177952 w 224574"/>
                <a:gd name="connsiteY39" fmla="*/ 263734 h 282108"/>
                <a:gd name="connsiteX40" fmla="*/ 171107 w 224574"/>
                <a:gd name="connsiteY40" fmla="*/ 274165 h 282108"/>
                <a:gd name="connsiteX41" fmla="*/ 162640 w 224574"/>
                <a:gd name="connsiteY41" fmla="*/ 279770 h 282108"/>
                <a:gd name="connsiteX42" fmla="*/ 147159 w 224574"/>
                <a:gd name="connsiteY42" fmla="*/ 262677 h 282108"/>
                <a:gd name="connsiteX43" fmla="*/ 140182 w 224574"/>
                <a:gd name="connsiteY43" fmla="*/ 272290 h 282108"/>
                <a:gd name="connsiteX44" fmla="*/ 122098 w 224574"/>
                <a:gd name="connsiteY44" fmla="*/ 270917 h 282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24574" h="282108">
                  <a:moveTo>
                    <a:pt x="122098" y="270917"/>
                  </a:moveTo>
                  <a:lnTo>
                    <a:pt x="126456" y="260858"/>
                  </a:lnTo>
                  <a:lnTo>
                    <a:pt x="101188" y="241073"/>
                  </a:lnTo>
                  <a:lnTo>
                    <a:pt x="105110" y="233649"/>
                  </a:lnTo>
                  <a:lnTo>
                    <a:pt x="90592" y="217242"/>
                  </a:lnTo>
                  <a:lnTo>
                    <a:pt x="74696" y="218931"/>
                  </a:lnTo>
                  <a:lnTo>
                    <a:pt x="53935" y="206069"/>
                  </a:lnTo>
                  <a:lnTo>
                    <a:pt x="52523" y="191834"/>
                  </a:lnTo>
                  <a:lnTo>
                    <a:pt x="21938" y="181403"/>
                  </a:lnTo>
                  <a:lnTo>
                    <a:pt x="28690" y="165015"/>
                  </a:lnTo>
                  <a:lnTo>
                    <a:pt x="15188" y="160357"/>
                  </a:lnTo>
                  <a:lnTo>
                    <a:pt x="18450" y="148775"/>
                  </a:lnTo>
                  <a:lnTo>
                    <a:pt x="35969" y="151949"/>
                  </a:lnTo>
                  <a:lnTo>
                    <a:pt x="6045" y="108241"/>
                  </a:lnTo>
                  <a:lnTo>
                    <a:pt x="2784" y="82387"/>
                  </a:lnTo>
                  <a:lnTo>
                    <a:pt x="26318" y="75241"/>
                  </a:lnTo>
                  <a:lnTo>
                    <a:pt x="18493" y="68838"/>
                  </a:lnTo>
                  <a:lnTo>
                    <a:pt x="23452" y="51893"/>
                  </a:lnTo>
                  <a:lnTo>
                    <a:pt x="8500" y="38103"/>
                  </a:lnTo>
                  <a:lnTo>
                    <a:pt x="14763" y="13307"/>
                  </a:lnTo>
                  <a:lnTo>
                    <a:pt x="23796" y="5920"/>
                  </a:lnTo>
                  <a:lnTo>
                    <a:pt x="44423" y="17947"/>
                  </a:lnTo>
                  <a:lnTo>
                    <a:pt x="48818" y="2784"/>
                  </a:lnTo>
                  <a:lnTo>
                    <a:pt x="61752" y="9224"/>
                  </a:lnTo>
                  <a:lnTo>
                    <a:pt x="76311" y="20527"/>
                  </a:lnTo>
                  <a:lnTo>
                    <a:pt x="93846" y="39848"/>
                  </a:lnTo>
                  <a:lnTo>
                    <a:pt x="113512" y="51169"/>
                  </a:lnTo>
                  <a:lnTo>
                    <a:pt x="142382" y="50835"/>
                  </a:lnTo>
                  <a:lnTo>
                    <a:pt x="154863" y="81162"/>
                  </a:lnTo>
                  <a:lnTo>
                    <a:pt x="174453" y="102710"/>
                  </a:lnTo>
                  <a:lnTo>
                    <a:pt x="174527" y="129900"/>
                  </a:lnTo>
                  <a:lnTo>
                    <a:pt x="182276" y="146529"/>
                  </a:lnTo>
                  <a:lnTo>
                    <a:pt x="195173" y="158092"/>
                  </a:lnTo>
                  <a:lnTo>
                    <a:pt x="222833" y="208965"/>
                  </a:lnTo>
                  <a:lnTo>
                    <a:pt x="221061" y="224555"/>
                  </a:lnTo>
                  <a:lnTo>
                    <a:pt x="208011" y="233426"/>
                  </a:lnTo>
                  <a:lnTo>
                    <a:pt x="183026" y="231459"/>
                  </a:lnTo>
                  <a:lnTo>
                    <a:pt x="178726" y="252543"/>
                  </a:lnTo>
                  <a:lnTo>
                    <a:pt x="159550" y="249648"/>
                  </a:lnTo>
                  <a:lnTo>
                    <a:pt x="177952" y="263734"/>
                  </a:lnTo>
                  <a:lnTo>
                    <a:pt x="171107" y="274165"/>
                  </a:lnTo>
                  <a:lnTo>
                    <a:pt x="162640" y="279770"/>
                  </a:lnTo>
                  <a:lnTo>
                    <a:pt x="147159" y="262677"/>
                  </a:lnTo>
                  <a:lnTo>
                    <a:pt x="140182" y="272290"/>
                  </a:lnTo>
                  <a:lnTo>
                    <a:pt x="122098" y="27091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DA7755B-57E5-4CD0-9606-0045A2926A5D}"/>
                </a:ext>
              </a:extLst>
            </p:cNvPr>
            <p:cNvSpPr/>
            <p:nvPr/>
          </p:nvSpPr>
          <p:spPr>
            <a:xfrm>
              <a:off x="1480893" y="5157750"/>
              <a:ext cx="233854" cy="191166"/>
            </a:xfrm>
            <a:custGeom>
              <a:avLst/>
              <a:gdLst>
                <a:gd name="connsiteX0" fmla="*/ 78517 w 233854"/>
                <a:gd name="connsiteY0" fmla="*/ 6941 h 191165"/>
                <a:gd name="connsiteX1" fmla="*/ 94019 w 233854"/>
                <a:gd name="connsiteY1" fmla="*/ 2784 h 191165"/>
                <a:gd name="connsiteX2" fmla="*/ 104388 w 233854"/>
                <a:gd name="connsiteY2" fmla="*/ 19840 h 191165"/>
                <a:gd name="connsiteX3" fmla="*/ 120039 w 233854"/>
                <a:gd name="connsiteY3" fmla="*/ 32665 h 191165"/>
                <a:gd name="connsiteX4" fmla="*/ 118304 w 233854"/>
                <a:gd name="connsiteY4" fmla="*/ 43133 h 191165"/>
                <a:gd name="connsiteX5" fmla="*/ 129711 w 233854"/>
                <a:gd name="connsiteY5" fmla="*/ 50687 h 191165"/>
                <a:gd name="connsiteX6" fmla="*/ 143891 w 233854"/>
                <a:gd name="connsiteY6" fmla="*/ 75631 h 191165"/>
                <a:gd name="connsiteX7" fmla="*/ 161898 w 233854"/>
                <a:gd name="connsiteY7" fmla="*/ 87231 h 191165"/>
                <a:gd name="connsiteX8" fmla="*/ 187976 w 233854"/>
                <a:gd name="connsiteY8" fmla="*/ 90739 h 191165"/>
                <a:gd name="connsiteX9" fmla="*/ 199195 w 233854"/>
                <a:gd name="connsiteY9" fmla="*/ 86396 h 191165"/>
                <a:gd name="connsiteX10" fmla="*/ 208379 w 233854"/>
                <a:gd name="connsiteY10" fmla="*/ 95991 h 191165"/>
                <a:gd name="connsiteX11" fmla="*/ 212902 w 233854"/>
                <a:gd name="connsiteY11" fmla="*/ 119080 h 191165"/>
                <a:gd name="connsiteX12" fmla="*/ 232531 w 233854"/>
                <a:gd name="connsiteY12" fmla="*/ 135524 h 191165"/>
                <a:gd name="connsiteX13" fmla="*/ 228835 w 233854"/>
                <a:gd name="connsiteY13" fmla="*/ 149722 h 191165"/>
                <a:gd name="connsiteX14" fmla="*/ 201170 w 233854"/>
                <a:gd name="connsiteY14" fmla="*/ 173682 h 191165"/>
                <a:gd name="connsiteX15" fmla="*/ 200303 w 233854"/>
                <a:gd name="connsiteY15" fmla="*/ 178916 h 191165"/>
                <a:gd name="connsiteX16" fmla="*/ 160175 w 233854"/>
                <a:gd name="connsiteY16" fmla="*/ 188697 h 191165"/>
                <a:gd name="connsiteX17" fmla="*/ 139377 w 233854"/>
                <a:gd name="connsiteY17" fmla="*/ 180958 h 191165"/>
                <a:gd name="connsiteX18" fmla="*/ 122218 w 233854"/>
                <a:gd name="connsiteY18" fmla="*/ 185394 h 191165"/>
                <a:gd name="connsiteX19" fmla="*/ 121634 w 233854"/>
                <a:gd name="connsiteY19" fmla="*/ 171028 h 191165"/>
                <a:gd name="connsiteX20" fmla="*/ 110132 w 233854"/>
                <a:gd name="connsiteY20" fmla="*/ 157554 h 191165"/>
                <a:gd name="connsiteX21" fmla="*/ 72419 w 233854"/>
                <a:gd name="connsiteY21" fmla="*/ 177153 h 191165"/>
                <a:gd name="connsiteX22" fmla="*/ 60444 w 233854"/>
                <a:gd name="connsiteY22" fmla="*/ 171400 h 191165"/>
                <a:gd name="connsiteX23" fmla="*/ 54863 w 233854"/>
                <a:gd name="connsiteY23" fmla="*/ 179102 h 191165"/>
                <a:gd name="connsiteX24" fmla="*/ 13849 w 233854"/>
                <a:gd name="connsiteY24" fmla="*/ 177970 h 191165"/>
                <a:gd name="connsiteX25" fmla="*/ 11342 w 233854"/>
                <a:gd name="connsiteY25" fmla="*/ 162213 h 191165"/>
                <a:gd name="connsiteX26" fmla="*/ 21205 w 233854"/>
                <a:gd name="connsiteY26" fmla="*/ 154677 h 191165"/>
                <a:gd name="connsiteX27" fmla="*/ 14852 w 233854"/>
                <a:gd name="connsiteY27" fmla="*/ 136136 h 191165"/>
                <a:gd name="connsiteX28" fmla="*/ 2784 w 233854"/>
                <a:gd name="connsiteY28" fmla="*/ 124443 h 191165"/>
                <a:gd name="connsiteX29" fmla="*/ 19850 w 233854"/>
                <a:gd name="connsiteY29" fmla="*/ 114087 h 191165"/>
                <a:gd name="connsiteX30" fmla="*/ 13968 w 233854"/>
                <a:gd name="connsiteY30" fmla="*/ 87806 h 191165"/>
                <a:gd name="connsiteX31" fmla="*/ 32109 w 233854"/>
                <a:gd name="connsiteY31" fmla="*/ 62806 h 191165"/>
                <a:gd name="connsiteX32" fmla="*/ 29377 w 233854"/>
                <a:gd name="connsiteY32" fmla="*/ 40275 h 191165"/>
                <a:gd name="connsiteX33" fmla="*/ 50119 w 233854"/>
                <a:gd name="connsiteY33" fmla="*/ 36971 h 191165"/>
                <a:gd name="connsiteX34" fmla="*/ 58831 w 233854"/>
                <a:gd name="connsiteY34" fmla="*/ 16889 h 191165"/>
                <a:gd name="connsiteX35" fmla="*/ 78517 w 233854"/>
                <a:gd name="connsiteY35" fmla="*/ 6941 h 19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3854" h="191165">
                  <a:moveTo>
                    <a:pt x="78517" y="6941"/>
                  </a:moveTo>
                  <a:lnTo>
                    <a:pt x="94019" y="2784"/>
                  </a:lnTo>
                  <a:lnTo>
                    <a:pt x="104388" y="19840"/>
                  </a:lnTo>
                  <a:lnTo>
                    <a:pt x="120039" y="32665"/>
                  </a:lnTo>
                  <a:lnTo>
                    <a:pt x="118304" y="43133"/>
                  </a:lnTo>
                  <a:lnTo>
                    <a:pt x="129711" y="50687"/>
                  </a:lnTo>
                  <a:lnTo>
                    <a:pt x="143891" y="75631"/>
                  </a:lnTo>
                  <a:lnTo>
                    <a:pt x="161898" y="87231"/>
                  </a:lnTo>
                  <a:lnTo>
                    <a:pt x="187976" y="90739"/>
                  </a:lnTo>
                  <a:lnTo>
                    <a:pt x="199195" y="86396"/>
                  </a:lnTo>
                  <a:lnTo>
                    <a:pt x="208379" y="95991"/>
                  </a:lnTo>
                  <a:lnTo>
                    <a:pt x="212902" y="119080"/>
                  </a:lnTo>
                  <a:lnTo>
                    <a:pt x="232531" y="135524"/>
                  </a:lnTo>
                  <a:lnTo>
                    <a:pt x="228835" y="149722"/>
                  </a:lnTo>
                  <a:lnTo>
                    <a:pt x="201170" y="173682"/>
                  </a:lnTo>
                  <a:lnTo>
                    <a:pt x="200303" y="178916"/>
                  </a:lnTo>
                  <a:lnTo>
                    <a:pt x="160175" y="188697"/>
                  </a:lnTo>
                  <a:lnTo>
                    <a:pt x="139377" y="180958"/>
                  </a:lnTo>
                  <a:lnTo>
                    <a:pt x="122218" y="185394"/>
                  </a:lnTo>
                  <a:lnTo>
                    <a:pt x="121634" y="171028"/>
                  </a:lnTo>
                  <a:lnTo>
                    <a:pt x="110132" y="157554"/>
                  </a:lnTo>
                  <a:lnTo>
                    <a:pt x="72419" y="177153"/>
                  </a:lnTo>
                  <a:lnTo>
                    <a:pt x="60444" y="171400"/>
                  </a:lnTo>
                  <a:lnTo>
                    <a:pt x="54863" y="179102"/>
                  </a:lnTo>
                  <a:lnTo>
                    <a:pt x="13849" y="177970"/>
                  </a:lnTo>
                  <a:lnTo>
                    <a:pt x="11342" y="162213"/>
                  </a:lnTo>
                  <a:lnTo>
                    <a:pt x="21205" y="154677"/>
                  </a:lnTo>
                  <a:lnTo>
                    <a:pt x="14852" y="136136"/>
                  </a:lnTo>
                  <a:lnTo>
                    <a:pt x="2784" y="124443"/>
                  </a:lnTo>
                  <a:lnTo>
                    <a:pt x="19850" y="114087"/>
                  </a:lnTo>
                  <a:lnTo>
                    <a:pt x="13968" y="87806"/>
                  </a:lnTo>
                  <a:lnTo>
                    <a:pt x="32109" y="62806"/>
                  </a:lnTo>
                  <a:lnTo>
                    <a:pt x="29377" y="40275"/>
                  </a:lnTo>
                  <a:lnTo>
                    <a:pt x="50119" y="36971"/>
                  </a:lnTo>
                  <a:lnTo>
                    <a:pt x="58831" y="16889"/>
                  </a:lnTo>
                  <a:lnTo>
                    <a:pt x="78517" y="6941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B8A8DAC-B786-4A1A-9064-23E59EC7BAD0}"/>
                </a:ext>
              </a:extLst>
            </p:cNvPr>
            <p:cNvSpPr/>
            <p:nvPr/>
          </p:nvSpPr>
          <p:spPr>
            <a:xfrm>
              <a:off x="1508324" y="4891974"/>
              <a:ext cx="193022" cy="287677"/>
            </a:xfrm>
            <a:custGeom>
              <a:avLst/>
              <a:gdLst>
                <a:gd name="connsiteX0" fmla="*/ 76958 w 193022"/>
                <a:gd name="connsiteY0" fmla="*/ 285617 h 287676"/>
                <a:gd name="connsiteX1" fmla="*/ 66589 w 193022"/>
                <a:gd name="connsiteY1" fmla="*/ 268560 h 287676"/>
                <a:gd name="connsiteX2" fmla="*/ 51088 w 193022"/>
                <a:gd name="connsiteY2" fmla="*/ 272718 h 287676"/>
                <a:gd name="connsiteX3" fmla="*/ 46810 w 193022"/>
                <a:gd name="connsiteY3" fmla="*/ 235134 h 287676"/>
                <a:gd name="connsiteX4" fmla="*/ 35572 w 193022"/>
                <a:gd name="connsiteY4" fmla="*/ 223311 h 287676"/>
                <a:gd name="connsiteX5" fmla="*/ 14774 w 193022"/>
                <a:gd name="connsiteY5" fmla="*/ 215572 h 287676"/>
                <a:gd name="connsiteX6" fmla="*/ 28426 w 193022"/>
                <a:gd name="connsiteY6" fmla="*/ 199796 h 287676"/>
                <a:gd name="connsiteX7" fmla="*/ 22469 w 193022"/>
                <a:gd name="connsiteY7" fmla="*/ 183723 h 287676"/>
                <a:gd name="connsiteX8" fmla="*/ 10759 w 193022"/>
                <a:gd name="connsiteY8" fmla="*/ 179640 h 287676"/>
                <a:gd name="connsiteX9" fmla="*/ 14588 w 193022"/>
                <a:gd name="connsiteY9" fmla="*/ 166277 h 287676"/>
                <a:gd name="connsiteX10" fmla="*/ 2784 w 193022"/>
                <a:gd name="connsiteY10" fmla="*/ 156236 h 287676"/>
                <a:gd name="connsiteX11" fmla="*/ 27998 w 193022"/>
                <a:gd name="connsiteY11" fmla="*/ 127580 h 287676"/>
                <a:gd name="connsiteX12" fmla="*/ 38974 w 193022"/>
                <a:gd name="connsiteY12" fmla="*/ 100316 h 287676"/>
                <a:gd name="connsiteX13" fmla="*/ 33072 w 193022"/>
                <a:gd name="connsiteY13" fmla="*/ 95305 h 287676"/>
                <a:gd name="connsiteX14" fmla="*/ 66034 w 193022"/>
                <a:gd name="connsiteY14" fmla="*/ 83259 h 287676"/>
                <a:gd name="connsiteX15" fmla="*/ 67487 w 193022"/>
                <a:gd name="connsiteY15" fmla="*/ 54956 h 287676"/>
                <a:gd name="connsiteX16" fmla="*/ 89494 w 193022"/>
                <a:gd name="connsiteY16" fmla="*/ 48905 h 287676"/>
                <a:gd name="connsiteX17" fmla="*/ 103484 w 193022"/>
                <a:gd name="connsiteY17" fmla="*/ 61990 h 287676"/>
                <a:gd name="connsiteX18" fmla="*/ 117024 w 193022"/>
                <a:gd name="connsiteY18" fmla="*/ 61526 h 287676"/>
                <a:gd name="connsiteX19" fmla="*/ 122246 w 193022"/>
                <a:gd name="connsiteY19" fmla="*/ 46251 h 287676"/>
                <a:gd name="connsiteX20" fmla="*/ 111405 w 193022"/>
                <a:gd name="connsiteY20" fmla="*/ 36915 h 287676"/>
                <a:gd name="connsiteX21" fmla="*/ 114366 w 193022"/>
                <a:gd name="connsiteY21" fmla="*/ 28786 h 287676"/>
                <a:gd name="connsiteX22" fmla="*/ 135504 w 193022"/>
                <a:gd name="connsiteY22" fmla="*/ 27970 h 287676"/>
                <a:gd name="connsiteX23" fmla="*/ 165526 w 193022"/>
                <a:gd name="connsiteY23" fmla="*/ 2784 h 287676"/>
                <a:gd name="connsiteX24" fmla="*/ 176066 w 193022"/>
                <a:gd name="connsiteY24" fmla="*/ 15572 h 287676"/>
                <a:gd name="connsiteX25" fmla="*/ 171842 w 193022"/>
                <a:gd name="connsiteY25" fmla="*/ 26448 h 287676"/>
                <a:gd name="connsiteX26" fmla="*/ 186718 w 193022"/>
                <a:gd name="connsiteY26" fmla="*/ 50446 h 287676"/>
                <a:gd name="connsiteX27" fmla="*/ 186924 w 193022"/>
                <a:gd name="connsiteY27" fmla="*/ 78471 h 287676"/>
                <a:gd name="connsiteX28" fmla="*/ 182302 w 193022"/>
                <a:gd name="connsiteY28" fmla="*/ 86860 h 287676"/>
                <a:gd name="connsiteX29" fmla="*/ 191712 w 193022"/>
                <a:gd name="connsiteY29" fmla="*/ 103229 h 287676"/>
                <a:gd name="connsiteX30" fmla="*/ 171968 w 193022"/>
                <a:gd name="connsiteY30" fmla="*/ 102116 h 287676"/>
                <a:gd name="connsiteX31" fmla="*/ 162239 w 193022"/>
                <a:gd name="connsiteY31" fmla="*/ 110468 h 287676"/>
                <a:gd name="connsiteX32" fmla="*/ 162124 w 193022"/>
                <a:gd name="connsiteY32" fmla="*/ 125798 h 287676"/>
                <a:gd name="connsiteX33" fmla="*/ 174247 w 193022"/>
                <a:gd name="connsiteY33" fmla="*/ 148534 h 287676"/>
                <a:gd name="connsiteX34" fmla="*/ 160595 w 193022"/>
                <a:gd name="connsiteY34" fmla="*/ 164310 h 287676"/>
                <a:gd name="connsiteX35" fmla="*/ 141040 w 193022"/>
                <a:gd name="connsiteY35" fmla="*/ 175075 h 287676"/>
                <a:gd name="connsiteX36" fmla="*/ 124162 w 193022"/>
                <a:gd name="connsiteY36" fmla="*/ 197309 h 287676"/>
                <a:gd name="connsiteX37" fmla="*/ 134438 w 193022"/>
                <a:gd name="connsiteY37" fmla="*/ 208445 h 287676"/>
                <a:gd name="connsiteX38" fmla="*/ 118542 w 193022"/>
                <a:gd name="connsiteY38" fmla="*/ 210115 h 287676"/>
                <a:gd name="connsiteX39" fmla="*/ 117165 w 193022"/>
                <a:gd name="connsiteY39" fmla="*/ 228193 h 287676"/>
                <a:gd name="connsiteX40" fmla="*/ 106907 w 193022"/>
                <a:gd name="connsiteY40" fmla="*/ 233222 h 287676"/>
                <a:gd name="connsiteX41" fmla="*/ 110036 w 193022"/>
                <a:gd name="connsiteY41" fmla="*/ 258241 h 287676"/>
                <a:gd name="connsiteX42" fmla="*/ 95156 w 193022"/>
                <a:gd name="connsiteY42" fmla="*/ 271660 h 287676"/>
                <a:gd name="connsiteX43" fmla="*/ 86331 w 193022"/>
                <a:gd name="connsiteY43" fmla="*/ 269674 h 287676"/>
                <a:gd name="connsiteX44" fmla="*/ 76958 w 193022"/>
                <a:gd name="connsiteY44" fmla="*/ 285617 h 28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3022" h="287676">
                  <a:moveTo>
                    <a:pt x="76958" y="285617"/>
                  </a:moveTo>
                  <a:lnTo>
                    <a:pt x="66589" y="268560"/>
                  </a:lnTo>
                  <a:lnTo>
                    <a:pt x="51088" y="272718"/>
                  </a:lnTo>
                  <a:lnTo>
                    <a:pt x="46810" y="235134"/>
                  </a:lnTo>
                  <a:lnTo>
                    <a:pt x="35572" y="223311"/>
                  </a:lnTo>
                  <a:lnTo>
                    <a:pt x="14774" y="215572"/>
                  </a:lnTo>
                  <a:lnTo>
                    <a:pt x="28426" y="199796"/>
                  </a:lnTo>
                  <a:lnTo>
                    <a:pt x="22469" y="183723"/>
                  </a:lnTo>
                  <a:lnTo>
                    <a:pt x="10759" y="179640"/>
                  </a:lnTo>
                  <a:lnTo>
                    <a:pt x="14588" y="166277"/>
                  </a:lnTo>
                  <a:lnTo>
                    <a:pt x="2784" y="156236"/>
                  </a:lnTo>
                  <a:lnTo>
                    <a:pt x="27998" y="127580"/>
                  </a:lnTo>
                  <a:lnTo>
                    <a:pt x="38974" y="100316"/>
                  </a:lnTo>
                  <a:lnTo>
                    <a:pt x="33072" y="95305"/>
                  </a:lnTo>
                  <a:lnTo>
                    <a:pt x="66034" y="83259"/>
                  </a:lnTo>
                  <a:lnTo>
                    <a:pt x="67487" y="54956"/>
                  </a:lnTo>
                  <a:lnTo>
                    <a:pt x="89494" y="48905"/>
                  </a:lnTo>
                  <a:lnTo>
                    <a:pt x="103484" y="61990"/>
                  </a:lnTo>
                  <a:lnTo>
                    <a:pt x="117024" y="61526"/>
                  </a:lnTo>
                  <a:lnTo>
                    <a:pt x="122246" y="46251"/>
                  </a:lnTo>
                  <a:lnTo>
                    <a:pt x="111405" y="36915"/>
                  </a:lnTo>
                  <a:lnTo>
                    <a:pt x="114366" y="28786"/>
                  </a:lnTo>
                  <a:lnTo>
                    <a:pt x="135504" y="27970"/>
                  </a:lnTo>
                  <a:lnTo>
                    <a:pt x="165526" y="2784"/>
                  </a:lnTo>
                  <a:lnTo>
                    <a:pt x="176066" y="15572"/>
                  </a:lnTo>
                  <a:lnTo>
                    <a:pt x="171842" y="26448"/>
                  </a:lnTo>
                  <a:lnTo>
                    <a:pt x="186718" y="50446"/>
                  </a:lnTo>
                  <a:lnTo>
                    <a:pt x="186924" y="78471"/>
                  </a:lnTo>
                  <a:lnTo>
                    <a:pt x="182302" y="86860"/>
                  </a:lnTo>
                  <a:lnTo>
                    <a:pt x="191712" y="103229"/>
                  </a:lnTo>
                  <a:lnTo>
                    <a:pt x="171968" y="102116"/>
                  </a:lnTo>
                  <a:lnTo>
                    <a:pt x="162239" y="110468"/>
                  </a:lnTo>
                  <a:lnTo>
                    <a:pt x="162124" y="125798"/>
                  </a:lnTo>
                  <a:lnTo>
                    <a:pt x="174247" y="148534"/>
                  </a:lnTo>
                  <a:lnTo>
                    <a:pt x="160595" y="164310"/>
                  </a:lnTo>
                  <a:lnTo>
                    <a:pt x="141040" y="175075"/>
                  </a:lnTo>
                  <a:lnTo>
                    <a:pt x="124162" y="197309"/>
                  </a:lnTo>
                  <a:lnTo>
                    <a:pt x="134438" y="208445"/>
                  </a:lnTo>
                  <a:lnTo>
                    <a:pt x="118542" y="210115"/>
                  </a:lnTo>
                  <a:lnTo>
                    <a:pt x="117165" y="228193"/>
                  </a:lnTo>
                  <a:lnTo>
                    <a:pt x="106907" y="233222"/>
                  </a:lnTo>
                  <a:lnTo>
                    <a:pt x="110036" y="258241"/>
                  </a:lnTo>
                  <a:lnTo>
                    <a:pt x="95156" y="271660"/>
                  </a:lnTo>
                  <a:lnTo>
                    <a:pt x="86331" y="269674"/>
                  </a:lnTo>
                  <a:lnTo>
                    <a:pt x="76958" y="28561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D564ECF-732F-4742-9CD1-D0774FD14404}"/>
                </a:ext>
              </a:extLst>
            </p:cNvPr>
            <p:cNvSpPr/>
            <p:nvPr/>
          </p:nvSpPr>
          <p:spPr>
            <a:xfrm>
              <a:off x="1582497" y="5097635"/>
              <a:ext cx="348925" cy="250557"/>
            </a:xfrm>
            <a:custGeom>
              <a:avLst/>
              <a:gdLst>
                <a:gd name="connsiteX0" fmla="*/ 2784 w 348925"/>
                <a:gd name="connsiteY0" fmla="*/ 79955 h 250557"/>
                <a:gd name="connsiteX1" fmla="*/ 12157 w 348925"/>
                <a:gd name="connsiteY1" fmla="*/ 64013 h 250557"/>
                <a:gd name="connsiteX2" fmla="*/ 20982 w 348925"/>
                <a:gd name="connsiteY2" fmla="*/ 65998 h 250557"/>
                <a:gd name="connsiteX3" fmla="*/ 35859 w 348925"/>
                <a:gd name="connsiteY3" fmla="*/ 52580 h 250557"/>
                <a:gd name="connsiteX4" fmla="*/ 32730 w 348925"/>
                <a:gd name="connsiteY4" fmla="*/ 27561 h 250557"/>
                <a:gd name="connsiteX5" fmla="*/ 42988 w 348925"/>
                <a:gd name="connsiteY5" fmla="*/ 22532 h 250557"/>
                <a:gd name="connsiteX6" fmla="*/ 44367 w 348925"/>
                <a:gd name="connsiteY6" fmla="*/ 4454 h 250557"/>
                <a:gd name="connsiteX7" fmla="*/ 60262 w 348925"/>
                <a:gd name="connsiteY7" fmla="*/ 2784 h 250557"/>
                <a:gd name="connsiteX8" fmla="*/ 74479 w 348925"/>
                <a:gd name="connsiteY8" fmla="*/ 22624 h 250557"/>
                <a:gd name="connsiteX9" fmla="*/ 88716 w 348925"/>
                <a:gd name="connsiteY9" fmla="*/ 21214 h 250557"/>
                <a:gd name="connsiteX10" fmla="*/ 116775 w 348925"/>
                <a:gd name="connsiteY10" fmla="*/ 37157 h 250557"/>
                <a:gd name="connsiteX11" fmla="*/ 140929 w 348925"/>
                <a:gd name="connsiteY11" fmla="*/ 39273 h 250557"/>
                <a:gd name="connsiteX12" fmla="*/ 153920 w 348925"/>
                <a:gd name="connsiteY12" fmla="*/ 56756 h 250557"/>
                <a:gd name="connsiteX13" fmla="*/ 167536 w 348925"/>
                <a:gd name="connsiteY13" fmla="*/ 46084 h 250557"/>
                <a:gd name="connsiteX14" fmla="*/ 192954 w 348925"/>
                <a:gd name="connsiteY14" fmla="*/ 45453 h 250557"/>
                <a:gd name="connsiteX15" fmla="*/ 195255 w 348925"/>
                <a:gd name="connsiteY15" fmla="*/ 33185 h 250557"/>
                <a:gd name="connsiteX16" fmla="*/ 218279 w 348925"/>
                <a:gd name="connsiteY16" fmla="*/ 38864 h 250557"/>
                <a:gd name="connsiteX17" fmla="*/ 232288 w 348925"/>
                <a:gd name="connsiteY17" fmla="*/ 68114 h 250557"/>
                <a:gd name="connsiteX18" fmla="*/ 243375 w 348925"/>
                <a:gd name="connsiteY18" fmla="*/ 62936 h 250557"/>
                <a:gd name="connsiteX19" fmla="*/ 248279 w 348925"/>
                <a:gd name="connsiteY19" fmla="*/ 72365 h 250557"/>
                <a:gd name="connsiteX20" fmla="*/ 265701 w 348925"/>
                <a:gd name="connsiteY20" fmla="*/ 69599 h 250557"/>
                <a:gd name="connsiteX21" fmla="*/ 288348 w 348925"/>
                <a:gd name="connsiteY21" fmla="*/ 88957 h 250557"/>
                <a:gd name="connsiteX22" fmla="*/ 300491 w 348925"/>
                <a:gd name="connsiteY22" fmla="*/ 90423 h 250557"/>
                <a:gd name="connsiteX23" fmla="*/ 310371 w 348925"/>
                <a:gd name="connsiteY23" fmla="*/ 99054 h 250557"/>
                <a:gd name="connsiteX24" fmla="*/ 338450 w 348925"/>
                <a:gd name="connsiteY24" fmla="*/ 93745 h 250557"/>
                <a:gd name="connsiteX25" fmla="*/ 347104 w 348925"/>
                <a:gd name="connsiteY25" fmla="*/ 100019 h 250557"/>
                <a:gd name="connsiteX26" fmla="*/ 343387 w 348925"/>
                <a:gd name="connsiteY26" fmla="*/ 135468 h 250557"/>
                <a:gd name="connsiteX27" fmla="*/ 319987 w 348925"/>
                <a:gd name="connsiteY27" fmla="*/ 143449 h 250557"/>
                <a:gd name="connsiteX28" fmla="*/ 323322 w 348925"/>
                <a:gd name="connsiteY28" fmla="*/ 159076 h 250557"/>
                <a:gd name="connsiteX29" fmla="*/ 308294 w 348925"/>
                <a:gd name="connsiteY29" fmla="*/ 155512 h 250557"/>
                <a:gd name="connsiteX30" fmla="*/ 300976 w 348925"/>
                <a:gd name="connsiteY30" fmla="*/ 173682 h 250557"/>
                <a:gd name="connsiteX31" fmla="*/ 305011 w 348925"/>
                <a:gd name="connsiteY31" fmla="*/ 188345 h 250557"/>
                <a:gd name="connsiteX32" fmla="*/ 293886 w 348925"/>
                <a:gd name="connsiteY32" fmla="*/ 198627 h 250557"/>
                <a:gd name="connsiteX33" fmla="*/ 306046 w 348925"/>
                <a:gd name="connsiteY33" fmla="*/ 216259 h 250557"/>
                <a:gd name="connsiteX34" fmla="*/ 292470 w 348925"/>
                <a:gd name="connsiteY34" fmla="*/ 221808 h 250557"/>
                <a:gd name="connsiteX35" fmla="*/ 274725 w 348925"/>
                <a:gd name="connsiteY35" fmla="*/ 249295 h 250557"/>
                <a:gd name="connsiteX36" fmla="*/ 266634 w 348925"/>
                <a:gd name="connsiteY36" fmla="*/ 241221 h 250557"/>
                <a:gd name="connsiteX37" fmla="*/ 267182 w 348925"/>
                <a:gd name="connsiteY37" fmla="*/ 223293 h 250557"/>
                <a:gd name="connsiteX38" fmla="*/ 250458 w 348925"/>
                <a:gd name="connsiteY38" fmla="*/ 225093 h 250557"/>
                <a:gd name="connsiteX39" fmla="*/ 235467 w 348925"/>
                <a:gd name="connsiteY39" fmla="*/ 216426 h 250557"/>
                <a:gd name="connsiteX40" fmla="*/ 221588 w 348925"/>
                <a:gd name="connsiteY40" fmla="*/ 225427 h 250557"/>
                <a:gd name="connsiteX41" fmla="*/ 218212 w 348925"/>
                <a:gd name="connsiteY41" fmla="*/ 214922 h 250557"/>
                <a:gd name="connsiteX42" fmla="*/ 181688 w 348925"/>
                <a:gd name="connsiteY42" fmla="*/ 204566 h 250557"/>
                <a:gd name="connsiteX43" fmla="*/ 166415 w 348925"/>
                <a:gd name="connsiteY43" fmla="*/ 178081 h 250557"/>
                <a:gd name="connsiteX44" fmla="*/ 130927 w 348925"/>
                <a:gd name="connsiteY44" fmla="*/ 195639 h 250557"/>
                <a:gd name="connsiteX45" fmla="*/ 111298 w 348925"/>
                <a:gd name="connsiteY45" fmla="*/ 179195 h 250557"/>
                <a:gd name="connsiteX46" fmla="*/ 106773 w 348925"/>
                <a:gd name="connsiteY46" fmla="*/ 156106 h 250557"/>
                <a:gd name="connsiteX47" fmla="*/ 97591 w 348925"/>
                <a:gd name="connsiteY47" fmla="*/ 146511 h 250557"/>
                <a:gd name="connsiteX48" fmla="*/ 86370 w 348925"/>
                <a:gd name="connsiteY48" fmla="*/ 150854 h 250557"/>
                <a:gd name="connsiteX49" fmla="*/ 60292 w 348925"/>
                <a:gd name="connsiteY49" fmla="*/ 147346 h 250557"/>
                <a:gd name="connsiteX50" fmla="*/ 42285 w 348925"/>
                <a:gd name="connsiteY50" fmla="*/ 135746 h 250557"/>
                <a:gd name="connsiteX51" fmla="*/ 28107 w 348925"/>
                <a:gd name="connsiteY51" fmla="*/ 110802 h 250557"/>
                <a:gd name="connsiteX52" fmla="*/ 16698 w 348925"/>
                <a:gd name="connsiteY52" fmla="*/ 103248 h 250557"/>
                <a:gd name="connsiteX53" fmla="*/ 18434 w 348925"/>
                <a:gd name="connsiteY53" fmla="*/ 92780 h 250557"/>
                <a:gd name="connsiteX54" fmla="*/ 2784 w 348925"/>
                <a:gd name="connsiteY54" fmla="*/ 79955 h 25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48925" h="250557">
                  <a:moveTo>
                    <a:pt x="2784" y="79955"/>
                  </a:moveTo>
                  <a:lnTo>
                    <a:pt x="12157" y="64013"/>
                  </a:lnTo>
                  <a:lnTo>
                    <a:pt x="20982" y="65998"/>
                  </a:lnTo>
                  <a:lnTo>
                    <a:pt x="35859" y="52580"/>
                  </a:lnTo>
                  <a:lnTo>
                    <a:pt x="32730" y="27561"/>
                  </a:lnTo>
                  <a:lnTo>
                    <a:pt x="42988" y="22532"/>
                  </a:lnTo>
                  <a:lnTo>
                    <a:pt x="44367" y="4454"/>
                  </a:lnTo>
                  <a:lnTo>
                    <a:pt x="60262" y="2784"/>
                  </a:lnTo>
                  <a:lnTo>
                    <a:pt x="74479" y="22624"/>
                  </a:lnTo>
                  <a:lnTo>
                    <a:pt x="88716" y="21214"/>
                  </a:lnTo>
                  <a:lnTo>
                    <a:pt x="116775" y="37157"/>
                  </a:lnTo>
                  <a:lnTo>
                    <a:pt x="140929" y="39273"/>
                  </a:lnTo>
                  <a:lnTo>
                    <a:pt x="153920" y="56756"/>
                  </a:lnTo>
                  <a:lnTo>
                    <a:pt x="167536" y="46084"/>
                  </a:lnTo>
                  <a:lnTo>
                    <a:pt x="192954" y="45453"/>
                  </a:lnTo>
                  <a:lnTo>
                    <a:pt x="195255" y="33185"/>
                  </a:lnTo>
                  <a:lnTo>
                    <a:pt x="218279" y="38864"/>
                  </a:lnTo>
                  <a:lnTo>
                    <a:pt x="232288" y="68114"/>
                  </a:lnTo>
                  <a:lnTo>
                    <a:pt x="243375" y="62936"/>
                  </a:lnTo>
                  <a:lnTo>
                    <a:pt x="248279" y="72365"/>
                  </a:lnTo>
                  <a:lnTo>
                    <a:pt x="265701" y="69599"/>
                  </a:lnTo>
                  <a:lnTo>
                    <a:pt x="288348" y="88957"/>
                  </a:lnTo>
                  <a:lnTo>
                    <a:pt x="300491" y="90423"/>
                  </a:lnTo>
                  <a:lnTo>
                    <a:pt x="310371" y="99054"/>
                  </a:lnTo>
                  <a:lnTo>
                    <a:pt x="338450" y="93745"/>
                  </a:lnTo>
                  <a:lnTo>
                    <a:pt x="347104" y="100019"/>
                  </a:lnTo>
                  <a:lnTo>
                    <a:pt x="343387" y="135468"/>
                  </a:lnTo>
                  <a:lnTo>
                    <a:pt x="319987" y="143449"/>
                  </a:lnTo>
                  <a:lnTo>
                    <a:pt x="323322" y="159076"/>
                  </a:lnTo>
                  <a:lnTo>
                    <a:pt x="308294" y="155512"/>
                  </a:lnTo>
                  <a:lnTo>
                    <a:pt x="300976" y="173682"/>
                  </a:lnTo>
                  <a:lnTo>
                    <a:pt x="305011" y="188345"/>
                  </a:lnTo>
                  <a:lnTo>
                    <a:pt x="293886" y="198627"/>
                  </a:lnTo>
                  <a:lnTo>
                    <a:pt x="306046" y="216259"/>
                  </a:lnTo>
                  <a:lnTo>
                    <a:pt x="292470" y="221808"/>
                  </a:lnTo>
                  <a:lnTo>
                    <a:pt x="274725" y="249295"/>
                  </a:lnTo>
                  <a:lnTo>
                    <a:pt x="266634" y="241221"/>
                  </a:lnTo>
                  <a:lnTo>
                    <a:pt x="267182" y="223293"/>
                  </a:lnTo>
                  <a:lnTo>
                    <a:pt x="250458" y="225093"/>
                  </a:lnTo>
                  <a:lnTo>
                    <a:pt x="235467" y="216426"/>
                  </a:lnTo>
                  <a:lnTo>
                    <a:pt x="221588" y="225427"/>
                  </a:lnTo>
                  <a:lnTo>
                    <a:pt x="218212" y="214922"/>
                  </a:lnTo>
                  <a:lnTo>
                    <a:pt x="181688" y="204566"/>
                  </a:lnTo>
                  <a:lnTo>
                    <a:pt x="166415" y="178081"/>
                  </a:lnTo>
                  <a:lnTo>
                    <a:pt x="130927" y="195639"/>
                  </a:lnTo>
                  <a:lnTo>
                    <a:pt x="111298" y="179195"/>
                  </a:lnTo>
                  <a:lnTo>
                    <a:pt x="106773" y="156106"/>
                  </a:lnTo>
                  <a:lnTo>
                    <a:pt x="97591" y="146511"/>
                  </a:lnTo>
                  <a:lnTo>
                    <a:pt x="86370" y="150854"/>
                  </a:lnTo>
                  <a:lnTo>
                    <a:pt x="60292" y="147346"/>
                  </a:lnTo>
                  <a:lnTo>
                    <a:pt x="42285" y="135746"/>
                  </a:lnTo>
                  <a:lnTo>
                    <a:pt x="28107" y="110802"/>
                  </a:lnTo>
                  <a:lnTo>
                    <a:pt x="16698" y="103248"/>
                  </a:lnTo>
                  <a:lnTo>
                    <a:pt x="18434" y="92780"/>
                  </a:lnTo>
                  <a:lnTo>
                    <a:pt x="2784" y="79955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022959E-D1E7-4F1E-864C-E9045DDA8B13}"/>
                </a:ext>
              </a:extLst>
            </p:cNvPr>
            <p:cNvSpPr/>
            <p:nvPr/>
          </p:nvSpPr>
          <p:spPr>
            <a:xfrm>
              <a:off x="1864126" y="5025623"/>
              <a:ext cx="478844" cy="391611"/>
            </a:xfrm>
            <a:custGeom>
              <a:avLst/>
              <a:gdLst>
                <a:gd name="connsiteX0" fmla="*/ 61763 w 478843"/>
                <a:gd name="connsiteY0" fmla="*/ 207480 h 391611"/>
                <a:gd name="connsiteX1" fmla="*/ 65479 w 478843"/>
                <a:gd name="connsiteY1" fmla="*/ 172031 h 391611"/>
                <a:gd name="connsiteX2" fmla="*/ 56825 w 478843"/>
                <a:gd name="connsiteY2" fmla="*/ 165758 h 391611"/>
                <a:gd name="connsiteX3" fmla="*/ 28747 w 478843"/>
                <a:gd name="connsiteY3" fmla="*/ 171066 h 391611"/>
                <a:gd name="connsiteX4" fmla="*/ 18866 w 478843"/>
                <a:gd name="connsiteY4" fmla="*/ 162435 h 391611"/>
                <a:gd name="connsiteX5" fmla="*/ 25108 w 478843"/>
                <a:gd name="connsiteY5" fmla="*/ 158890 h 391611"/>
                <a:gd name="connsiteX6" fmla="*/ 21847 w 478843"/>
                <a:gd name="connsiteY6" fmla="*/ 133037 h 391611"/>
                <a:gd name="connsiteX7" fmla="*/ 2784 w 478843"/>
                <a:gd name="connsiteY7" fmla="*/ 114811 h 391611"/>
                <a:gd name="connsiteX8" fmla="*/ 9724 w 478843"/>
                <a:gd name="connsiteY8" fmla="*/ 110319 h 391611"/>
                <a:gd name="connsiteX9" fmla="*/ 6991 w 478843"/>
                <a:gd name="connsiteY9" fmla="*/ 87788 h 391611"/>
                <a:gd name="connsiteX10" fmla="*/ 45911 w 478843"/>
                <a:gd name="connsiteY10" fmla="*/ 91797 h 391611"/>
                <a:gd name="connsiteX11" fmla="*/ 59657 w 478843"/>
                <a:gd name="connsiteY11" fmla="*/ 81960 h 391611"/>
                <a:gd name="connsiteX12" fmla="*/ 74310 w 478843"/>
                <a:gd name="connsiteY12" fmla="*/ 61767 h 391611"/>
                <a:gd name="connsiteX13" fmla="*/ 67354 w 478843"/>
                <a:gd name="connsiteY13" fmla="*/ 50111 h 391611"/>
                <a:gd name="connsiteX14" fmla="*/ 103313 w 478843"/>
                <a:gd name="connsiteY14" fmla="*/ 24833 h 391611"/>
                <a:gd name="connsiteX15" fmla="*/ 109763 w 478843"/>
                <a:gd name="connsiteY15" fmla="*/ 11915 h 391611"/>
                <a:gd name="connsiteX16" fmla="*/ 123133 w 478843"/>
                <a:gd name="connsiteY16" fmla="*/ 15739 h 391611"/>
                <a:gd name="connsiteX17" fmla="*/ 145743 w 478843"/>
                <a:gd name="connsiteY17" fmla="*/ 2784 h 391611"/>
                <a:gd name="connsiteX18" fmla="*/ 181569 w 478843"/>
                <a:gd name="connsiteY18" fmla="*/ 14087 h 391611"/>
                <a:gd name="connsiteX19" fmla="*/ 191261 w 478843"/>
                <a:gd name="connsiteY19" fmla="*/ 10839 h 391611"/>
                <a:gd name="connsiteX20" fmla="*/ 206120 w 478843"/>
                <a:gd name="connsiteY20" fmla="*/ 18690 h 391611"/>
                <a:gd name="connsiteX21" fmla="*/ 208930 w 478843"/>
                <a:gd name="connsiteY21" fmla="*/ 30995 h 391611"/>
                <a:gd name="connsiteX22" fmla="*/ 223618 w 478843"/>
                <a:gd name="connsiteY22" fmla="*/ 43114 h 391611"/>
                <a:gd name="connsiteX23" fmla="*/ 209890 w 478843"/>
                <a:gd name="connsiteY23" fmla="*/ 69117 h 391611"/>
                <a:gd name="connsiteX24" fmla="*/ 208021 w 478843"/>
                <a:gd name="connsiteY24" fmla="*/ 78768 h 391611"/>
                <a:gd name="connsiteX25" fmla="*/ 207456 w 478843"/>
                <a:gd name="connsiteY25" fmla="*/ 80549 h 391611"/>
                <a:gd name="connsiteX26" fmla="*/ 205324 w 478843"/>
                <a:gd name="connsiteY26" fmla="*/ 88549 h 391611"/>
                <a:gd name="connsiteX27" fmla="*/ 207492 w 478843"/>
                <a:gd name="connsiteY27" fmla="*/ 112862 h 391611"/>
                <a:gd name="connsiteX28" fmla="*/ 220597 w 478843"/>
                <a:gd name="connsiteY28" fmla="*/ 115033 h 391611"/>
                <a:gd name="connsiteX29" fmla="*/ 226686 w 478843"/>
                <a:gd name="connsiteY29" fmla="*/ 131923 h 391611"/>
                <a:gd name="connsiteX30" fmla="*/ 238527 w 478843"/>
                <a:gd name="connsiteY30" fmla="*/ 136841 h 391611"/>
                <a:gd name="connsiteX31" fmla="*/ 242167 w 478843"/>
                <a:gd name="connsiteY31" fmla="*/ 149017 h 391611"/>
                <a:gd name="connsiteX32" fmla="*/ 273411 w 478843"/>
                <a:gd name="connsiteY32" fmla="*/ 163605 h 391611"/>
                <a:gd name="connsiteX33" fmla="*/ 285536 w 478843"/>
                <a:gd name="connsiteY33" fmla="*/ 186340 h 391611"/>
                <a:gd name="connsiteX34" fmla="*/ 296529 w 478843"/>
                <a:gd name="connsiteY34" fmla="*/ 175242 h 391611"/>
                <a:gd name="connsiteX35" fmla="*/ 311388 w 478843"/>
                <a:gd name="connsiteY35" fmla="*/ 183074 h 391611"/>
                <a:gd name="connsiteX36" fmla="*/ 323511 w 478843"/>
                <a:gd name="connsiteY36" fmla="*/ 205809 h 391611"/>
                <a:gd name="connsiteX37" fmla="*/ 336353 w 478843"/>
                <a:gd name="connsiteY37" fmla="*/ 206329 h 391611"/>
                <a:gd name="connsiteX38" fmla="*/ 343272 w 478843"/>
                <a:gd name="connsiteY38" fmla="*/ 223089 h 391611"/>
                <a:gd name="connsiteX39" fmla="*/ 358526 w 478843"/>
                <a:gd name="connsiteY39" fmla="*/ 233408 h 391611"/>
                <a:gd name="connsiteX40" fmla="*/ 379174 w 478843"/>
                <a:gd name="connsiteY40" fmla="*/ 224165 h 391611"/>
                <a:gd name="connsiteX41" fmla="*/ 393638 w 478843"/>
                <a:gd name="connsiteY41" fmla="*/ 229529 h 391611"/>
                <a:gd name="connsiteX42" fmla="*/ 390544 w 478843"/>
                <a:gd name="connsiteY42" fmla="*/ 236823 h 391611"/>
                <a:gd name="connsiteX43" fmla="*/ 419751 w 478843"/>
                <a:gd name="connsiteY43" fmla="*/ 265349 h 391611"/>
                <a:gd name="connsiteX44" fmla="*/ 436026 w 478843"/>
                <a:gd name="connsiteY44" fmla="*/ 250000 h 391611"/>
                <a:gd name="connsiteX45" fmla="*/ 447697 w 478843"/>
                <a:gd name="connsiteY45" fmla="*/ 259187 h 391611"/>
                <a:gd name="connsiteX46" fmla="*/ 444039 w 478843"/>
                <a:gd name="connsiteY46" fmla="*/ 268282 h 391611"/>
                <a:gd name="connsiteX47" fmla="*/ 457031 w 478843"/>
                <a:gd name="connsiteY47" fmla="*/ 285783 h 391611"/>
                <a:gd name="connsiteX48" fmla="*/ 467816 w 478843"/>
                <a:gd name="connsiteY48" fmla="*/ 284058 h 391611"/>
                <a:gd name="connsiteX49" fmla="*/ 477016 w 478843"/>
                <a:gd name="connsiteY49" fmla="*/ 309800 h 391611"/>
                <a:gd name="connsiteX50" fmla="*/ 441847 w 478843"/>
                <a:gd name="connsiteY50" fmla="*/ 340071 h 391611"/>
                <a:gd name="connsiteX51" fmla="*/ 426028 w 478843"/>
                <a:gd name="connsiteY51" fmla="*/ 331533 h 391611"/>
                <a:gd name="connsiteX52" fmla="*/ 428799 w 478843"/>
                <a:gd name="connsiteY52" fmla="*/ 348942 h 391611"/>
                <a:gd name="connsiteX53" fmla="*/ 444618 w 478843"/>
                <a:gd name="connsiteY53" fmla="*/ 357480 h 391611"/>
                <a:gd name="connsiteX54" fmla="*/ 429740 w 478843"/>
                <a:gd name="connsiteY54" fmla="*/ 370899 h 391611"/>
                <a:gd name="connsiteX55" fmla="*/ 426006 w 478843"/>
                <a:gd name="connsiteY55" fmla="*/ 390201 h 391611"/>
                <a:gd name="connsiteX56" fmla="*/ 402661 w 478843"/>
                <a:gd name="connsiteY56" fmla="*/ 371808 h 391611"/>
                <a:gd name="connsiteX57" fmla="*/ 389140 w 478843"/>
                <a:gd name="connsiteY57" fmla="*/ 388419 h 391611"/>
                <a:gd name="connsiteX58" fmla="*/ 367041 w 478843"/>
                <a:gd name="connsiteY58" fmla="*/ 388531 h 391611"/>
                <a:gd name="connsiteX59" fmla="*/ 338324 w 478843"/>
                <a:gd name="connsiteY59" fmla="*/ 368449 h 391611"/>
                <a:gd name="connsiteX60" fmla="*/ 332516 w 478843"/>
                <a:gd name="connsiteY60" fmla="*/ 369358 h 391611"/>
                <a:gd name="connsiteX61" fmla="*/ 313717 w 478843"/>
                <a:gd name="connsiteY61" fmla="*/ 352803 h 391611"/>
                <a:gd name="connsiteX62" fmla="*/ 290053 w 478843"/>
                <a:gd name="connsiteY62" fmla="*/ 321697 h 391611"/>
                <a:gd name="connsiteX63" fmla="*/ 261128 w 478843"/>
                <a:gd name="connsiteY63" fmla="*/ 310988 h 391611"/>
                <a:gd name="connsiteX64" fmla="*/ 262599 w 478843"/>
                <a:gd name="connsiteY64" fmla="*/ 298850 h 391611"/>
                <a:gd name="connsiteX65" fmla="*/ 248043 w 478843"/>
                <a:gd name="connsiteY65" fmla="*/ 287547 h 391611"/>
                <a:gd name="connsiteX66" fmla="*/ 248817 w 478843"/>
                <a:gd name="connsiteY66" fmla="*/ 276374 h 391611"/>
                <a:gd name="connsiteX67" fmla="*/ 232805 w 478843"/>
                <a:gd name="connsiteY67" fmla="*/ 293375 h 391611"/>
                <a:gd name="connsiteX68" fmla="*/ 224981 w 478843"/>
                <a:gd name="connsiteY68" fmla="*/ 286971 h 391611"/>
                <a:gd name="connsiteX69" fmla="*/ 203447 w 478843"/>
                <a:gd name="connsiteY69" fmla="*/ 285301 h 391611"/>
                <a:gd name="connsiteX70" fmla="*/ 188041 w 478843"/>
                <a:gd name="connsiteY70" fmla="*/ 295398 h 391611"/>
                <a:gd name="connsiteX71" fmla="*/ 171183 w 478843"/>
                <a:gd name="connsiteY71" fmla="*/ 296381 h 391611"/>
                <a:gd name="connsiteX72" fmla="*/ 145784 w 478843"/>
                <a:gd name="connsiteY72" fmla="*/ 275761 h 391611"/>
                <a:gd name="connsiteX73" fmla="*/ 149084 w 478843"/>
                <a:gd name="connsiteY73" fmla="*/ 259076 h 391611"/>
                <a:gd name="connsiteX74" fmla="*/ 144390 w 478843"/>
                <a:gd name="connsiteY74" fmla="*/ 240257 h 391611"/>
                <a:gd name="connsiteX75" fmla="*/ 125762 w 478843"/>
                <a:gd name="connsiteY75" fmla="*/ 219414 h 391611"/>
                <a:gd name="connsiteX76" fmla="*/ 114767 w 478843"/>
                <a:gd name="connsiteY76" fmla="*/ 230513 h 391611"/>
                <a:gd name="connsiteX77" fmla="*/ 87049 w 478843"/>
                <a:gd name="connsiteY77" fmla="*/ 206014 h 391611"/>
                <a:gd name="connsiteX78" fmla="*/ 61763 w 478843"/>
                <a:gd name="connsiteY78" fmla="*/ 207480 h 391611"/>
                <a:gd name="connsiteX79" fmla="*/ 317431 w 478843"/>
                <a:gd name="connsiteY79" fmla="*/ 354752 h 391611"/>
                <a:gd name="connsiteX80" fmla="*/ 318563 w 478843"/>
                <a:gd name="connsiteY80" fmla="*/ 351170 h 391611"/>
                <a:gd name="connsiteX81" fmla="*/ 316772 w 478843"/>
                <a:gd name="connsiteY81" fmla="*/ 350613 h 391611"/>
                <a:gd name="connsiteX82" fmla="*/ 316601 w 478843"/>
                <a:gd name="connsiteY82" fmla="*/ 354882 h 391611"/>
                <a:gd name="connsiteX83" fmla="*/ 317431 w 478843"/>
                <a:gd name="connsiteY83" fmla="*/ 354752 h 391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8843" h="391611">
                  <a:moveTo>
                    <a:pt x="61763" y="207480"/>
                  </a:moveTo>
                  <a:lnTo>
                    <a:pt x="65479" y="172031"/>
                  </a:lnTo>
                  <a:lnTo>
                    <a:pt x="56825" y="165758"/>
                  </a:lnTo>
                  <a:lnTo>
                    <a:pt x="28747" y="171066"/>
                  </a:lnTo>
                  <a:lnTo>
                    <a:pt x="18866" y="162435"/>
                  </a:lnTo>
                  <a:lnTo>
                    <a:pt x="25108" y="158890"/>
                  </a:lnTo>
                  <a:lnTo>
                    <a:pt x="21847" y="133037"/>
                  </a:lnTo>
                  <a:lnTo>
                    <a:pt x="2784" y="114811"/>
                  </a:lnTo>
                  <a:lnTo>
                    <a:pt x="9724" y="110319"/>
                  </a:lnTo>
                  <a:lnTo>
                    <a:pt x="6991" y="87788"/>
                  </a:lnTo>
                  <a:lnTo>
                    <a:pt x="45911" y="91797"/>
                  </a:lnTo>
                  <a:lnTo>
                    <a:pt x="59657" y="81960"/>
                  </a:lnTo>
                  <a:lnTo>
                    <a:pt x="74310" y="61767"/>
                  </a:lnTo>
                  <a:lnTo>
                    <a:pt x="67354" y="50111"/>
                  </a:lnTo>
                  <a:lnTo>
                    <a:pt x="103313" y="24833"/>
                  </a:lnTo>
                  <a:lnTo>
                    <a:pt x="109763" y="11915"/>
                  </a:lnTo>
                  <a:lnTo>
                    <a:pt x="123133" y="15739"/>
                  </a:lnTo>
                  <a:lnTo>
                    <a:pt x="145743" y="2784"/>
                  </a:lnTo>
                  <a:lnTo>
                    <a:pt x="181569" y="14087"/>
                  </a:lnTo>
                  <a:lnTo>
                    <a:pt x="191261" y="10839"/>
                  </a:lnTo>
                  <a:lnTo>
                    <a:pt x="206120" y="18690"/>
                  </a:lnTo>
                  <a:lnTo>
                    <a:pt x="208930" y="30995"/>
                  </a:lnTo>
                  <a:lnTo>
                    <a:pt x="223618" y="43114"/>
                  </a:lnTo>
                  <a:lnTo>
                    <a:pt x="209890" y="69117"/>
                  </a:lnTo>
                  <a:lnTo>
                    <a:pt x="208021" y="78768"/>
                  </a:lnTo>
                  <a:lnTo>
                    <a:pt x="207456" y="80549"/>
                  </a:lnTo>
                  <a:lnTo>
                    <a:pt x="205324" y="88549"/>
                  </a:lnTo>
                  <a:lnTo>
                    <a:pt x="207492" y="112862"/>
                  </a:lnTo>
                  <a:lnTo>
                    <a:pt x="220597" y="115033"/>
                  </a:lnTo>
                  <a:lnTo>
                    <a:pt x="226686" y="131923"/>
                  </a:lnTo>
                  <a:lnTo>
                    <a:pt x="238527" y="136841"/>
                  </a:lnTo>
                  <a:lnTo>
                    <a:pt x="242167" y="149017"/>
                  </a:lnTo>
                  <a:lnTo>
                    <a:pt x="273411" y="163605"/>
                  </a:lnTo>
                  <a:lnTo>
                    <a:pt x="285536" y="186340"/>
                  </a:lnTo>
                  <a:lnTo>
                    <a:pt x="296529" y="175242"/>
                  </a:lnTo>
                  <a:lnTo>
                    <a:pt x="311388" y="183074"/>
                  </a:lnTo>
                  <a:lnTo>
                    <a:pt x="323511" y="205809"/>
                  </a:lnTo>
                  <a:lnTo>
                    <a:pt x="336353" y="206329"/>
                  </a:lnTo>
                  <a:lnTo>
                    <a:pt x="343272" y="223089"/>
                  </a:lnTo>
                  <a:lnTo>
                    <a:pt x="358526" y="233408"/>
                  </a:lnTo>
                  <a:lnTo>
                    <a:pt x="379174" y="224165"/>
                  </a:lnTo>
                  <a:lnTo>
                    <a:pt x="393638" y="229529"/>
                  </a:lnTo>
                  <a:lnTo>
                    <a:pt x="390544" y="236823"/>
                  </a:lnTo>
                  <a:lnTo>
                    <a:pt x="419751" y="265349"/>
                  </a:lnTo>
                  <a:lnTo>
                    <a:pt x="436026" y="250000"/>
                  </a:lnTo>
                  <a:lnTo>
                    <a:pt x="447697" y="259187"/>
                  </a:lnTo>
                  <a:lnTo>
                    <a:pt x="444039" y="268282"/>
                  </a:lnTo>
                  <a:lnTo>
                    <a:pt x="457031" y="285783"/>
                  </a:lnTo>
                  <a:lnTo>
                    <a:pt x="467816" y="284058"/>
                  </a:lnTo>
                  <a:lnTo>
                    <a:pt x="477016" y="309800"/>
                  </a:lnTo>
                  <a:lnTo>
                    <a:pt x="441847" y="340071"/>
                  </a:lnTo>
                  <a:lnTo>
                    <a:pt x="426028" y="331533"/>
                  </a:lnTo>
                  <a:lnTo>
                    <a:pt x="428799" y="348942"/>
                  </a:lnTo>
                  <a:lnTo>
                    <a:pt x="444618" y="357480"/>
                  </a:lnTo>
                  <a:lnTo>
                    <a:pt x="429740" y="370899"/>
                  </a:lnTo>
                  <a:lnTo>
                    <a:pt x="426006" y="390201"/>
                  </a:lnTo>
                  <a:lnTo>
                    <a:pt x="402661" y="371808"/>
                  </a:lnTo>
                  <a:lnTo>
                    <a:pt x="389140" y="388419"/>
                  </a:lnTo>
                  <a:lnTo>
                    <a:pt x="367041" y="388531"/>
                  </a:lnTo>
                  <a:lnTo>
                    <a:pt x="338324" y="368449"/>
                  </a:lnTo>
                  <a:lnTo>
                    <a:pt x="332516" y="369358"/>
                  </a:lnTo>
                  <a:lnTo>
                    <a:pt x="313717" y="352803"/>
                  </a:lnTo>
                  <a:lnTo>
                    <a:pt x="290053" y="321697"/>
                  </a:lnTo>
                  <a:lnTo>
                    <a:pt x="261128" y="310988"/>
                  </a:lnTo>
                  <a:lnTo>
                    <a:pt x="262599" y="298850"/>
                  </a:lnTo>
                  <a:lnTo>
                    <a:pt x="248043" y="287547"/>
                  </a:lnTo>
                  <a:lnTo>
                    <a:pt x="248817" y="276374"/>
                  </a:lnTo>
                  <a:lnTo>
                    <a:pt x="232805" y="293375"/>
                  </a:lnTo>
                  <a:lnTo>
                    <a:pt x="224981" y="286971"/>
                  </a:lnTo>
                  <a:lnTo>
                    <a:pt x="203447" y="285301"/>
                  </a:lnTo>
                  <a:lnTo>
                    <a:pt x="188041" y="295398"/>
                  </a:lnTo>
                  <a:lnTo>
                    <a:pt x="171183" y="296381"/>
                  </a:lnTo>
                  <a:lnTo>
                    <a:pt x="145784" y="275761"/>
                  </a:lnTo>
                  <a:lnTo>
                    <a:pt x="149084" y="259076"/>
                  </a:lnTo>
                  <a:lnTo>
                    <a:pt x="144390" y="240257"/>
                  </a:lnTo>
                  <a:lnTo>
                    <a:pt x="125762" y="219414"/>
                  </a:lnTo>
                  <a:lnTo>
                    <a:pt x="114767" y="230513"/>
                  </a:lnTo>
                  <a:lnTo>
                    <a:pt x="87049" y="206014"/>
                  </a:lnTo>
                  <a:lnTo>
                    <a:pt x="61763" y="207480"/>
                  </a:lnTo>
                  <a:close/>
                  <a:moveTo>
                    <a:pt x="317431" y="354752"/>
                  </a:moveTo>
                  <a:lnTo>
                    <a:pt x="318563" y="351170"/>
                  </a:lnTo>
                  <a:lnTo>
                    <a:pt x="316772" y="350613"/>
                  </a:lnTo>
                  <a:lnTo>
                    <a:pt x="316601" y="354882"/>
                  </a:lnTo>
                  <a:lnTo>
                    <a:pt x="317431" y="35475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B89330C-E558-497B-9837-1022943C555A}"/>
                </a:ext>
              </a:extLst>
            </p:cNvPr>
            <p:cNvSpPr/>
            <p:nvPr/>
          </p:nvSpPr>
          <p:spPr>
            <a:xfrm>
              <a:off x="1893129" y="5367754"/>
              <a:ext cx="187454" cy="133630"/>
            </a:xfrm>
            <a:custGeom>
              <a:avLst/>
              <a:gdLst>
                <a:gd name="connsiteX0" fmla="*/ 2784 w 187454"/>
                <a:gd name="connsiteY0" fmla="*/ 13846 h 133630"/>
                <a:gd name="connsiteX1" fmla="*/ 18888 w 187454"/>
                <a:gd name="connsiteY1" fmla="*/ 2784 h 133630"/>
                <a:gd name="connsiteX2" fmla="*/ 37801 w 187454"/>
                <a:gd name="connsiteY2" fmla="*/ 4027 h 133630"/>
                <a:gd name="connsiteX3" fmla="*/ 62578 w 187454"/>
                <a:gd name="connsiteY3" fmla="*/ 15386 h 133630"/>
                <a:gd name="connsiteX4" fmla="*/ 86921 w 187454"/>
                <a:gd name="connsiteY4" fmla="*/ 29380 h 133630"/>
                <a:gd name="connsiteX5" fmla="*/ 109247 w 187454"/>
                <a:gd name="connsiteY5" fmla="*/ 36024 h 133630"/>
                <a:gd name="connsiteX6" fmla="*/ 125654 w 187454"/>
                <a:gd name="connsiteY6" fmla="*/ 21511 h 133630"/>
                <a:gd name="connsiteX7" fmla="*/ 135815 w 187454"/>
                <a:gd name="connsiteY7" fmla="*/ 47958 h 133630"/>
                <a:gd name="connsiteX8" fmla="*/ 164043 w 187454"/>
                <a:gd name="connsiteY8" fmla="*/ 59633 h 133630"/>
                <a:gd name="connsiteX9" fmla="*/ 150956 w 187454"/>
                <a:gd name="connsiteY9" fmla="*/ 73608 h 133630"/>
                <a:gd name="connsiteX10" fmla="*/ 166474 w 187454"/>
                <a:gd name="connsiteY10" fmla="*/ 85598 h 133630"/>
                <a:gd name="connsiteX11" fmla="*/ 183332 w 187454"/>
                <a:gd name="connsiteY11" fmla="*/ 84614 h 133630"/>
                <a:gd name="connsiteX12" fmla="*/ 185047 w 187454"/>
                <a:gd name="connsiteY12" fmla="*/ 95397 h 133630"/>
                <a:gd name="connsiteX13" fmla="*/ 185669 w 187454"/>
                <a:gd name="connsiteY13" fmla="*/ 104658 h 133630"/>
                <a:gd name="connsiteX14" fmla="*/ 170075 w 187454"/>
                <a:gd name="connsiteY14" fmla="*/ 102877 h 133630"/>
                <a:gd name="connsiteX15" fmla="*/ 164982 w 187454"/>
                <a:gd name="connsiteY15" fmla="*/ 119005 h 133630"/>
                <a:gd name="connsiteX16" fmla="*/ 151142 w 187454"/>
                <a:gd name="connsiteY16" fmla="*/ 122903 h 133630"/>
                <a:gd name="connsiteX17" fmla="*/ 124574 w 187454"/>
                <a:gd name="connsiteY17" fmla="*/ 110969 h 133630"/>
                <a:gd name="connsiteX18" fmla="*/ 109223 w 187454"/>
                <a:gd name="connsiteY18" fmla="*/ 132127 h 133630"/>
                <a:gd name="connsiteX19" fmla="*/ 96420 w 187454"/>
                <a:gd name="connsiteY19" fmla="*/ 126503 h 133630"/>
                <a:gd name="connsiteX20" fmla="*/ 87803 w 187454"/>
                <a:gd name="connsiteY20" fmla="*/ 115126 h 133630"/>
                <a:gd name="connsiteX21" fmla="*/ 74961 w 187454"/>
                <a:gd name="connsiteY21" fmla="*/ 114607 h 133630"/>
                <a:gd name="connsiteX22" fmla="*/ 77263 w 187454"/>
                <a:gd name="connsiteY22" fmla="*/ 102338 h 133630"/>
                <a:gd name="connsiteX23" fmla="*/ 44566 w 187454"/>
                <a:gd name="connsiteY23" fmla="*/ 78638 h 133630"/>
                <a:gd name="connsiteX24" fmla="*/ 31745 w 187454"/>
                <a:gd name="connsiteY24" fmla="*/ 56867 h 133630"/>
                <a:gd name="connsiteX25" fmla="*/ 11041 w 187454"/>
                <a:gd name="connsiteY25" fmla="*/ 55048 h 133630"/>
                <a:gd name="connsiteX26" fmla="*/ 9534 w 187454"/>
                <a:gd name="connsiteY26" fmla="*/ 34874 h 133630"/>
                <a:gd name="connsiteX27" fmla="*/ 18434 w 187454"/>
                <a:gd name="connsiteY27" fmla="*/ 26652 h 133630"/>
                <a:gd name="connsiteX28" fmla="*/ 2784 w 187454"/>
                <a:gd name="connsiteY28" fmla="*/ 13846 h 13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87454" h="133630">
                  <a:moveTo>
                    <a:pt x="2784" y="13846"/>
                  </a:moveTo>
                  <a:lnTo>
                    <a:pt x="18888" y="2784"/>
                  </a:lnTo>
                  <a:lnTo>
                    <a:pt x="37801" y="4027"/>
                  </a:lnTo>
                  <a:lnTo>
                    <a:pt x="62578" y="15386"/>
                  </a:lnTo>
                  <a:lnTo>
                    <a:pt x="86921" y="29380"/>
                  </a:lnTo>
                  <a:lnTo>
                    <a:pt x="109247" y="36024"/>
                  </a:lnTo>
                  <a:lnTo>
                    <a:pt x="125654" y="21511"/>
                  </a:lnTo>
                  <a:lnTo>
                    <a:pt x="135815" y="47958"/>
                  </a:lnTo>
                  <a:lnTo>
                    <a:pt x="164043" y="59633"/>
                  </a:lnTo>
                  <a:lnTo>
                    <a:pt x="150956" y="73608"/>
                  </a:lnTo>
                  <a:lnTo>
                    <a:pt x="166474" y="85598"/>
                  </a:lnTo>
                  <a:lnTo>
                    <a:pt x="183332" y="84614"/>
                  </a:lnTo>
                  <a:lnTo>
                    <a:pt x="185047" y="95397"/>
                  </a:lnTo>
                  <a:lnTo>
                    <a:pt x="185669" y="104658"/>
                  </a:lnTo>
                  <a:lnTo>
                    <a:pt x="170075" y="102877"/>
                  </a:lnTo>
                  <a:lnTo>
                    <a:pt x="164982" y="119005"/>
                  </a:lnTo>
                  <a:lnTo>
                    <a:pt x="151142" y="122903"/>
                  </a:lnTo>
                  <a:lnTo>
                    <a:pt x="124574" y="110969"/>
                  </a:lnTo>
                  <a:lnTo>
                    <a:pt x="109223" y="132127"/>
                  </a:lnTo>
                  <a:lnTo>
                    <a:pt x="96420" y="126503"/>
                  </a:lnTo>
                  <a:lnTo>
                    <a:pt x="87803" y="115126"/>
                  </a:lnTo>
                  <a:lnTo>
                    <a:pt x="74961" y="114607"/>
                  </a:lnTo>
                  <a:lnTo>
                    <a:pt x="77263" y="102338"/>
                  </a:lnTo>
                  <a:lnTo>
                    <a:pt x="44566" y="78638"/>
                  </a:lnTo>
                  <a:lnTo>
                    <a:pt x="31745" y="56867"/>
                  </a:lnTo>
                  <a:lnTo>
                    <a:pt x="11041" y="55048"/>
                  </a:lnTo>
                  <a:lnTo>
                    <a:pt x="9534" y="34874"/>
                  </a:lnTo>
                  <a:lnTo>
                    <a:pt x="18434" y="26652"/>
                  </a:lnTo>
                  <a:lnTo>
                    <a:pt x="2784" y="1384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63D72CF-611C-4C21-B01F-F05FCDCAF56D}"/>
                </a:ext>
              </a:extLst>
            </p:cNvPr>
            <p:cNvSpPr/>
            <p:nvPr/>
          </p:nvSpPr>
          <p:spPr>
            <a:xfrm>
              <a:off x="1852892" y="5228853"/>
              <a:ext cx="183742" cy="163326"/>
            </a:xfrm>
            <a:custGeom>
              <a:avLst/>
              <a:gdLst>
                <a:gd name="connsiteX0" fmla="*/ 102818 w 183742"/>
                <a:gd name="connsiteY0" fmla="*/ 154287 h 163326"/>
                <a:gd name="connsiteX1" fmla="*/ 78040 w 183742"/>
                <a:gd name="connsiteY1" fmla="*/ 142929 h 163326"/>
                <a:gd name="connsiteX2" fmla="*/ 59128 w 183742"/>
                <a:gd name="connsiteY2" fmla="*/ 141686 h 163326"/>
                <a:gd name="connsiteX3" fmla="*/ 43024 w 183742"/>
                <a:gd name="connsiteY3" fmla="*/ 152747 h 163326"/>
                <a:gd name="connsiteX4" fmla="*/ 26656 w 183742"/>
                <a:gd name="connsiteY4" fmla="*/ 162157 h 163326"/>
                <a:gd name="connsiteX5" fmla="*/ 15455 w 183742"/>
                <a:gd name="connsiteY5" fmla="*/ 145230 h 163326"/>
                <a:gd name="connsiteX6" fmla="*/ 2784 w 183742"/>
                <a:gd name="connsiteY6" fmla="*/ 140442 h 163326"/>
                <a:gd name="connsiteX7" fmla="*/ 4690 w 183742"/>
                <a:gd name="connsiteY7" fmla="*/ 125668 h 163326"/>
                <a:gd name="connsiteX8" fmla="*/ 3463 w 183742"/>
                <a:gd name="connsiteY8" fmla="*/ 123311 h 163326"/>
                <a:gd name="connsiteX9" fmla="*/ 4332 w 183742"/>
                <a:gd name="connsiteY9" fmla="*/ 118077 h 163326"/>
                <a:gd name="connsiteX10" fmla="*/ 22077 w 183742"/>
                <a:gd name="connsiteY10" fmla="*/ 90590 h 163326"/>
                <a:gd name="connsiteX11" fmla="*/ 35653 w 183742"/>
                <a:gd name="connsiteY11" fmla="*/ 85041 h 163326"/>
                <a:gd name="connsiteX12" fmla="*/ 23493 w 183742"/>
                <a:gd name="connsiteY12" fmla="*/ 67409 h 163326"/>
                <a:gd name="connsiteX13" fmla="*/ 34620 w 183742"/>
                <a:gd name="connsiteY13" fmla="*/ 57127 h 163326"/>
                <a:gd name="connsiteX14" fmla="*/ 30585 w 183742"/>
                <a:gd name="connsiteY14" fmla="*/ 42465 h 163326"/>
                <a:gd name="connsiteX15" fmla="*/ 37901 w 183742"/>
                <a:gd name="connsiteY15" fmla="*/ 24295 h 163326"/>
                <a:gd name="connsiteX16" fmla="*/ 52931 w 183742"/>
                <a:gd name="connsiteY16" fmla="*/ 27858 h 163326"/>
                <a:gd name="connsiteX17" fmla="*/ 49594 w 183742"/>
                <a:gd name="connsiteY17" fmla="*/ 12231 h 163326"/>
                <a:gd name="connsiteX18" fmla="*/ 72994 w 183742"/>
                <a:gd name="connsiteY18" fmla="*/ 4250 h 163326"/>
                <a:gd name="connsiteX19" fmla="*/ 98282 w 183742"/>
                <a:gd name="connsiteY19" fmla="*/ 2784 h 163326"/>
                <a:gd name="connsiteX20" fmla="*/ 125999 w 183742"/>
                <a:gd name="connsiteY20" fmla="*/ 27283 h 163326"/>
                <a:gd name="connsiteX21" fmla="*/ 136994 w 183742"/>
                <a:gd name="connsiteY21" fmla="*/ 16184 h 163326"/>
                <a:gd name="connsiteX22" fmla="*/ 155622 w 183742"/>
                <a:gd name="connsiteY22" fmla="*/ 37027 h 163326"/>
                <a:gd name="connsiteX23" fmla="*/ 160316 w 183742"/>
                <a:gd name="connsiteY23" fmla="*/ 55847 h 163326"/>
                <a:gd name="connsiteX24" fmla="*/ 157016 w 183742"/>
                <a:gd name="connsiteY24" fmla="*/ 72532 h 163326"/>
                <a:gd name="connsiteX25" fmla="*/ 182415 w 183742"/>
                <a:gd name="connsiteY25" fmla="*/ 93152 h 163326"/>
                <a:gd name="connsiteX26" fmla="*/ 180338 w 183742"/>
                <a:gd name="connsiteY26" fmla="*/ 112194 h 163326"/>
                <a:gd name="connsiteX27" fmla="*/ 139383 w 183742"/>
                <a:gd name="connsiteY27" fmla="*/ 122105 h 163326"/>
                <a:gd name="connsiteX28" fmla="*/ 121675 w 183742"/>
                <a:gd name="connsiteY28" fmla="*/ 144488 h 163326"/>
                <a:gd name="connsiteX29" fmla="*/ 119921 w 183742"/>
                <a:gd name="connsiteY29" fmla="*/ 138809 h 163326"/>
                <a:gd name="connsiteX30" fmla="*/ 102818 w 183742"/>
                <a:gd name="connsiteY30" fmla="*/ 154287 h 163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83742" h="163326">
                  <a:moveTo>
                    <a:pt x="102818" y="154287"/>
                  </a:moveTo>
                  <a:lnTo>
                    <a:pt x="78040" y="142929"/>
                  </a:lnTo>
                  <a:lnTo>
                    <a:pt x="59128" y="141686"/>
                  </a:lnTo>
                  <a:lnTo>
                    <a:pt x="43024" y="152747"/>
                  </a:lnTo>
                  <a:lnTo>
                    <a:pt x="26656" y="162157"/>
                  </a:lnTo>
                  <a:lnTo>
                    <a:pt x="15455" y="145230"/>
                  </a:lnTo>
                  <a:lnTo>
                    <a:pt x="2784" y="140442"/>
                  </a:lnTo>
                  <a:lnTo>
                    <a:pt x="4690" y="125668"/>
                  </a:lnTo>
                  <a:lnTo>
                    <a:pt x="3463" y="123311"/>
                  </a:lnTo>
                  <a:lnTo>
                    <a:pt x="4332" y="118077"/>
                  </a:lnTo>
                  <a:lnTo>
                    <a:pt x="22077" y="90590"/>
                  </a:lnTo>
                  <a:lnTo>
                    <a:pt x="35653" y="85041"/>
                  </a:lnTo>
                  <a:lnTo>
                    <a:pt x="23493" y="67409"/>
                  </a:lnTo>
                  <a:lnTo>
                    <a:pt x="34620" y="57127"/>
                  </a:lnTo>
                  <a:lnTo>
                    <a:pt x="30585" y="42465"/>
                  </a:lnTo>
                  <a:lnTo>
                    <a:pt x="37901" y="24295"/>
                  </a:lnTo>
                  <a:lnTo>
                    <a:pt x="52931" y="27858"/>
                  </a:lnTo>
                  <a:lnTo>
                    <a:pt x="49594" y="12231"/>
                  </a:lnTo>
                  <a:lnTo>
                    <a:pt x="72994" y="4250"/>
                  </a:lnTo>
                  <a:lnTo>
                    <a:pt x="98282" y="2784"/>
                  </a:lnTo>
                  <a:lnTo>
                    <a:pt x="125999" y="27283"/>
                  </a:lnTo>
                  <a:lnTo>
                    <a:pt x="136994" y="16184"/>
                  </a:lnTo>
                  <a:lnTo>
                    <a:pt x="155622" y="37027"/>
                  </a:lnTo>
                  <a:lnTo>
                    <a:pt x="160316" y="55847"/>
                  </a:lnTo>
                  <a:lnTo>
                    <a:pt x="157016" y="72532"/>
                  </a:lnTo>
                  <a:lnTo>
                    <a:pt x="182415" y="93152"/>
                  </a:lnTo>
                  <a:lnTo>
                    <a:pt x="180338" y="112194"/>
                  </a:lnTo>
                  <a:lnTo>
                    <a:pt x="139383" y="122105"/>
                  </a:lnTo>
                  <a:lnTo>
                    <a:pt x="121675" y="144488"/>
                  </a:lnTo>
                  <a:lnTo>
                    <a:pt x="119921" y="138809"/>
                  </a:lnTo>
                  <a:lnTo>
                    <a:pt x="102818" y="15428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3A0FC0-3513-4058-A9D5-76A8A7A7489B}"/>
                </a:ext>
              </a:extLst>
            </p:cNvPr>
            <p:cNvSpPr/>
            <p:nvPr/>
          </p:nvSpPr>
          <p:spPr>
            <a:xfrm>
              <a:off x="1422916" y="5467402"/>
              <a:ext cx="193022" cy="183742"/>
            </a:xfrm>
            <a:custGeom>
              <a:avLst/>
              <a:gdLst>
                <a:gd name="connsiteX0" fmla="*/ 27088 w 193022"/>
                <a:gd name="connsiteY0" fmla="*/ 89737 h 183741"/>
                <a:gd name="connsiteX1" fmla="*/ 31784 w 193022"/>
                <a:gd name="connsiteY1" fmla="*/ 71121 h 183741"/>
                <a:gd name="connsiteX2" fmla="*/ 18755 w 193022"/>
                <a:gd name="connsiteY2" fmla="*/ 58742 h 183741"/>
                <a:gd name="connsiteX3" fmla="*/ 2784 w 193022"/>
                <a:gd name="connsiteY3" fmla="*/ 33222 h 183741"/>
                <a:gd name="connsiteX4" fmla="*/ 13571 w 193022"/>
                <a:gd name="connsiteY4" fmla="*/ 31514 h 183741"/>
                <a:gd name="connsiteX5" fmla="*/ 23679 w 193022"/>
                <a:gd name="connsiteY5" fmla="*/ 9484 h 183741"/>
                <a:gd name="connsiteX6" fmla="*/ 40932 w 193022"/>
                <a:gd name="connsiteY6" fmla="*/ 10987 h 183741"/>
                <a:gd name="connsiteX7" fmla="*/ 44855 w 193022"/>
                <a:gd name="connsiteY7" fmla="*/ 3564 h 183741"/>
                <a:gd name="connsiteX8" fmla="*/ 63731 w 193022"/>
                <a:gd name="connsiteY8" fmla="*/ 9929 h 183741"/>
                <a:gd name="connsiteX9" fmla="*/ 87263 w 193022"/>
                <a:gd name="connsiteY9" fmla="*/ 2784 h 183741"/>
                <a:gd name="connsiteX10" fmla="*/ 115283 w 193022"/>
                <a:gd name="connsiteY10" fmla="*/ 23831 h 183741"/>
                <a:gd name="connsiteX11" fmla="*/ 107608 w 193022"/>
                <a:gd name="connsiteY11" fmla="*/ 34410 h 183741"/>
                <a:gd name="connsiteX12" fmla="*/ 140737 w 193022"/>
                <a:gd name="connsiteY12" fmla="*/ 55494 h 183741"/>
                <a:gd name="connsiteX13" fmla="*/ 144525 w 193022"/>
                <a:gd name="connsiteY13" fmla="*/ 84651 h 183741"/>
                <a:gd name="connsiteX14" fmla="*/ 154501 w 193022"/>
                <a:gd name="connsiteY14" fmla="*/ 99239 h 183741"/>
                <a:gd name="connsiteX15" fmla="*/ 155084 w 193022"/>
                <a:gd name="connsiteY15" fmla="*/ 113604 h 183741"/>
                <a:gd name="connsiteX16" fmla="*/ 173657 w 193022"/>
                <a:gd name="connsiteY16" fmla="*/ 123404 h 183741"/>
                <a:gd name="connsiteX17" fmla="*/ 176164 w 193022"/>
                <a:gd name="connsiteY17" fmla="*/ 139161 h 183741"/>
                <a:gd name="connsiteX18" fmla="*/ 191590 w 193022"/>
                <a:gd name="connsiteY18" fmla="*/ 145212 h 183741"/>
                <a:gd name="connsiteX19" fmla="*/ 181914 w 193022"/>
                <a:gd name="connsiteY19" fmla="*/ 164607 h 183741"/>
                <a:gd name="connsiteX20" fmla="*/ 168150 w 193022"/>
                <a:gd name="connsiteY20" fmla="*/ 158296 h 183741"/>
                <a:gd name="connsiteX21" fmla="*/ 157475 w 193022"/>
                <a:gd name="connsiteY21" fmla="*/ 182090 h 183741"/>
                <a:gd name="connsiteX22" fmla="*/ 146049 w 193022"/>
                <a:gd name="connsiteY22" fmla="*/ 158408 h 183741"/>
                <a:gd name="connsiteX23" fmla="*/ 116502 w 193022"/>
                <a:gd name="connsiteY23" fmla="*/ 138437 h 183741"/>
                <a:gd name="connsiteX24" fmla="*/ 110392 w 193022"/>
                <a:gd name="connsiteY24" fmla="*/ 142817 h 183741"/>
                <a:gd name="connsiteX25" fmla="*/ 83259 w 193022"/>
                <a:gd name="connsiteY25" fmla="*/ 132684 h 183741"/>
                <a:gd name="connsiteX26" fmla="*/ 62743 w 193022"/>
                <a:gd name="connsiteY26" fmla="*/ 105327 h 183741"/>
                <a:gd name="connsiteX27" fmla="*/ 44887 w 193022"/>
                <a:gd name="connsiteY27" fmla="*/ 110709 h 183741"/>
                <a:gd name="connsiteX28" fmla="*/ 27088 w 193022"/>
                <a:gd name="connsiteY28" fmla="*/ 89737 h 1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3022" h="183741">
                  <a:moveTo>
                    <a:pt x="27088" y="89737"/>
                  </a:moveTo>
                  <a:lnTo>
                    <a:pt x="31784" y="71121"/>
                  </a:lnTo>
                  <a:lnTo>
                    <a:pt x="18755" y="58742"/>
                  </a:lnTo>
                  <a:lnTo>
                    <a:pt x="2784" y="33222"/>
                  </a:lnTo>
                  <a:lnTo>
                    <a:pt x="13571" y="31514"/>
                  </a:lnTo>
                  <a:lnTo>
                    <a:pt x="23679" y="9484"/>
                  </a:lnTo>
                  <a:lnTo>
                    <a:pt x="40932" y="10987"/>
                  </a:lnTo>
                  <a:lnTo>
                    <a:pt x="44855" y="3564"/>
                  </a:lnTo>
                  <a:lnTo>
                    <a:pt x="63731" y="9929"/>
                  </a:lnTo>
                  <a:lnTo>
                    <a:pt x="87263" y="2784"/>
                  </a:lnTo>
                  <a:lnTo>
                    <a:pt x="115283" y="23831"/>
                  </a:lnTo>
                  <a:lnTo>
                    <a:pt x="107608" y="34410"/>
                  </a:lnTo>
                  <a:lnTo>
                    <a:pt x="140737" y="55494"/>
                  </a:lnTo>
                  <a:lnTo>
                    <a:pt x="144525" y="84651"/>
                  </a:lnTo>
                  <a:lnTo>
                    <a:pt x="154501" y="99239"/>
                  </a:lnTo>
                  <a:lnTo>
                    <a:pt x="155084" y="113604"/>
                  </a:lnTo>
                  <a:lnTo>
                    <a:pt x="173657" y="123404"/>
                  </a:lnTo>
                  <a:lnTo>
                    <a:pt x="176164" y="139161"/>
                  </a:lnTo>
                  <a:lnTo>
                    <a:pt x="191590" y="145212"/>
                  </a:lnTo>
                  <a:lnTo>
                    <a:pt x="181914" y="164607"/>
                  </a:lnTo>
                  <a:lnTo>
                    <a:pt x="168150" y="158296"/>
                  </a:lnTo>
                  <a:lnTo>
                    <a:pt x="157475" y="182090"/>
                  </a:lnTo>
                  <a:lnTo>
                    <a:pt x="146049" y="158408"/>
                  </a:lnTo>
                  <a:lnTo>
                    <a:pt x="116502" y="138437"/>
                  </a:lnTo>
                  <a:lnTo>
                    <a:pt x="110392" y="142817"/>
                  </a:lnTo>
                  <a:lnTo>
                    <a:pt x="83259" y="132684"/>
                  </a:lnTo>
                  <a:lnTo>
                    <a:pt x="62743" y="105327"/>
                  </a:lnTo>
                  <a:lnTo>
                    <a:pt x="44887" y="110709"/>
                  </a:lnTo>
                  <a:lnTo>
                    <a:pt x="27088" y="8973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3A8D9E2-0045-49A9-B83C-FCDCB58AE0A0}"/>
                </a:ext>
              </a:extLst>
            </p:cNvPr>
            <p:cNvSpPr/>
            <p:nvPr/>
          </p:nvSpPr>
          <p:spPr>
            <a:xfrm>
              <a:off x="1593791" y="5535980"/>
              <a:ext cx="161471" cy="154046"/>
            </a:xfrm>
            <a:custGeom>
              <a:avLst/>
              <a:gdLst>
                <a:gd name="connsiteX0" fmla="*/ 20715 w 161470"/>
                <a:gd name="connsiteY0" fmla="*/ 76633 h 154046"/>
                <a:gd name="connsiteX1" fmla="*/ 5291 w 161470"/>
                <a:gd name="connsiteY1" fmla="*/ 70583 h 154046"/>
                <a:gd name="connsiteX2" fmla="*/ 2784 w 161470"/>
                <a:gd name="connsiteY2" fmla="*/ 54826 h 154046"/>
                <a:gd name="connsiteX3" fmla="*/ 10987 w 161470"/>
                <a:gd name="connsiteY3" fmla="*/ 47569 h 154046"/>
                <a:gd name="connsiteX4" fmla="*/ 30466 w 161470"/>
                <a:gd name="connsiteY4" fmla="*/ 47012 h 154046"/>
                <a:gd name="connsiteX5" fmla="*/ 31485 w 161470"/>
                <a:gd name="connsiteY5" fmla="*/ 21344 h 154046"/>
                <a:gd name="connsiteX6" fmla="*/ 46986 w 161470"/>
                <a:gd name="connsiteY6" fmla="*/ 17168 h 154046"/>
                <a:gd name="connsiteX7" fmla="*/ 56754 w 161470"/>
                <a:gd name="connsiteY7" fmla="*/ 3712 h 154046"/>
                <a:gd name="connsiteX8" fmla="*/ 62562 w 161470"/>
                <a:gd name="connsiteY8" fmla="*/ 2784 h 154046"/>
                <a:gd name="connsiteX9" fmla="*/ 72630 w 161470"/>
                <a:gd name="connsiteY9" fmla="*/ 23293 h 154046"/>
                <a:gd name="connsiteX10" fmla="*/ 85999 w 161470"/>
                <a:gd name="connsiteY10" fmla="*/ 27116 h 154046"/>
                <a:gd name="connsiteX11" fmla="*/ 95108 w 161470"/>
                <a:gd name="connsiteY11" fmla="*/ 9521 h 154046"/>
                <a:gd name="connsiteX12" fmla="*/ 109572 w 161470"/>
                <a:gd name="connsiteY12" fmla="*/ 14866 h 154046"/>
                <a:gd name="connsiteX13" fmla="*/ 123148 w 161470"/>
                <a:gd name="connsiteY13" fmla="*/ 9298 h 154046"/>
                <a:gd name="connsiteX14" fmla="*/ 125353 w 161470"/>
                <a:gd name="connsiteY14" fmla="*/ 28508 h 154046"/>
                <a:gd name="connsiteX15" fmla="*/ 155411 w 161470"/>
                <a:gd name="connsiteY15" fmla="*/ 35635 h 154046"/>
                <a:gd name="connsiteX16" fmla="*/ 158935 w 161470"/>
                <a:gd name="connsiteY16" fmla="*/ 63140 h 154046"/>
                <a:gd name="connsiteX17" fmla="*/ 130140 w 161470"/>
                <a:gd name="connsiteY17" fmla="*/ 90683 h 154046"/>
                <a:gd name="connsiteX18" fmla="*/ 118089 w 161470"/>
                <a:gd name="connsiteY18" fmla="*/ 95156 h 154046"/>
                <a:gd name="connsiteX19" fmla="*/ 119691 w 161470"/>
                <a:gd name="connsiteY19" fmla="*/ 121270 h 154046"/>
                <a:gd name="connsiteX20" fmla="*/ 127968 w 161470"/>
                <a:gd name="connsiteY20" fmla="*/ 141203 h 154046"/>
                <a:gd name="connsiteX21" fmla="*/ 105095 w 161470"/>
                <a:gd name="connsiteY21" fmla="*/ 152506 h 154046"/>
                <a:gd name="connsiteX22" fmla="*/ 67233 w 161470"/>
                <a:gd name="connsiteY22" fmla="*/ 117706 h 154046"/>
                <a:gd name="connsiteX23" fmla="*/ 61010 w 161470"/>
                <a:gd name="connsiteY23" fmla="*/ 99982 h 154046"/>
                <a:gd name="connsiteX24" fmla="*/ 48998 w 161470"/>
                <a:gd name="connsiteY24" fmla="*/ 99332 h 154046"/>
                <a:gd name="connsiteX25" fmla="*/ 42211 w 161470"/>
                <a:gd name="connsiteY25" fmla="*/ 83408 h 154046"/>
                <a:gd name="connsiteX26" fmla="*/ 20715 w 161470"/>
                <a:gd name="connsiteY26" fmla="*/ 76633 h 15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1470" h="154046">
                  <a:moveTo>
                    <a:pt x="20715" y="76633"/>
                  </a:moveTo>
                  <a:lnTo>
                    <a:pt x="5291" y="70583"/>
                  </a:lnTo>
                  <a:lnTo>
                    <a:pt x="2784" y="54826"/>
                  </a:lnTo>
                  <a:lnTo>
                    <a:pt x="10987" y="47569"/>
                  </a:lnTo>
                  <a:lnTo>
                    <a:pt x="30466" y="47012"/>
                  </a:lnTo>
                  <a:lnTo>
                    <a:pt x="31485" y="21344"/>
                  </a:lnTo>
                  <a:lnTo>
                    <a:pt x="46986" y="17168"/>
                  </a:lnTo>
                  <a:lnTo>
                    <a:pt x="56754" y="3712"/>
                  </a:lnTo>
                  <a:lnTo>
                    <a:pt x="62562" y="2784"/>
                  </a:lnTo>
                  <a:lnTo>
                    <a:pt x="72630" y="23293"/>
                  </a:lnTo>
                  <a:lnTo>
                    <a:pt x="85999" y="27116"/>
                  </a:lnTo>
                  <a:lnTo>
                    <a:pt x="95108" y="9521"/>
                  </a:lnTo>
                  <a:lnTo>
                    <a:pt x="109572" y="14866"/>
                  </a:lnTo>
                  <a:lnTo>
                    <a:pt x="123148" y="9298"/>
                  </a:lnTo>
                  <a:lnTo>
                    <a:pt x="125353" y="28508"/>
                  </a:lnTo>
                  <a:lnTo>
                    <a:pt x="155411" y="35635"/>
                  </a:lnTo>
                  <a:lnTo>
                    <a:pt x="158935" y="63140"/>
                  </a:lnTo>
                  <a:lnTo>
                    <a:pt x="130140" y="90683"/>
                  </a:lnTo>
                  <a:lnTo>
                    <a:pt x="118089" y="95156"/>
                  </a:lnTo>
                  <a:lnTo>
                    <a:pt x="119691" y="121270"/>
                  </a:lnTo>
                  <a:lnTo>
                    <a:pt x="127968" y="141203"/>
                  </a:lnTo>
                  <a:lnTo>
                    <a:pt x="105095" y="152506"/>
                  </a:lnTo>
                  <a:lnTo>
                    <a:pt x="67233" y="117706"/>
                  </a:lnTo>
                  <a:lnTo>
                    <a:pt x="61010" y="99982"/>
                  </a:lnTo>
                  <a:lnTo>
                    <a:pt x="48998" y="99332"/>
                  </a:lnTo>
                  <a:lnTo>
                    <a:pt x="42211" y="83408"/>
                  </a:lnTo>
                  <a:lnTo>
                    <a:pt x="20715" y="7663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1676265-888B-498F-8FDA-C96B5FAFCEEF}"/>
                </a:ext>
              </a:extLst>
            </p:cNvPr>
            <p:cNvSpPr/>
            <p:nvPr/>
          </p:nvSpPr>
          <p:spPr>
            <a:xfrm>
              <a:off x="1507398" y="5425716"/>
              <a:ext cx="150335" cy="167038"/>
            </a:xfrm>
            <a:custGeom>
              <a:avLst/>
              <a:gdLst>
                <a:gd name="connsiteX0" fmla="*/ 2784 w 150334"/>
                <a:gd name="connsiteY0" fmla="*/ 44451 h 167038"/>
                <a:gd name="connsiteX1" fmla="*/ 28410 w 150334"/>
                <a:gd name="connsiteY1" fmla="*/ 34428 h 167038"/>
                <a:gd name="connsiteX2" fmla="*/ 27034 w 150334"/>
                <a:gd name="connsiteY2" fmla="*/ 15089 h 167038"/>
                <a:gd name="connsiteX3" fmla="*/ 55564 w 150334"/>
                <a:gd name="connsiteY3" fmla="*/ 23311 h 167038"/>
                <a:gd name="connsiteX4" fmla="*/ 52755 w 150334"/>
                <a:gd name="connsiteY4" fmla="*/ 10987 h 167038"/>
                <a:gd name="connsiteX5" fmla="*/ 61656 w 150334"/>
                <a:gd name="connsiteY5" fmla="*/ 2784 h 167038"/>
                <a:gd name="connsiteX6" fmla="*/ 69178 w 150334"/>
                <a:gd name="connsiteY6" fmla="*/ 12639 h 167038"/>
                <a:gd name="connsiteX7" fmla="*/ 80399 w 150334"/>
                <a:gd name="connsiteY7" fmla="*/ 8296 h 167038"/>
                <a:gd name="connsiteX8" fmla="*/ 109193 w 150334"/>
                <a:gd name="connsiteY8" fmla="*/ 18170 h 167038"/>
                <a:gd name="connsiteX9" fmla="*/ 120598 w 150334"/>
                <a:gd name="connsiteY9" fmla="*/ 63140 h 167038"/>
                <a:gd name="connsiteX10" fmla="*/ 132495 w 150334"/>
                <a:gd name="connsiteY10" fmla="*/ 79102 h 167038"/>
                <a:gd name="connsiteX11" fmla="*/ 147749 w 150334"/>
                <a:gd name="connsiteY11" fmla="*/ 89421 h 167038"/>
                <a:gd name="connsiteX12" fmla="*/ 141207 w 150334"/>
                <a:gd name="connsiteY12" fmla="*/ 96418 h 167038"/>
                <a:gd name="connsiteX13" fmla="*/ 143148 w 150334"/>
                <a:gd name="connsiteY13" fmla="*/ 113975 h 167038"/>
                <a:gd name="connsiteX14" fmla="*/ 133378 w 150334"/>
                <a:gd name="connsiteY14" fmla="*/ 127431 h 167038"/>
                <a:gd name="connsiteX15" fmla="*/ 117879 w 150334"/>
                <a:gd name="connsiteY15" fmla="*/ 131607 h 167038"/>
                <a:gd name="connsiteX16" fmla="*/ 116858 w 150334"/>
                <a:gd name="connsiteY16" fmla="*/ 157276 h 167038"/>
                <a:gd name="connsiteX17" fmla="*/ 97380 w 150334"/>
                <a:gd name="connsiteY17" fmla="*/ 157814 h 167038"/>
                <a:gd name="connsiteX18" fmla="*/ 89178 w 150334"/>
                <a:gd name="connsiteY18" fmla="*/ 165089 h 167038"/>
                <a:gd name="connsiteX19" fmla="*/ 70604 w 150334"/>
                <a:gd name="connsiteY19" fmla="*/ 155271 h 167038"/>
                <a:gd name="connsiteX20" fmla="*/ 70021 w 150334"/>
                <a:gd name="connsiteY20" fmla="*/ 140906 h 167038"/>
                <a:gd name="connsiteX21" fmla="*/ 60047 w 150334"/>
                <a:gd name="connsiteY21" fmla="*/ 126336 h 167038"/>
                <a:gd name="connsiteX22" fmla="*/ 56257 w 150334"/>
                <a:gd name="connsiteY22" fmla="*/ 97179 h 167038"/>
                <a:gd name="connsiteX23" fmla="*/ 23127 w 150334"/>
                <a:gd name="connsiteY23" fmla="*/ 76095 h 167038"/>
                <a:gd name="connsiteX24" fmla="*/ 30802 w 150334"/>
                <a:gd name="connsiteY24" fmla="*/ 65516 h 167038"/>
                <a:gd name="connsiteX25" fmla="*/ 2784 w 150334"/>
                <a:gd name="connsiteY25" fmla="*/ 44451 h 16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0334" h="167038">
                  <a:moveTo>
                    <a:pt x="2784" y="44451"/>
                  </a:moveTo>
                  <a:lnTo>
                    <a:pt x="28410" y="34428"/>
                  </a:lnTo>
                  <a:lnTo>
                    <a:pt x="27034" y="15089"/>
                  </a:lnTo>
                  <a:lnTo>
                    <a:pt x="55564" y="23311"/>
                  </a:lnTo>
                  <a:lnTo>
                    <a:pt x="52755" y="10987"/>
                  </a:lnTo>
                  <a:lnTo>
                    <a:pt x="61656" y="2784"/>
                  </a:lnTo>
                  <a:lnTo>
                    <a:pt x="69178" y="12639"/>
                  </a:lnTo>
                  <a:lnTo>
                    <a:pt x="80399" y="8296"/>
                  </a:lnTo>
                  <a:lnTo>
                    <a:pt x="109193" y="18170"/>
                  </a:lnTo>
                  <a:lnTo>
                    <a:pt x="120598" y="63140"/>
                  </a:lnTo>
                  <a:lnTo>
                    <a:pt x="132495" y="79102"/>
                  </a:lnTo>
                  <a:lnTo>
                    <a:pt x="147749" y="89421"/>
                  </a:lnTo>
                  <a:lnTo>
                    <a:pt x="141207" y="96418"/>
                  </a:lnTo>
                  <a:lnTo>
                    <a:pt x="143148" y="113975"/>
                  </a:lnTo>
                  <a:lnTo>
                    <a:pt x="133378" y="127431"/>
                  </a:lnTo>
                  <a:lnTo>
                    <a:pt x="117879" y="131607"/>
                  </a:lnTo>
                  <a:lnTo>
                    <a:pt x="116858" y="157276"/>
                  </a:lnTo>
                  <a:lnTo>
                    <a:pt x="97380" y="157814"/>
                  </a:lnTo>
                  <a:lnTo>
                    <a:pt x="89178" y="165089"/>
                  </a:lnTo>
                  <a:lnTo>
                    <a:pt x="70604" y="155271"/>
                  </a:lnTo>
                  <a:lnTo>
                    <a:pt x="70021" y="140906"/>
                  </a:lnTo>
                  <a:lnTo>
                    <a:pt x="60047" y="126336"/>
                  </a:lnTo>
                  <a:lnTo>
                    <a:pt x="56257" y="97179"/>
                  </a:lnTo>
                  <a:lnTo>
                    <a:pt x="23127" y="76095"/>
                  </a:lnTo>
                  <a:lnTo>
                    <a:pt x="30802" y="65516"/>
                  </a:lnTo>
                  <a:lnTo>
                    <a:pt x="2784" y="44451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2B7DA5D-EC01-41EF-B0BD-E5966F8ADB80}"/>
                </a:ext>
              </a:extLst>
            </p:cNvPr>
            <p:cNvSpPr/>
            <p:nvPr/>
          </p:nvSpPr>
          <p:spPr>
            <a:xfrm>
              <a:off x="1895627" y="5453129"/>
              <a:ext cx="347069" cy="230141"/>
            </a:xfrm>
            <a:custGeom>
              <a:avLst/>
              <a:gdLst>
                <a:gd name="connsiteX0" fmla="*/ 16886 w 347069"/>
                <a:gd name="connsiteY0" fmla="*/ 129083 h 230141"/>
                <a:gd name="connsiteX1" fmla="*/ 22205 w 347069"/>
                <a:gd name="connsiteY1" fmla="*/ 119729 h 230141"/>
                <a:gd name="connsiteX2" fmla="*/ 9666 w 347069"/>
                <a:gd name="connsiteY2" fmla="*/ 115776 h 230141"/>
                <a:gd name="connsiteX3" fmla="*/ 2784 w 347069"/>
                <a:gd name="connsiteY3" fmla="*/ 93894 h 230141"/>
                <a:gd name="connsiteX4" fmla="*/ 29636 w 347069"/>
                <a:gd name="connsiteY4" fmla="*/ 86229 h 230141"/>
                <a:gd name="connsiteX5" fmla="*/ 36086 w 347069"/>
                <a:gd name="connsiteY5" fmla="*/ 73293 h 230141"/>
                <a:gd name="connsiteX6" fmla="*/ 55696 w 347069"/>
                <a:gd name="connsiteY6" fmla="*/ 73571 h 230141"/>
                <a:gd name="connsiteX7" fmla="*/ 83549 w 347069"/>
                <a:gd name="connsiteY7" fmla="*/ 61489 h 230141"/>
                <a:gd name="connsiteX8" fmla="*/ 92769 w 347069"/>
                <a:gd name="connsiteY8" fmla="*/ 65980 h 230141"/>
                <a:gd name="connsiteX9" fmla="*/ 93920 w 347069"/>
                <a:gd name="connsiteY9" fmla="*/ 41128 h 230141"/>
                <a:gd name="connsiteX10" fmla="*/ 106725 w 347069"/>
                <a:gd name="connsiteY10" fmla="*/ 46752 h 230141"/>
                <a:gd name="connsiteX11" fmla="*/ 122074 w 347069"/>
                <a:gd name="connsiteY11" fmla="*/ 25594 h 230141"/>
                <a:gd name="connsiteX12" fmla="*/ 148642 w 347069"/>
                <a:gd name="connsiteY12" fmla="*/ 37528 h 230141"/>
                <a:gd name="connsiteX13" fmla="*/ 162484 w 347069"/>
                <a:gd name="connsiteY13" fmla="*/ 33630 h 230141"/>
                <a:gd name="connsiteX14" fmla="*/ 167575 w 347069"/>
                <a:gd name="connsiteY14" fmla="*/ 17520 h 230141"/>
                <a:gd name="connsiteX15" fmla="*/ 183171 w 347069"/>
                <a:gd name="connsiteY15" fmla="*/ 19283 h 230141"/>
                <a:gd name="connsiteX16" fmla="*/ 182549 w 347069"/>
                <a:gd name="connsiteY16" fmla="*/ 10022 h 230141"/>
                <a:gd name="connsiteX17" fmla="*/ 204967 w 347069"/>
                <a:gd name="connsiteY17" fmla="*/ 22624 h 230141"/>
                <a:gd name="connsiteX18" fmla="*/ 241211 w 347069"/>
                <a:gd name="connsiteY18" fmla="*/ 15145 h 230141"/>
                <a:gd name="connsiteX19" fmla="*/ 249452 w 347069"/>
                <a:gd name="connsiteY19" fmla="*/ 2784 h 230141"/>
                <a:gd name="connsiteX20" fmla="*/ 269344 w 347069"/>
                <a:gd name="connsiteY20" fmla="*/ 20880 h 230141"/>
                <a:gd name="connsiteX21" fmla="*/ 302210 w 347069"/>
                <a:gd name="connsiteY21" fmla="*/ 40312 h 230141"/>
                <a:gd name="connsiteX22" fmla="*/ 303134 w 347069"/>
                <a:gd name="connsiteY22" fmla="*/ 46121 h 230141"/>
                <a:gd name="connsiteX23" fmla="*/ 336395 w 347069"/>
                <a:gd name="connsiteY23" fmla="*/ 68040 h 230141"/>
                <a:gd name="connsiteX24" fmla="*/ 346106 w 347069"/>
                <a:gd name="connsiteY24" fmla="*/ 80958 h 230141"/>
                <a:gd name="connsiteX25" fmla="*/ 319706 w 347069"/>
                <a:gd name="connsiteY25" fmla="*/ 102171 h 230141"/>
                <a:gd name="connsiteX26" fmla="*/ 293175 w 347069"/>
                <a:gd name="connsiteY26" fmla="*/ 85115 h 230141"/>
                <a:gd name="connsiteX27" fmla="*/ 268754 w 347069"/>
                <a:gd name="connsiteY27" fmla="*/ 118783 h 230141"/>
                <a:gd name="connsiteX28" fmla="*/ 236812 w 347069"/>
                <a:gd name="connsiteY28" fmla="*/ 105141 h 230141"/>
                <a:gd name="connsiteX29" fmla="*/ 225252 w 347069"/>
                <a:gd name="connsiteY29" fmla="*/ 118040 h 230141"/>
                <a:gd name="connsiteX30" fmla="*/ 212844 w 347069"/>
                <a:gd name="connsiteY30" fmla="*/ 114903 h 230141"/>
                <a:gd name="connsiteX31" fmla="*/ 207263 w 347069"/>
                <a:gd name="connsiteY31" fmla="*/ 122606 h 230141"/>
                <a:gd name="connsiteX32" fmla="*/ 217274 w 347069"/>
                <a:gd name="connsiteY32" fmla="*/ 132071 h 230141"/>
                <a:gd name="connsiteX33" fmla="*/ 206716 w 347069"/>
                <a:gd name="connsiteY33" fmla="*/ 140553 h 230141"/>
                <a:gd name="connsiteX34" fmla="*/ 210277 w 347069"/>
                <a:gd name="connsiteY34" fmla="*/ 162936 h 230141"/>
                <a:gd name="connsiteX35" fmla="*/ 183651 w 347069"/>
                <a:gd name="connsiteY35" fmla="*/ 177376 h 230141"/>
                <a:gd name="connsiteX36" fmla="*/ 192022 w 347069"/>
                <a:gd name="connsiteY36" fmla="*/ 203267 h 230141"/>
                <a:gd name="connsiteX37" fmla="*/ 169583 w 347069"/>
                <a:gd name="connsiteY37" fmla="*/ 211934 h 230141"/>
                <a:gd name="connsiteX38" fmla="*/ 160814 w 347069"/>
                <a:gd name="connsiteY38" fmla="*/ 220991 h 230141"/>
                <a:gd name="connsiteX39" fmla="*/ 150236 w 347069"/>
                <a:gd name="connsiteY39" fmla="*/ 213307 h 230141"/>
                <a:gd name="connsiteX40" fmla="*/ 153631 w 347069"/>
                <a:gd name="connsiteY40" fmla="*/ 202561 h 230141"/>
                <a:gd name="connsiteX41" fmla="*/ 136905 w 347069"/>
                <a:gd name="connsiteY41" fmla="*/ 204380 h 230141"/>
                <a:gd name="connsiteX42" fmla="*/ 129795 w 347069"/>
                <a:gd name="connsiteY42" fmla="*/ 213159 h 230141"/>
                <a:gd name="connsiteX43" fmla="*/ 107563 w 347069"/>
                <a:gd name="connsiteY43" fmla="*/ 212454 h 230141"/>
                <a:gd name="connsiteX44" fmla="*/ 103169 w 347069"/>
                <a:gd name="connsiteY44" fmla="*/ 227599 h 230141"/>
                <a:gd name="connsiteX45" fmla="*/ 79919 w 347069"/>
                <a:gd name="connsiteY45" fmla="*/ 215145 h 230141"/>
                <a:gd name="connsiteX46" fmla="*/ 68361 w 347069"/>
                <a:gd name="connsiteY46" fmla="*/ 190627 h 230141"/>
                <a:gd name="connsiteX47" fmla="*/ 69570 w 347069"/>
                <a:gd name="connsiteY47" fmla="*/ 176819 h 230141"/>
                <a:gd name="connsiteX48" fmla="*/ 54429 w 347069"/>
                <a:gd name="connsiteY48" fmla="*/ 151169 h 230141"/>
                <a:gd name="connsiteX49" fmla="*/ 36741 w 347069"/>
                <a:gd name="connsiteY49" fmla="*/ 152283 h 230141"/>
                <a:gd name="connsiteX50" fmla="*/ 19300 w 347069"/>
                <a:gd name="connsiteY50" fmla="*/ 138901 h 230141"/>
                <a:gd name="connsiteX51" fmla="*/ 16886 w 347069"/>
                <a:gd name="connsiteY51" fmla="*/ 129083 h 23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47069" h="230141">
                  <a:moveTo>
                    <a:pt x="16886" y="129083"/>
                  </a:moveTo>
                  <a:lnTo>
                    <a:pt x="22205" y="119729"/>
                  </a:lnTo>
                  <a:lnTo>
                    <a:pt x="9666" y="115776"/>
                  </a:lnTo>
                  <a:lnTo>
                    <a:pt x="2784" y="93894"/>
                  </a:lnTo>
                  <a:lnTo>
                    <a:pt x="29636" y="86229"/>
                  </a:lnTo>
                  <a:lnTo>
                    <a:pt x="36086" y="73293"/>
                  </a:lnTo>
                  <a:lnTo>
                    <a:pt x="55696" y="73571"/>
                  </a:lnTo>
                  <a:lnTo>
                    <a:pt x="83549" y="61489"/>
                  </a:lnTo>
                  <a:lnTo>
                    <a:pt x="92769" y="65980"/>
                  </a:lnTo>
                  <a:lnTo>
                    <a:pt x="93920" y="41128"/>
                  </a:lnTo>
                  <a:lnTo>
                    <a:pt x="106725" y="46752"/>
                  </a:lnTo>
                  <a:lnTo>
                    <a:pt x="122074" y="25594"/>
                  </a:lnTo>
                  <a:lnTo>
                    <a:pt x="148642" y="37528"/>
                  </a:lnTo>
                  <a:lnTo>
                    <a:pt x="162484" y="33630"/>
                  </a:lnTo>
                  <a:lnTo>
                    <a:pt x="167575" y="17520"/>
                  </a:lnTo>
                  <a:lnTo>
                    <a:pt x="183171" y="19283"/>
                  </a:lnTo>
                  <a:lnTo>
                    <a:pt x="182549" y="10022"/>
                  </a:lnTo>
                  <a:lnTo>
                    <a:pt x="204967" y="22624"/>
                  </a:lnTo>
                  <a:lnTo>
                    <a:pt x="241211" y="15145"/>
                  </a:lnTo>
                  <a:lnTo>
                    <a:pt x="249452" y="2784"/>
                  </a:lnTo>
                  <a:lnTo>
                    <a:pt x="269344" y="20880"/>
                  </a:lnTo>
                  <a:lnTo>
                    <a:pt x="302210" y="40312"/>
                  </a:lnTo>
                  <a:lnTo>
                    <a:pt x="303134" y="46121"/>
                  </a:lnTo>
                  <a:lnTo>
                    <a:pt x="336395" y="68040"/>
                  </a:lnTo>
                  <a:lnTo>
                    <a:pt x="346106" y="80958"/>
                  </a:lnTo>
                  <a:lnTo>
                    <a:pt x="319706" y="102171"/>
                  </a:lnTo>
                  <a:lnTo>
                    <a:pt x="293175" y="85115"/>
                  </a:lnTo>
                  <a:lnTo>
                    <a:pt x="268754" y="118783"/>
                  </a:lnTo>
                  <a:lnTo>
                    <a:pt x="236812" y="105141"/>
                  </a:lnTo>
                  <a:lnTo>
                    <a:pt x="225252" y="118040"/>
                  </a:lnTo>
                  <a:lnTo>
                    <a:pt x="212844" y="114903"/>
                  </a:lnTo>
                  <a:lnTo>
                    <a:pt x="207263" y="122606"/>
                  </a:lnTo>
                  <a:lnTo>
                    <a:pt x="217274" y="132071"/>
                  </a:lnTo>
                  <a:lnTo>
                    <a:pt x="206716" y="140553"/>
                  </a:lnTo>
                  <a:lnTo>
                    <a:pt x="210277" y="162936"/>
                  </a:lnTo>
                  <a:lnTo>
                    <a:pt x="183651" y="177376"/>
                  </a:lnTo>
                  <a:lnTo>
                    <a:pt x="192022" y="203267"/>
                  </a:lnTo>
                  <a:lnTo>
                    <a:pt x="169583" y="211934"/>
                  </a:lnTo>
                  <a:lnTo>
                    <a:pt x="160814" y="220991"/>
                  </a:lnTo>
                  <a:lnTo>
                    <a:pt x="150236" y="213307"/>
                  </a:lnTo>
                  <a:lnTo>
                    <a:pt x="153631" y="202561"/>
                  </a:lnTo>
                  <a:lnTo>
                    <a:pt x="136905" y="204380"/>
                  </a:lnTo>
                  <a:lnTo>
                    <a:pt x="129795" y="213159"/>
                  </a:lnTo>
                  <a:lnTo>
                    <a:pt x="107563" y="212454"/>
                  </a:lnTo>
                  <a:lnTo>
                    <a:pt x="103169" y="227599"/>
                  </a:lnTo>
                  <a:lnTo>
                    <a:pt x="79919" y="215145"/>
                  </a:lnTo>
                  <a:lnTo>
                    <a:pt x="68361" y="190627"/>
                  </a:lnTo>
                  <a:lnTo>
                    <a:pt x="69570" y="176819"/>
                  </a:lnTo>
                  <a:lnTo>
                    <a:pt x="54429" y="151169"/>
                  </a:lnTo>
                  <a:lnTo>
                    <a:pt x="36741" y="152283"/>
                  </a:lnTo>
                  <a:lnTo>
                    <a:pt x="19300" y="138901"/>
                  </a:lnTo>
                  <a:lnTo>
                    <a:pt x="16886" y="12908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85912BA-3244-4290-8F29-081C575CCBFB}"/>
                </a:ext>
              </a:extLst>
            </p:cNvPr>
            <p:cNvSpPr/>
            <p:nvPr/>
          </p:nvSpPr>
          <p:spPr>
            <a:xfrm>
              <a:off x="1541055" y="5609829"/>
              <a:ext cx="228286" cy="222717"/>
            </a:xfrm>
            <a:custGeom>
              <a:avLst/>
              <a:gdLst>
                <a:gd name="connsiteX0" fmla="*/ 28068 w 228286"/>
                <a:gd name="connsiteY0" fmla="*/ 198794 h 222717"/>
                <a:gd name="connsiteX1" fmla="*/ 12946 w 228286"/>
                <a:gd name="connsiteY1" fmla="*/ 189291 h 222717"/>
                <a:gd name="connsiteX2" fmla="*/ 11702 w 228286"/>
                <a:gd name="connsiteY2" fmla="*/ 170787 h 222717"/>
                <a:gd name="connsiteX3" fmla="*/ 2784 w 228286"/>
                <a:gd name="connsiteY3" fmla="*/ 162844 h 222717"/>
                <a:gd name="connsiteX4" fmla="*/ 3294 w 228286"/>
                <a:gd name="connsiteY4" fmla="*/ 150000 h 222717"/>
                <a:gd name="connsiteX5" fmla="*/ 14683 w 228286"/>
                <a:gd name="connsiteY5" fmla="*/ 141389 h 222717"/>
                <a:gd name="connsiteX6" fmla="*/ 23473 w 228286"/>
                <a:gd name="connsiteY6" fmla="*/ 111080 h 222717"/>
                <a:gd name="connsiteX7" fmla="*/ 36654 w 228286"/>
                <a:gd name="connsiteY7" fmla="*/ 103025 h 222717"/>
                <a:gd name="connsiteX8" fmla="*/ 30865 w 228286"/>
                <a:gd name="connsiteY8" fmla="*/ 82684 h 222717"/>
                <a:gd name="connsiteX9" fmla="*/ 42482 w 228286"/>
                <a:gd name="connsiteY9" fmla="*/ 80847 h 222717"/>
                <a:gd name="connsiteX10" fmla="*/ 45481 w 228286"/>
                <a:gd name="connsiteY10" fmla="*/ 67613 h 222717"/>
                <a:gd name="connsiteX11" fmla="*/ 32452 w 228286"/>
                <a:gd name="connsiteY11" fmla="*/ 55215 h 222717"/>
                <a:gd name="connsiteX12" fmla="*/ 39336 w 228286"/>
                <a:gd name="connsiteY12" fmla="*/ 39662 h 222717"/>
                <a:gd name="connsiteX13" fmla="*/ 50010 w 228286"/>
                <a:gd name="connsiteY13" fmla="*/ 15869 h 222717"/>
                <a:gd name="connsiteX14" fmla="*/ 63773 w 228286"/>
                <a:gd name="connsiteY14" fmla="*/ 22179 h 222717"/>
                <a:gd name="connsiteX15" fmla="*/ 73449 w 228286"/>
                <a:gd name="connsiteY15" fmla="*/ 2784 h 222717"/>
                <a:gd name="connsiteX16" fmla="*/ 94945 w 228286"/>
                <a:gd name="connsiteY16" fmla="*/ 9558 h 222717"/>
                <a:gd name="connsiteX17" fmla="*/ 101732 w 228286"/>
                <a:gd name="connsiteY17" fmla="*/ 25483 h 222717"/>
                <a:gd name="connsiteX18" fmla="*/ 113744 w 228286"/>
                <a:gd name="connsiteY18" fmla="*/ 26132 h 222717"/>
                <a:gd name="connsiteX19" fmla="*/ 119965 w 228286"/>
                <a:gd name="connsiteY19" fmla="*/ 43857 h 222717"/>
                <a:gd name="connsiteX20" fmla="*/ 157827 w 228286"/>
                <a:gd name="connsiteY20" fmla="*/ 78656 h 222717"/>
                <a:gd name="connsiteX21" fmla="*/ 171781 w 228286"/>
                <a:gd name="connsiteY21" fmla="*/ 96845 h 222717"/>
                <a:gd name="connsiteX22" fmla="*/ 162616 w 228286"/>
                <a:gd name="connsiteY22" fmla="*/ 103396 h 222717"/>
                <a:gd name="connsiteX23" fmla="*/ 182282 w 228286"/>
                <a:gd name="connsiteY23" fmla="*/ 114737 h 222717"/>
                <a:gd name="connsiteX24" fmla="*/ 211113 w 228286"/>
                <a:gd name="connsiteY24" fmla="*/ 156923 h 222717"/>
                <a:gd name="connsiteX25" fmla="*/ 220729 w 228286"/>
                <a:gd name="connsiteY25" fmla="*/ 163883 h 222717"/>
                <a:gd name="connsiteX26" fmla="*/ 225517 w 228286"/>
                <a:gd name="connsiteY26" fmla="*/ 188642 h 222717"/>
                <a:gd name="connsiteX27" fmla="*/ 219368 w 228286"/>
                <a:gd name="connsiteY27" fmla="*/ 198126 h 222717"/>
                <a:gd name="connsiteX28" fmla="*/ 188954 w 228286"/>
                <a:gd name="connsiteY28" fmla="*/ 183408 h 222717"/>
                <a:gd name="connsiteX29" fmla="*/ 175396 w 228286"/>
                <a:gd name="connsiteY29" fmla="*/ 167706 h 222717"/>
                <a:gd name="connsiteX30" fmla="*/ 162649 w 228286"/>
                <a:gd name="connsiteY30" fmla="*/ 173126 h 222717"/>
                <a:gd name="connsiteX31" fmla="*/ 127746 w 228286"/>
                <a:gd name="connsiteY31" fmla="*/ 167632 h 222717"/>
                <a:gd name="connsiteX32" fmla="*/ 133930 w 228286"/>
                <a:gd name="connsiteY32" fmla="*/ 190460 h 222717"/>
                <a:gd name="connsiteX33" fmla="*/ 110056 w 228286"/>
                <a:gd name="connsiteY33" fmla="*/ 206162 h 222717"/>
                <a:gd name="connsiteX34" fmla="*/ 101855 w 228286"/>
                <a:gd name="connsiteY34" fmla="*/ 213419 h 222717"/>
                <a:gd name="connsiteX35" fmla="*/ 82242 w 228286"/>
                <a:gd name="connsiteY35" fmla="*/ 213140 h 222717"/>
                <a:gd name="connsiteX36" fmla="*/ 64650 w 228286"/>
                <a:gd name="connsiteY36" fmla="*/ 220193 h 222717"/>
                <a:gd name="connsiteX37" fmla="*/ 45511 w 228286"/>
                <a:gd name="connsiteY37" fmla="*/ 212176 h 222717"/>
                <a:gd name="connsiteX38" fmla="*/ 28068 w 228286"/>
                <a:gd name="connsiteY38" fmla="*/ 198794 h 22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8286" h="222717">
                  <a:moveTo>
                    <a:pt x="28068" y="198794"/>
                  </a:moveTo>
                  <a:lnTo>
                    <a:pt x="12946" y="189291"/>
                  </a:lnTo>
                  <a:lnTo>
                    <a:pt x="11702" y="170787"/>
                  </a:lnTo>
                  <a:lnTo>
                    <a:pt x="2784" y="162844"/>
                  </a:lnTo>
                  <a:lnTo>
                    <a:pt x="3294" y="150000"/>
                  </a:lnTo>
                  <a:lnTo>
                    <a:pt x="14683" y="141389"/>
                  </a:lnTo>
                  <a:lnTo>
                    <a:pt x="23473" y="111080"/>
                  </a:lnTo>
                  <a:lnTo>
                    <a:pt x="36654" y="103025"/>
                  </a:lnTo>
                  <a:lnTo>
                    <a:pt x="30865" y="82684"/>
                  </a:lnTo>
                  <a:lnTo>
                    <a:pt x="42482" y="80847"/>
                  </a:lnTo>
                  <a:lnTo>
                    <a:pt x="45481" y="67613"/>
                  </a:lnTo>
                  <a:lnTo>
                    <a:pt x="32452" y="55215"/>
                  </a:lnTo>
                  <a:lnTo>
                    <a:pt x="39336" y="39662"/>
                  </a:lnTo>
                  <a:lnTo>
                    <a:pt x="50010" y="15869"/>
                  </a:lnTo>
                  <a:lnTo>
                    <a:pt x="63773" y="22179"/>
                  </a:lnTo>
                  <a:lnTo>
                    <a:pt x="73449" y="2784"/>
                  </a:lnTo>
                  <a:lnTo>
                    <a:pt x="94945" y="9558"/>
                  </a:lnTo>
                  <a:lnTo>
                    <a:pt x="101732" y="25483"/>
                  </a:lnTo>
                  <a:lnTo>
                    <a:pt x="113744" y="26132"/>
                  </a:lnTo>
                  <a:lnTo>
                    <a:pt x="119965" y="43857"/>
                  </a:lnTo>
                  <a:lnTo>
                    <a:pt x="157827" y="78656"/>
                  </a:lnTo>
                  <a:lnTo>
                    <a:pt x="171781" y="96845"/>
                  </a:lnTo>
                  <a:lnTo>
                    <a:pt x="162616" y="103396"/>
                  </a:lnTo>
                  <a:lnTo>
                    <a:pt x="182282" y="114737"/>
                  </a:lnTo>
                  <a:lnTo>
                    <a:pt x="211113" y="156923"/>
                  </a:lnTo>
                  <a:lnTo>
                    <a:pt x="220729" y="163883"/>
                  </a:lnTo>
                  <a:lnTo>
                    <a:pt x="225517" y="188642"/>
                  </a:lnTo>
                  <a:lnTo>
                    <a:pt x="219368" y="198126"/>
                  </a:lnTo>
                  <a:lnTo>
                    <a:pt x="188954" y="183408"/>
                  </a:lnTo>
                  <a:lnTo>
                    <a:pt x="175396" y="167706"/>
                  </a:lnTo>
                  <a:lnTo>
                    <a:pt x="162649" y="173126"/>
                  </a:lnTo>
                  <a:lnTo>
                    <a:pt x="127746" y="167632"/>
                  </a:lnTo>
                  <a:lnTo>
                    <a:pt x="133930" y="190460"/>
                  </a:lnTo>
                  <a:lnTo>
                    <a:pt x="110056" y="206162"/>
                  </a:lnTo>
                  <a:lnTo>
                    <a:pt x="101855" y="213419"/>
                  </a:lnTo>
                  <a:lnTo>
                    <a:pt x="82242" y="213140"/>
                  </a:lnTo>
                  <a:lnTo>
                    <a:pt x="64650" y="220193"/>
                  </a:lnTo>
                  <a:lnTo>
                    <a:pt x="45511" y="212176"/>
                  </a:lnTo>
                  <a:lnTo>
                    <a:pt x="28068" y="19879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628BB10-A5D7-457F-94A0-447825CF6482}"/>
                </a:ext>
              </a:extLst>
            </p:cNvPr>
            <p:cNvSpPr/>
            <p:nvPr/>
          </p:nvSpPr>
          <p:spPr>
            <a:xfrm>
              <a:off x="2318070" y="5775735"/>
              <a:ext cx="322941" cy="410171"/>
            </a:xfrm>
            <a:custGeom>
              <a:avLst/>
              <a:gdLst>
                <a:gd name="connsiteX0" fmla="*/ 75956 w 322941"/>
                <a:gd name="connsiteY0" fmla="*/ 25817 h 410171"/>
                <a:gd name="connsiteX1" fmla="*/ 97792 w 322941"/>
                <a:gd name="connsiteY1" fmla="*/ 24053 h 410171"/>
                <a:gd name="connsiteX2" fmla="*/ 120270 w 322941"/>
                <a:gd name="connsiteY2" fmla="*/ 10264 h 410171"/>
                <a:gd name="connsiteX3" fmla="*/ 135242 w 322941"/>
                <a:gd name="connsiteY3" fmla="*/ 2784 h 410171"/>
                <a:gd name="connsiteX4" fmla="*/ 144745 w 322941"/>
                <a:gd name="connsiteY4" fmla="*/ 25074 h 410171"/>
                <a:gd name="connsiteX5" fmla="*/ 164845 w 322941"/>
                <a:gd name="connsiteY5" fmla="*/ 33779 h 410171"/>
                <a:gd name="connsiteX6" fmla="*/ 187907 w 322941"/>
                <a:gd name="connsiteY6" fmla="*/ 34373 h 410171"/>
                <a:gd name="connsiteX7" fmla="*/ 189451 w 322941"/>
                <a:gd name="connsiteY7" fmla="*/ 49425 h 410171"/>
                <a:gd name="connsiteX8" fmla="*/ 206309 w 322941"/>
                <a:gd name="connsiteY8" fmla="*/ 48460 h 410171"/>
                <a:gd name="connsiteX9" fmla="*/ 216736 w 322941"/>
                <a:gd name="connsiteY9" fmla="*/ 76559 h 410171"/>
                <a:gd name="connsiteX10" fmla="*/ 230671 w 322941"/>
                <a:gd name="connsiteY10" fmla="*/ 78601 h 410171"/>
                <a:gd name="connsiteX11" fmla="*/ 246605 w 322941"/>
                <a:gd name="connsiteY11" fmla="*/ 71808 h 410171"/>
                <a:gd name="connsiteX12" fmla="*/ 241946 w 322941"/>
                <a:gd name="connsiteY12" fmla="*/ 85301 h 410171"/>
                <a:gd name="connsiteX13" fmla="*/ 294914 w 322941"/>
                <a:gd name="connsiteY13" fmla="*/ 113437 h 410171"/>
                <a:gd name="connsiteX14" fmla="*/ 309847 w 322941"/>
                <a:gd name="connsiteY14" fmla="*/ 111062 h 410171"/>
                <a:gd name="connsiteX15" fmla="*/ 320426 w 322941"/>
                <a:gd name="connsiteY15" fmla="*/ 118745 h 410171"/>
                <a:gd name="connsiteX16" fmla="*/ 305076 w 322941"/>
                <a:gd name="connsiteY16" fmla="*/ 139885 h 410171"/>
                <a:gd name="connsiteX17" fmla="*/ 314539 w 322941"/>
                <a:gd name="connsiteY17" fmla="*/ 167298 h 410171"/>
                <a:gd name="connsiteX18" fmla="*/ 297023 w 322941"/>
                <a:gd name="connsiteY18" fmla="*/ 164143 h 410171"/>
                <a:gd name="connsiteX19" fmla="*/ 292269 w 322941"/>
                <a:gd name="connsiteY19" fmla="*/ 171697 h 410171"/>
                <a:gd name="connsiteX20" fmla="*/ 272264 w 322941"/>
                <a:gd name="connsiteY20" fmla="*/ 168931 h 410171"/>
                <a:gd name="connsiteX21" fmla="*/ 268398 w 322941"/>
                <a:gd name="connsiteY21" fmla="*/ 187398 h 410171"/>
                <a:gd name="connsiteX22" fmla="*/ 257611 w 322941"/>
                <a:gd name="connsiteY22" fmla="*/ 189106 h 410171"/>
                <a:gd name="connsiteX23" fmla="*/ 249069 w 322941"/>
                <a:gd name="connsiteY23" fmla="*/ 167521 h 410171"/>
                <a:gd name="connsiteX24" fmla="*/ 228685 w 322941"/>
                <a:gd name="connsiteY24" fmla="*/ 178415 h 410171"/>
                <a:gd name="connsiteX25" fmla="*/ 241283 w 322941"/>
                <a:gd name="connsiteY25" fmla="*/ 155995 h 410171"/>
                <a:gd name="connsiteX26" fmla="*/ 221220 w 322941"/>
                <a:gd name="connsiteY26" fmla="*/ 142186 h 410171"/>
                <a:gd name="connsiteX27" fmla="*/ 197252 w 322941"/>
                <a:gd name="connsiteY27" fmla="*/ 151949 h 410171"/>
                <a:gd name="connsiteX28" fmla="*/ 190068 w 322941"/>
                <a:gd name="connsiteY28" fmla="*/ 170954 h 410171"/>
                <a:gd name="connsiteX29" fmla="*/ 204021 w 322941"/>
                <a:gd name="connsiteY29" fmla="*/ 189143 h 410171"/>
                <a:gd name="connsiteX30" fmla="*/ 214182 w 322941"/>
                <a:gd name="connsiteY30" fmla="*/ 215590 h 410171"/>
                <a:gd name="connsiteX31" fmla="*/ 234925 w 322941"/>
                <a:gd name="connsiteY31" fmla="*/ 212287 h 410171"/>
                <a:gd name="connsiteX32" fmla="*/ 244108 w 322941"/>
                <a:gd name="connsiteY32" fmla="*/ 221882 h 410171"/>
                <a:gd name="connsiteX33" fmla="*/ 268301 w 322941"/>
                <a:gd name="connsiteY33" fmla="*/ 218876 h 410171"/>
                <a:gd name="connsiteX34" fmla="*/ 275033 w 322941"/>
                <a:gd name="connsiteY34" fmla="*/ 223757 h 410171"/>
                <a:gd name="connsiteX35" fmla="*/ 300829 w 322941"/>
                <a:gd name="connsiteY35" fmla="*/ 209447 h 410171"/>
                <a:gd name="connsiteX36" fmla="*/ 313160 w 322941"/>
                <a:gd name="connsiteY36" fmla="*/ 222792 h 410171"/>
                <a:gd name="connsiteX37" fmla="*/ 291907 w 322941"/>
                <a:gd name="connsiteY37" fmla="*/ 238939 h 410171"/>
                <a:gd name="connsiteX38" fmla="*/ 290926 w 322941"/>
                <a:gd name="connsiteY38" fmla="*/ 259503 h 410171"/>
                <a:gd name="connsiteX39" fmla="*/ 282459 w 322941"/>
                <a:gd name="connsiteY39" fmla="*/ 265108 h 410171"/>
                <a:gd name="connsiteX40" fmla="*/ 268168 w 322941"/>
                <a:gd name="connsiteY40" fmla="*/ 255475 h 410171"/>
                <a:gd name="connsiteX41" fmla="*/ 255250 w 322941"/>
                <a:gd name="connsiteY41" fmla="*/ 265182 h 410171"/>
                <a:gd name="connsiteX42" fmla="*/ 241710 w 322941"/>
                <a:gd name="connsiteY42" fmla="*/ 265628 h 410171"/>
                <a:gd name="connsiteX43" fmla="*/ 217043 w 322941"/>
                <a:gd name="connsiteY43" fmla="*/ 313772 h 410171"/>
                <a:gd name="connsiteX44" fmla="*/ 217098 w 322941"/>
                <a:gd name="connsiteY44" fmla="*/ 324815 h 410171"/>
                <a:gd name="connsiteX45" fmla="*/ 197299 w 322941"/>
                <a:gd name="connsiteY45" fmla="*/ 350093 h 410171"/>
                <a:gd name="connsiteX46" fmla="*/ 195790 w 322941"/>
                <a:gd name="connsiteY46" fmla="*/ 367335 h 410171"/>
                <a:gd name="connsiteX47" fmla="*/ 197505 w 322941"/>
                <a:gd name="connsiteY47" fmla="*/ 378118 h 410171"/>
                <a:gd name="connsiteX48" fmla="*/ 178290 w 322941"/>
                <a:gd name="connsiteY48" fmla="*/ 380327 h 410171"/>
                <a:gd name="connsiteX49" fmla="*/ 179175 w 322941"/>
                <a:gd name="connsiteY49" fmla="*/ 391240 h 410171"/>
                <a:gd name="connsiteX50" fmla="*/ 162204 w 322941"/>
                <a:gd name="connsiteY50" fmla="*/ 407536 h 410171"/>
                <a:gd name="connsiteX51" fmla="*/ 144158 w 322941"/>
                <a:gd name="connsiteY51" fmla="*/ 401058 h 410171"/>
                <a:gd name="connsiteX52" fmla="*/ 124266 w 322941"/>
                <a:gd name="connsiteY52" fmla="*/ 382962 h 410171"/>
                <a:gd name="connsiteX53" fmla="*/ 93529 w 322941"/>
                <a:gd name="connsiteY53" fmla="*/ 392948 h 410171"/>
                <a:gd name="connsiteX54" fmla="*/ 89494 w 322941"/>
                <a:gd name="connsiteY54" fmla="*/ 378285 h 410171"/>
                <a:gd name="connsiteX55" fmla="*/ 73712 w 322941"/>
                <a:gd name="connsiteY55" fmla="*/ 364644 h 410171"/>
                <a:gd name="connsiteX56" fmla="*/ 81745 w 322941"/>
                <a:gd name="connsiteY56" fmla="*/ 361656 h 410171"/>
                <a:gd name="connsiteX57" fmla="*/ 78879 w 322941"/>
                <a:gd name="connsiteY57" fmla="*/ 338308 h 410171"/>
                <a:gd name="connsiteX58" fmla="*/ 65680 w 322941"/>
                <a:gd name="connsiteY58" fmla="*/ 330197 h 410171"/>
                <a:gd name="connsiteX59" fmla="*/ 81444 w 322941"/>
                <a:gd name="connsiteY59" fmla="*/ 327692 h 410171"/>
                <a:gd name="connsiteX60" fmla="*/ 83350 w 322941"/>
                <a:gd name="connsiteY60" fmla="*/ 312936 h 410171"/>
                <a:gd name="connsiteX61" fmla="*/ 75733 w 322941"/>
                <a:gd name="connsiteY61" fmla="*/ 297142 h 410171"/>
                <a:gd name="connsiteX62" fmla="*/ 51596 w 322941"/>
                <a:gd name="connsiteY62" fmla="*/ 311173 h 410171"/>
                <a:gd name="connsiteX63" fmla="*/ 41320 w 322941"/>
                <a:gd name="connsiteY63" fmla="*/ 300056 h 410171"/>
                <a:gd name="connsiteX64" fmla="*/ 50108 w 322941"/>
                <a:gd name="connsiteY64" fmla="*/ 269748 h 410171"/>
                <a:gd name="connsiteX65" fmla="*/ 38399 w 322941"/>
                <a:gd name="connsiteY65" fmla="*/ 265665 h 410171"/>
                <a:gd name="connsiteX66" fmla="*/ 38400 w 322941"/>
                <a:gd name="connsiteY66" fmla="*/ 228248 h 410171"/>
                <a:gd name="connsiteX67" fmla="*/ 11249 w 322941"/>
                <a:gd name="connsiteY67" fmla="*/ 201949 h 410171"/>
                <a:gd name="connsiteX68" fmla="*/ 2784 w 322941"/>
                <a:gd name="connsiteY68" fmla="*/ 170119 h 410171"/>
                <a:gd name="connsiteX69" fmla="*/ 4898 w 322941"/>
                <a:gd name="connsiteY69" fmla="*/ 145973 h 410171"/>
                <a:gd name="connsiteX70" fmla="*/ 9764 w 322941"/>
                <a:gd name="connsiteY70" fmla="*/ 123088 h 410171"/>
                <a:gd name="connsiteX71" fmla="*/ 33939 w 322941"/>
                <a:gd name="connsiteY71" fmla="*/ 103935 h 410171"/>
                <a:gd name="connsiteX72" fmla="*/ 28699 w 322941"/>
                <a:gd name="connsiteY72" fmla="*/ 65646 h 410171"/>
                <a:gd name="connsiteX73" fmla="*/ 49932 w 322941"/>
                <a:gd name="connsiteY73" fmla="*/ 70787 h 410171"/>
                <a:gd name="connsiteX74" fmla="*/ 68749 w 322941"/>
                <a:gd name="connsiteY74" fmla="*/ 66091 h 410171"/>
                <a:gd name="connsiteX75" fmla="*/ 93018 w 322941"/>
                <a:gd name="connsiteY75" fmla="*/ 52877 h 410171"/>
                <a:gd name="connsiteX76" fmla="*/ 88024 w 322941"/>
                <a:gd name="connsiteY76" fmla="*/ 37509 h 410171"/>
                <a:gd name="connsiteX77" fmla="*/ 75956 w 322941"/>
                <a:gd name="connsiteY77" fmla="*/ 25817 h 41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22941" h="410171">
                  <a:moveTo>
                    <a:pt x="75956" y="25817"/>
                  </a:moveTo>
                  <a:lnTo>
                    <a:pt x="97792" y="24053"/>
                  </a:lnTo>
                  <a:lnTo>
                    <a:pt x="120270" y="10264"/>
                  </a:lnTo>
                  <a:lnTo>
                    <a:pt x="135242" y="2784"/>
                  </a:lnTo>
                  <a:lnTo>
                    <a:pt x="144745" y="25074"/>
                  </a:lnTo>
                  <a:lnTo>
                    <a:pt x="164845" y="33779"/>
                  </a:lnTo>
                  <a:lnTo>
                    <a:pt x="187907" y="34373"/>
                  </a:lnTo>
                  <a:lnTo>
                    <a:pt x="189451" y="49425"/>
                  </a:lnTo>
                  <a:lnTo>
                    <a:pt x="206309" y="48460"/>
                  </a:lnTo>
                  <a:lnTo>
                    <a:pt x="216736" y="76559"/>
                  </a:lnTo>
                  <a:lnTo>
                    <a:pt x="230671" y="78601"/>
                  </a:lnTo>
                  <a:lnTo>
                    <a:pt x="246605" y="71808"/>
                  </a:lnTo>
                  <a:lnTo>
                    <a:pt x="241946" y="85301"/>
                  </a:lnTo>
                  <a:lnTo>
                    <a:pt x="294914" y="113437"/>
                  </a:lnTo>
                  <a:lnTo>
                    <a:pt x="309847" y="111062"/>
                  </a:lnTo>
                  <a:lnTo>
                    <a:pt x="320426" y="118745"/>
                  </a:lnTo>
                  <a:lnTo>
                    <a:pt x="305076" y="139885"/>
                  </a:lnTo>
                  <a:lnTo>
                    <a:pt x="314539" y="167298"/>
                  </a:lnTo>
                  <a:lnTo>
                    <a:pt x="297023" y="164143"/>
                  </a:lnTo>
                  <a:lnTo>
                    <a:pt x="292269" y="171697"/>
                  </a:lnTo>
                  <a:lnTo>
                    <a:pt x="272264" y="168931"/>
                  </a:lnTo>
                  <a:lnTo>
                    <a:pt x="268398" y="187398"/>
                  </a:lnTo>
                  <a:lnTo>
                    <a:pt x="257611" y="189106"/>
                  </a:lnTo>
                  <a:lnTo>
                    <a:pt x="249069" y="167521"/>
                  </a:lnTo>
                  <a:lnTo>
                    <a:pt x="228685" y="178415"/>
                  </a:lnTo>
                  <a:lnTo>
                    <a:pt x="241283" y="155995"/>
                  </a:lnTo>
                  <a:lnTo>
                    <a:pt x="221220" y="142186"/>
                  </a:lnTo>
                  <a:lnTo>
                    <a:pt x="197252" y="151949"/>
                  </a:lnTo>
                  <a:lnTo>
                    <a:pt x="190068" y="170954"/>
                  </a:lnTo>
                  <a:lnTo>
                    <a:pt x="204021" y="189143"/>
                  </a:lnTo>
                  <a:lnTo>
                    <a:pt x="214182" y="215590"/>
                  </a:lnTo>
                  <a:lnTo>
                    <a:pt x="234925" y="212287"/>
                  </a:lnTo>
                  <a:lnTo>
                    <a:pt x="244108" y="221882"/>
                  </a:lnTo>
                  <a:lnTo>
                    <a:pt x="268301" y="218876"/>
                  </a:lnTo>
                  <a:lnTo>
                    <a:pt x="275033" y="223757"/>
                  </a:lnTo>
                  <a:lnTo>
                    <a:pt x="300829" y="209447"/>
                  </a:lnTo>
                  <a:lnTo>
                    <a:pt x="313160" y="222792"/>
                  </a:lnTo>
                  <a:lnTo>
                    <a:pt x="291907" y="238939"/>
                  </a:lnTo>
                  <a:lnTo>
                    <a:pt x="290926" y="259503"/>
                  </a:lnTo>
                  <a:lnTo>
                    <a:pt x="282459" y="265108"/>
                  </a:lnTo>
                  <a:lnTo>
                    <a:pt x="268168" y="255475"/>
                  </a:lnTo>
                  <a:lnTo>
                    <a:pt x="255250" y="265182"/>
                  </a:lnTo>
                  <a:lnTo>
                    <a:pt x="241710" y="265628"/>
                  </a:lnTo>
                  <a:lnTo>
                    <a:pt x="217043" y="313772"/>
                  </a:lnTo>
                  <a:lnTo>
                    <a:pt x="217098" y="324815"/>
                  </a:lnTo>
                  <a:lnTo>
                    <a:pt x="197299" y="350093"/>
                  </a:lnTo>
                  <a:lnTo>
                    <a:pt x="195790" y="367335"/>
                  </a:lnTo>
                  <a:lnTo>
                    <a:pt x="197505" y="378118"/>
                  </a:lnTo>
                  <a:lnTo>
                    <a:pt x="178290" y="380327"/>
                  </a:lnTo>
                  <a:lnTo>
                    <a:pt x="179175" y="391240"/>
                  </a:lnTo>
                  <a:lnTo>
                    <a:pt x="162204" y="407536"/>
                  </a:lnTo>
                  <a:lnTo>
                    <a:pt x="144158" y="401058"/>
                  </a:lnTo>
                  <a:lnTo>
                    <a:pt x="124266" y="382962"/>
                  </a:lnTo>
                  <a:lnTo>
                    <a:pt x="93529" y="392948"/>
                  </a:lnTo>
                  <a:lnTo>
                    <a:pt x="89494" y="378285"/>
                  </a:lnTo>
                  <a:lnTo>
                    <a:pt x="73712" y="364644"/>
                  </a:lnTo>
                  <a:lnTo>
                    <a:pt x="81745" y="361656"/>
                  </a:lnTo>
                  <a:lnTo>
                    <a:pt x="78879" y="338308"/>
                  </a:lnTo>
                  <a:lnTo>
                    <a:pt x="65680" y="330197"/>
                  </a:lnTo>
                  <a:lnTo>
                    <a:pt x="81444" y="327692"/>
                  </a:lnTo>
                  <a:lnTo>
                    <a:pt x="83350" y="312936"/>
                  </a:lnTo>
                  <a:lnTo>
                    <a:pt x="75733" y="297142"/>
                  </a:lnTo>
                  <a:lnTo>
                    <a:pt x="51596" y="311173"/>
                  </a:lnTo>
                  <a:lnTo>
                    <a:pt x="41320" y="300056"/>
                  </a:lnTo>
                  <a:lnTo>
                    <a:pt x="50108" y="269748"/>
                  </a:lnTo>
                  <a:lnTo>
                    <a:pt x="38399" y="265665"/>
                  </a:lnTo>
                  <a:lnTo>
                    <a:pt x="38400" y="228248"/>
                  </a:lnTo>
                  <a:lnTo>
                    <a:pt x="11249" y="201949"/>
                  </a:lnTo>
                  <a:lnTo>
                    <a:pt x="2784" y="170119"/>
                  </a:lnTo>
                  <a:lnTo>
                    <a:pt x="4898" y="145973"/>
                  </a:lnTo>
                  <a:lnTo>
                    <a:pt x="9764" y="123088"/>
                  </a:lnTo>
                  <a:lnTo>
                    <a:pt x="33939" y="103935"/>
                  </a:lnTo>
                  <a:lnTo>
                    <a:pt x="28699" y="65646"/>
                  </a:lnTo>
                  <a:lnTo>
                    <a:pt x="49932" y="70787"/>
                  </a:lnTo>
                  <a:lnTo>
                    <a:pt x="68749" y="66091"/>
                  </a:lnTo>
                  <a:lnTo>
                    <a:pt x="93018" y="52877"/>
                  </a:lnTo>
                  <a:lnTo>
                    <a:pt x="88024" y="37509"/>
                  </a:lnTo>
                  <a:lnTo>
                    <a:pt x="75956" y="2581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402524A-8187-45ED-8FC2-F7B44F116D26}"/>
                </a:ext>
              </a:extLst>
            </p:cNvPr>
            <p:cNvSpPr/>
            <p:nvPr/>
          </p:nvSpPr>
          <p:spPr>
            <a:xfrm>
              <a:off x="2302522" y="5593088"/>
              <a:ext cx="187454" cy="209726"/>
            </a:xfrm>
            <a:custGeom>
              <a:avLst/>
              <a:gdLst>
                <a:gd name="connsiteX0" fmla="*/ 135815 w 187454"/>
                <a:gd name="connsiteY0" fmla="*/ 192910 h 209725"/>
                <a:gd name="connsiteX1" fmla="*/ 113338 w 187454"/>
                <a:gd name="connsiteY1" fmla="*/ 206700 h 209725"/>
                <a:gd name="connsiteX2" fmla="*/ 91502 w 187454"/>
                <a:gd name="connsiteY2" fmla="*/ 208464 h 209725"/>
                <a:gd name="connsiteX3" fmla="*/ 75511 w 187454"/>
                <a:gd name="connsiteY3" fmla="*/ 204213 h 209725"/>
                <a:gd name="connsiteX4" fmla="*/ 97725 w 187454"/>
                <a:gd name="connsiteY4" fmla="*/ 188772 h 209725"/>
                <a:gd name="connsiteX5" fmla="*/ 88278 w 187454"/>
                <a:gd name="connsiteY5" fmla="*/ 177506 h 209725"/>
                <a:gd name="connsiteX6" fmla="*/ 85977 w 187454"/>
                <a:gd name="connsiteY6" fmla="*/ 189792 h 209725"/>
                <a:gd name="connsiteX7" fmla="*/ 75173 w 187454"/>
                <a:gd name="connsiteY7" fmla="*/ 175353 h 209725"/>
                <a:gd name="connsiteX8" fmla="*/ 90787 w 187454"/>
                <a:gd name="connsiteY8" fmla="*/ 155847 h 209725"/>
                <a:gd name="connsiteX9" fmla="*/ 60221 w 187454"/>
                <a:gd name="connsiteY9" fmla="*/ 161563 h 209725"/>
                <a:gd name="connsiteX10" fmla="*/ 67612 w 187454"/>
                <a:gd name="connsiteY10" fmla="*/ 170602 h 209725"/>
                <a:gd name="connsiteX11" fmla="*/ 55526 w 187454"/>
                <a:gd name="connsiteY11" fmla="*/ 180179 h 209725"/>
                <a:gd name="connsiteX12" fmla="*/ 40440 w 187454"/>
                <a:gd name="connsiteY12" fmla="*/ 165553 h 209725"/>
                <a:gd name="connsiteX13" fmla="*/ 36084 w 187454"/>
                <a:gd name="connsiteY13" fmla="*/ 175613 h 209725"/>
                <a:gd name="connsiteX14" fmla="*/ 2784 w 187454"/>
                <a:gd name="connsiteY14" fmla="*/ 158798 h 209725"/>
                <a:gd name="connsiteX15" fmla="*/ 19020 w 187454"/>
                <a:gd name="connsiteY15" fmla="*/ 148553 h 209725"/>
                <a:gd name="connsiteX16" fmla="*/ 10761 w 187454"/>
                <a:gd name="connsiteY16" fmla="*/ 144766 h 209725"/>
                <a:gd name="connsiteX17" fmla="*/ 20588 w 187454"/>
                <a:gd name="connsiteY17" fmla="*/ 104937 h 209725"/>
                <a:gd name="connsiteX18" fmla="*/ 28714 w 187454"/>
                <a:gd name="connsiteY18" fmla="*/ 107907 h 209725"/>
                <a:gd name="connsiteX19" fmla="*/ 42461 w 187454"/>
                <a:gd name="connsiteY19" fmla="*/ 98051 h 209725"/>
                <a:gd name="connsiteX20" fmla="*/ 37125 w 187454"/>
                <a:gd name="connsiteY20" fmla="*/ 91259 h 209725"/>
                <a:gd name="connsiteX21" fmla="*/ 40370 w 187454"/>
                <a:gd name="connsiteY21" fmla="*/ 63530 h 209725"/>
                <a:gd name="connsiteX22" fmla="*/ 49837 w 187454"/>
                <a:gd name="connsiteY22" fmla="*/ 53508 h 209725"/>
                <a:gd name="connsiteX23" fmla="*/ 64828 w 187454"/>
                <a:gd name="connsiteY23" fmla="*/ 62175 h 209725"/>
                <a:gd name="connsiteX24" fmla="*/ 83250 w 187454"/>
                <a:gd name="connsiteY24" fmla="*/ 54993 h 209725"/>
                <a:gd name="connsiteX25" fmla="*/ 95849 w 187454"/>
                <a:gd name="connsiteY25" fmla="*/ 32591 h 209725"/>
                <a:gd name="connsiteX26" fmla="*/ 95000 w 187454"/>
                <a:gd name="connsiteY26" fmla="*/ 16555 h 209725"/>
                <a:gd name="connsiteX27" fmla="*/ 117478 w 187454"/>
                <a:gd name="connsiteY27" fmla="*/ 2784 h 209725"/>
                <a:gd name="connsiteX28" fmla="*/ 149080 w 187454"/>
                <a:gd name="connsiteY28" fmla="*/ 24963 h 209725"/>
                <a:gd name="connsiteX29" fmla="*/ 163054 w 187454"/>
                <a:gd name="connsiteY29" fmla="*/ 21901 h 209725"/>
                <a:gd name="connsiteX30" fmla="*/ 166127 w 187454"/>
                <a:gd name="connsiteY30" fmla="*/ 35858 h 209725"/>
                <a:gd name="connsiteX31" fmla="*/ 184869 w 187454"/>
                <a:gd name="connsiteY31" fmla="*/ 41388 h 209725"/>
                <a:gd name="connsiteX32" fmla="*/ 178683 w 187454"/>
                <a:gd name="connsiteY32" fmla="*/ 55976 h 209725"/>
                <a:gd name="connsiteX33" fmla="*/ 181285 w 187454"/>
                <a:gd name="connsiteY33" fmla="*/ 77673 h 209725"/>
                <a:gd name="connsiteX34" fmla="*/ 174364 w 187454"/>
                <a:gd name="connsiteY34" fmla="*/ 98330 h 209725"/>
                <a:gd name="connsiteX35" fmla="*/ 163106 w 187454"/>
                <a:gd name="connsiteY35" fmla="*/ 107777 h 209725"/>
                <a:gd name="connsiteX36" fmla="*/ 169101 w 187454"/>
                <a:gd name="connsiteY36" fmla="*/ 118727 h 209725"/>
                <a:gd name="connsiteX37" fmla="*/ 158427 w 187454"/>
                <a:gd name="connsiteY37" fmla="*/ 142539 h 209725"/>
                <a:gd name="connsiteX38" fmla="*/ 146378 w 187454"/>
                <a:gd name="connsiteY38" fmla="*/ 147012 h 209725"/>
                <a:gd name="connsiteX39" fmla="*/ 139928 w 187454"/>
                <a:gd name="connsiteY39" fmla="*/ 159948 h 209725"/>
                <a:gd name="connsiteX40" fmla="*/ 131972 w 187454"/>
                <a:gd name="connsiteY40" fmla="*/ 152710 h 209725"/>
                <a:gd name="connsiteX41" fmla="*/ 125388 w 187454"/>
                <a:gd name="connsiteY41" fmla="*/ 164811 h 209725"/>
                <a:gd name="connsiteX42" fmla="*/ 135873 w 187454"/>
                <a:gd name="connsiteY42" fmla="*/ 166537 h 209725"/>
                <a:gd name="connsiteX43" fmla="*/ 135815 w 187454"/>
                <a:gd name="connsiteY43" fmla="*/ 192910 h 20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87454" h="209725">
                  <a:moveTo>
                    <a:pt x="135815" y="192910"/>
                  </a:moveTo>
                  <a:lnTo>
                    <a:pt x="113338" y="206700"/>
                  </a:lnTo>
                  <a:lnTo>
                    <a:pt x="91502" y="208464"/>
                  </a:lnTo>
                  <a:lnTo>
                    <a:pt x="75511" y="204213"/>
                  </a:lnTo>
                  <a:lnTo>
                    <a:pt x="97725" y="188772"/>
                  </a:lnTo>
                  <a:lnTo>
                    <a:pt x="88278" y="177506"/>
                  </a:lnTo>
                  <a:lnTo>
                    <a:pt x="85977" y="189792"/>
                  </a:lnTo>
                  <a:lnTo>
                    <a:pt x="75173" y="175353"/>
                  </a:lnTo>
                  <a:lnTo>
                    <a:pt x="90787" y="155847"/>
                  </a:lnTo>
                  <a:lnTo>
                    <a:pt x="60221" y="161563"/>
                  </a:lnTo>
                  <a:lnTo>
                    <a:pt x="67612" y="170602"/>
                  </a:lnTo>
                  <a:lnTo>
                    <a:pt x="55526" y="180179"/>
                  </a:lnTo>
                  <a:lnTo>
                    <a:pt x="40440" y="165553"/>
                  </a:lnTo>
                  <a:lnTo>
                    <a:pt x="36084" y="175613"/>
                  </a:lnTo>
                  <a:lnTo>
                    <a:pt x="2784" y="158798"/>
                  </a:lnTo>
                  <a:lnTo>
                    <a:pt x="19020" y="148553"/>
                  </a:lnTo>
                  <a:lnTo>
                    <a:pt x="10761" y="144766"/>
                  </a:lnTo>
                  <a:lnTo>
                    <a:pt x="20588" y="104937"/>
                  </a:lnTo>
                  <a:lnTo>
                    <a:pt x="28714" y="107907"/>
                  </a:lnTo>
                  <a:lnTo>
                    <a:pt x="42461" y="98051"/>
                  </a:lnTo>
                  <a:lnTo>
                    <a:pt x="37125" y="91259"/>
                  </a:lnTo>
                  <a:lnTo>
                    <a:pt x="40370" y="63530"/>
                  </a:lnTo>
                  <a:lnTo>
                    <a:pt x="49837" y="53508"/>
                  </a:lnTo>
                  <a:lnTo>
                    <a:pt x="64828" y="62175"/>
                  </a:lnTo>
                  <a:lnTo>
                    <a:pt x="83250" y="54993"/>
                  </a:lnTo>
                  <a:lnTo>
                    <a:pt x="95849" y="32591"/>
                  </a:lnTo>
                  <a:lnTo>
                    <a:pt x="95000" y="16555"/>
                  </a:lnTo>
                  <a:lnTo>
                    <a:pt x="117478" y="2784"/>
                  </a:lnTo>
                  <a:lnTo>
                    <a:pt x="149080" y="24963"/>
                  </a:lnTo>
                  <a:lnTo>
                    <a:pt x="163054" y="21901"/>
                  </a:lnTo>
                  <a:lnTo>
                    <a:pt x="166127" y="35858"/>
                  </a:lnTo>
                  <a:lnTo>
                    <a:pt x="184869" y="41388"/>
                  </a:lnTo>
                  <a:lnTo>
                    <a:pt x="178683" y="55976"/>
                  </a:lnTo>
                  <a:lnTo>
                    <a:pt x="181285" y="77673"/>
                  </a:lnTo>
                  <a:lnTo>
                    <a:pt x="174364" y="98330"/>
                  </a:lnTo>
                  <a:lnTo>
                    <a:pt x="163106" y="107777"/>
                  </a:lnTo>
                  <a:lnTo>
                    <a:pt x="169101" y="118727"/>
                  </a:lnTo>
                  <a:lnTo>
                    <a:pt x="158427" y="142539"/>
                  </a:lnTo>
                  <a:lnTo>
                    <a:pt x="146378" y="147012"/>
                  </a:lnTo>
                  <a:lnTo>
                    <a:pt x="139928" y="159948"/>
                  </a:lnTo>
                  <a:lnTo>
                    <a:pt x="131972" y="152710"/>
                  </a:lnTo>
                  <a:lnTo>
                    <a:pt x="125388" y="164811"/>
                  </a:lnTo>
                  <a:lnTo>
                    <a:pt x="135873" y="166537"/>
                  </a:lnTo>
                  <a:lnTo>
                    <a:pt x="135815" y="19291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4A38A87-40FE-4510-9ED7-9B8DE3EE4116}"/>
                </a:ext>
              </a:extLst>
            </p:cNvPr>
            <p:cNvSpPr/>
            <p:nvPr/>
          </p:nvSpPr>
          <p:spPr>
            <a:xfrm>
              <a:off x="1856938" y="5581619"/>
              <a:ext cx="209726" cy="157758"/>
            </a:xfrm>
            <a:custGeom>
              <a:avLst/>
              <a:gdLst>
                <a:gd name="connsiteX0" fmla="*/ 205073 w 209726"/>
                <a:gd name="connsiteY0" fmla="*/ 121233 h 157758"/>
                <a:gd name="connsiteX1" fmla="*/ 194305 w 209726"/>
                <a:gd name="connsiteY1" fmla="*/ 139106 h 157758"/>
                <a:gd name="connsiteX2" fmla="*/ 197076 w 209726"/>
                <a:gd name="connsiteY2" fmla="*/ 156515 h 157758"/>
                <a:gd name="connsiteX3" fmla="*/ 163041 w 209726"/>
                <a:gd name="connsiteY3" fmla="*/ 145787 h 157758"/>
                <a:gd name="connsiteX4" fmla="*/ 146012 w 209726"/>
                <a:gd name="connsiteY4" fmla="*/ 151040 h 157758"/>
                <a:gd name="connsiteX5" fmla="*/ 122989 w 209726"/>
                <a:gd name="connsiteY5" fmla="*/ 145342 h 157758"/>
                <a:gd name="connsiteX6" fmla="*/ 120444 w 209726"/>
                <a:gd name="connsiteY6" fmla="*/ 134688 h 157758"/>
                <a:gd name="connsiteX7" fmla="*/ 94969 w 209726"/>
                <a:gd name="connsiteY7" fmla="*/ 124295 h 157758"/>
                <a:gd name="connsiteX8" fmla="*/ 91140 w 209726"/>
                <a:gd name="connsiteY8" fmla="*/ 137658 h 157758"/>
                <a:gd name="connsiteX9" fmla="*/ 81353 w 209726"/>
                <a:gd name="connsiteY9" fmla="*/ 134967 h 157758"/>
                <a:gd name="connsiteX10" fmla="*/ 61669 w 209726"/>
                <a:gd name="connsiteY10" fmla="*/ 107480 h 157758"/>
                <a:gd name="connsiteX11" fmla="*/ 63838 w 209726"/>
                <a:gd name="connsiteY11" fmla="*/ 94376 h 157758"/>
                <a:gd name="connsiteX12" fmla="*/ 43814 w 209726"/>
                <a:gd name="connsiteY12" fmla="*/ 75446 h 157758"/>
                <a:gd name="connsiteX13" fmla="*/ 34215 w 209726"/>
                <a:gd name="connsiteY13" fmla="*/ 84633 h 157758"/>
                <a:gd name="connsiteX14" fmla="*/ 19659 w 209726"/>
                <a:gd name="connsiteY14" fmla="*/ 73348 h 157758"/>
                <a:gd name="connsiteX15" fmla="*/ 5592 w 209726"/>
                <a:gd name="connsiteY15" fmla="*/ 70471 h 157758"/>
                <a:gd name="connsiteX16" fmla="*/ 2784 w 209726"/>
                <a:gd name="connsiteY16" fmla="*/ 58166 h 157758"/>
                <a:gd name="connsiteX17" fmla="*/ 14399 w 209726"/>
                <a:gd name="connsiteY17" fmla="*/ 56310 h 157758"/>
                <a:gd name="connsiteX18" fmla="*/ 12420 w 209726"/>
                <a:gd name="connsiteY18" fmla="*/ 43875 h 157758"/>
                <a:gd name="connsiteX19" fmla="*/ 29107 w 209726"/>
                <a:gd name="connsiteY19" fmla="*/ 47179 h 157758"/>
                <a:gd name="connsiteX20" fmla="*/ 20227 w 209726"/>
                <a:gd name="connsiteY20" fmla="*/ 34131 h 157758"/>
                <a:gd name="connsiteX21" fmla="*/ 39404 w 209726"/>
                <a:gd name="connsiteY21" fmla="*/ 37027 h 157758"/>
                <a:gd name="connsiteX22" fmla="*/ 52188 w 209726"/>
                <a:gd name="connsiteY22" fmla="*/ 26503 h 157758"/>
                <a:gd name="connsiteX23" fmla="*/ 48588 w 209726"/>
                <a:gd name="connsiteY23" fmla="*/ 9206 h 157758"/>
                <a:gd name="connsiteX24" fmla="*/ 56923 w 209726"/>
                <a:gd name="connsiteY24" fmla="*/ 2784 h 157758"/>
                <a:gd name="connsiteX25" fmla="*/ 59336 w 209726"/>
                <a:gd name="connsiteY25" fmla="*/ 12602 h 157758"/>
                <a:gd name="connsiteX26" fmla="*/ 76778 w 209726"/>
                <a:gd name="connsiteY26" fmla="*/ 25984 h 157758"/>
                <a:gd name="connsiteX27" fmla="*/ 94466 w 209726"/>
                <a:gd name="connsiteY27" fmla="*/ 24870 h 157758"/>
                <a:gd name="connsiteX28" fmla="*/ 109607 w 209726"/>
                <a:gd name="connsiteY28" fmla="*/ 50520 h 157758"/>
                <a:gd name="connsiteX29" fmla="*/ 108399 w 209726"/>
                <a:gd name="connsiteY29" fmla="*/ 64328 h 157758"/>
                <a:gd name="connsiteX30" fmla="*/ 119956 w 209726"/>
                <a:gd name="connsiteY30" fmla="*/ 88846 h 157758"/>
                <a:gd name="connsiteX31" fmla="*/ 143206 w 209726"/>
                <a:gd name="connsiteY31" fmla="*/ 101318 h 157758"/>
                <a:gd name="connsiteX32" fmla="*/ 147601 w 209726"/>
                <a:gd name="connsiteY32" fmla="*/ 86155 h 157758"/>
                <a:gd name="connsiteX33" fmla="*/ 169832 w 209726"/>
                <a:gd name="connsiteY33" fmla="*/ 86878 h 157758"/>
                <a:gd name="connsiteX34" fmla="*/ 176942 w 209726"/>
                <a:gd name="connsiteY34" fmla="*/ 78081 h 157758"/>
                <a:gd name="connsiteX35" fmla="*/ 193668 w 209726"/>
                <a:gd name="connsiteY35" fmla="*/ 76281 h 157758"/>
                <a:gd name="connsiteX36" fmla="*/ 190272 w 209726"/>
                <a:gd name="connsiteY36" fmla="*/ 87027 h 157758"/>
                <a:gd name="connsiteX37" fmla="*/ 200851 w 209726"/>
                <a:gd name="connsiteY37" fmla="*/ 94692 h 157758"/>
                <a:gd name="connsiteX38" fmla="*/ 207883 w 209726"/>
                <a:gd name="connsiteY38" fmla="*/ 96121 h 157758"/>
                <a:gd name="connsiteX39" fmla="*/ 205073 w 209726"/>
                <a:gd name="connsiteY39" fmla="*/ 121233 h 157758"/>
                <a:gd name="connsiteX40" fmla="*/ 53001 w 209726"/>
                <a:gd name="connsiteY40" fmla="*/ 10208 h 157758"/>
                <a:gd name="connsiteX41" fmla="*/ 54132 w 209726"/>
                <a:gd name="connsiteY41" fmla="*/ 6626 h 157758"/>
                <a:gd name="connsiteX42" fmla="*/ 53170 w 209726"/>
                <a:gd name="connsiteY42" fmla="*/ 5921 h 157758"/>
                <a:gd name="connsiteX43" fmla="*/ 51908 w 209726"/>
                <a:gd name="connsiteY43" fmla="*/ 8686 h 157758"/>
                <a:gd name="connsiteX44" fmla="*/ 53001 w 209726"/>
                <a:gd name="connsiteY44" fmla="*/ 10208 h 15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9726" h="157758">
                  <a:moveTo>
                    <a:pt x="205073" y="121233"/>
                  </a:moveTo>
                  <a:lnTo>
                    <a:pt x="194305" y="139106"/>
                  </a:lnTo>
                  <a:lnTo>
                    <a:pt x="197076" y="156515"/>
                  </a:lnTo>
                  <a:lnTo>
                    <a:pt x="163041" y="145787"/>
                  </a:lnTo>
                  <a:lnTo>
                    <a:pt x="146012" y="151040"/>
                  </a:lnTo>
                  <a:lnTo>
                    <a:pt x="122989" y="145342"/>
                  </a:lnTo>
                  <a:lnTo>
                    <a:pt x="120444" y="134688"/>
                  </a:lnTo>
                  <a:lnTo>
                    <a:pt x="94969" y="124295"/>
                  </a:lnTo>
                  <a:lnTo>
                    <a:pt x="91140" y="137658"/>
                  </a:lnTo>
                  <a:lnTo>
                    <a:pt x="81353" y="134967"/>
                  </a:lnTo>
                  <a:lnTo>
                    <a:pt x="61669" y="107480"/>
                  </a:lnTo>
                  <a:lnTo>
                    <a:pt x="63838" y="94376"/>
                  </a:lnTo>
                  <a:lnTo>
                    <a:pt x="43814" y="75446"/>
                  </a:lnTo>
                  <a:lnTo>
                    <a:pt x="34215" y="84633"/>
                  </a:lnTo>
                  <a:lnTo>
                    <a:pt x="19659" y="73348"/>
                  </a:lnTo>
                  <a:lnTo>
                    <a:pt x="5592" y="70471"/>
                  </a:lnTo>
                  <a:lnTo>
                    <a:pt x="2784" y="58166"/>
                  </a:lnTo>
                  <a:lnTo>
                    <a:pt x="14399" y="56310"/>
                  </a:lnTo>
                  <a:lnTo>
                    <a:pt x="12420" y="43875"/>
                  </a:lnTo>
                  <a:lnTo>
                    <a:pt x="29107" y="47179"/>
                  </a:lnTo>
                  <a:lnTo>
                    <a:pt x="20227" y="34131"/>
                  </a:lnTo>
                  <a:lnTo>
                    <a:pt x="39404" y="37027"/>
                  </a:lnTo>
                  <a:lnTo>
                    <a:pt x="52188" y="26503"/>
                  </a:lnTo>
                  <a:lnTo>
                    <a:pt x="48588" y="9206"/>
                  </a:lnTo>
                  <a:lnTo>
                    <a:pt x="56923" y="2784"/>
                  </a:lnTo>
                  <a:lnTo>
                    <a:pt x="59336" y="12602"/>
                  </a:lnTo>
                  <a:lnTo>
                    <a:pt x="76778" y="25984"/>
                  </a:lnTo>
                  <a:lnTo>
                    <a:pt x="94466" y="24870"/>
                  </a:lnTo>
                  <a:lnTo>
                    <a:pt x="109607" y="50520"/>
                  </a:lnTo>
                  <a:lnTo>
                    <a:pt x="108399" y="64328"/>
                  </a:lnTo>
                  <a:lnTo>
                    <a:pt x="119956" y="88846"/>
                  </a:lnTo>
                  <a:lnTo>
                    <a:pt x="143206" y="101318"/>
                  </a:lnTo>
                  <a:lnTo>
                    <a:pt x="147601" y="86155"/>
                  </a:lnTo>
                  <a:lnTo>
                    <a:pt x="169832" y="86878"/>
                  </a:lnTo>
                  <a:lnTo>
                    <a:pt x="176942" y="78081"/>
                  </a:lnTo>
                  <a:lnTo>
                    <a:pt x="193668" y="76281"/>
                  </a:lnTo>
                  <a:lnTo>
                    <a:pt x="190272" y="87027"/>
                  </a:lnTo>
                  <a:lnTo>
                    <a:pt x="200851" y="94692"/>
                  </a:lnTo>
                  <a:lnTo>
                    <a:pt x="207883" y="96121"/>
                  </a:lnTo>
                  <a:lnTo>
                    <a:pt x="205073" y="121233"/>
                  </a:lnTo>
                  <a:close/>
                  <a:moveTo>
                    <a:pt x="53001" y="10208"/>
                  </a:moveTo>
                  <a:lnTo>
                    <a:pt x="54132" y="6626"/>
                  </a:lnTo>
                  <a:lnTo>
                    <a:pt x="53170" y="5921"/>
                  </a:lnTo>
                  <a:lnTo>
                    <a:pt x="51908" y="8686"/>
                  </a:lnTo>
                  <a:lnTo>
                    <a:pt x="53001" y="10208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B3B8E34-D2D5-4CE7-9BDA-BA0D37C14050}"/>
                </a:ext>
              </a:extLst>
            </p:cNvPr>
            <p:cNvSpPr/>
            <p:nvPr/>
          </p:nvSpPr>
          <p:spPr>
            <a:xfrm>
              <a:off x="2053661" y="5613282"/>
              <a:ext cx="129919" cy="122495"/>
            </a:xfrm>
            <a:custGeom>
              <a:avLst/>
              <a:gdLst>
                <a:gd name="connsiteX0" fmla="*/ 7006 w 129918"/>
                <a:gd name="connsiteY0" fmla="*/ 87380 h 122494"/>
                <a:gd name="connsiteX1" fmla="*/ 9816 w 129918"/>
                <a:gd name="connsiteY1" fmla="*/ 62268 h 122494"/>
                <a:gd name="connsiteX2" fmla="*/ 2784 w 129918"/>
                <a:gd name="connsiteY2" fmla="*/ 60839 h 122494"/>
                <a:gd name="connsiteX3" fmla="*/ 11552 w 129918"/>
                <a:gd name="connsiteY3" fmla="*/ 51782 h 122494"/>
                <a:gd name="connsiteX4" fmla="*/ 33992 w 129918"/>
                <a:gd name="connsiteY4" fmla="*/ 43114 h 122494"/>
                <a:gd name="connsiteX5" fmla="*/ 25620 w 129918"/>
                <a:gd name="connsiteY5" fmla="*/ 17224 h 122494"/>
                <a:gd name="connsiteX6" fmla="*/ 52248 w 129918"/>
                <a:gd name="connsiteY6" fmla="*/ 2784 h 122494"/>
                <a:gd name="connsiteX7" fmla="*/ 72085 w 129918"/>
                <a:gd name="connsiteY7" fmla="*/ 9837 h 122494"/>
                <a:gd name="connsiteX8" fmla="*/ 94184 w 129918"/>
                <a:gd name="connsiteY8" fmla="*/ 9725 h 122494"/>
                <a:gd name="connsiteX9" fmla="*/ 108647 w 129918"/>
                <a:gd name="connsiteY9" fmla="*/ 15071 h 122494"/>
                <a:gd name="connsiteX10" fmla="*/ 105119 w 129918"/>
                <a:gd name="connsiteY10" fmla="*/ 25000 h 122494"/>
                <a:gd name="connsiteX11" fmla="*/ 119770 w 129918"/>
                <a:gd name="connsiteY11" fmla="*/ 42224 h 122494"/>
                <a:gd name="connsiteX12" fmla="*/ 116903 w 129918"/>
                <a:gd name="connsiteY12" fmla="*/ 56292 h 122494"/>
                <a:gd name="connsiteX13" fmla="*/ 127972 w 129918"/>
                <a:gd name="connsiteY13" fmla="*/ 72383 h 122494"/>
                <a:gd name="connsiteX14" fmla="*/ 104609 w 129918"/>
                <a:gd name="connsiteY14" fmla="*/ 75260 h 122494"/>
                <a:gd name="connsiteX15" fmla="*/ 86938 w 129918"/>
                <a:gd name="connsiteY15" fmla="*/ 92520 h 122494"/>
                <a:gd name="connsiteX16" fmla="*/ 85429 w 129918"/>
                <a:gd name="connsiteY16" fmla="*/ 109763 h 122494"/>
                <a:gd name="connsiteX17" fmla="*/ 62556 w 129918"/>
                <a:gd name="connsiteY17" fmla="*/ 121065 h 122494"/>
                <a:gd name="connsiteX18" fmla="*/ 50921 w 129918"/>
                <a:gd name="connsiteY18" fmla="*/ 106756 h 122494"/>
                <a:gd name="connsiteX19" fmla="*/ 34289 w 129918"/>
                <a:gd name="connsiteY19" fmla="*/ 114495 h 122494"/>
                <a:gd name="connsiteX20" fmla="*/ 17903 w 129918"/>
                <a:gd name="connsiteY20" fmla="*/ 107758 h 122494"/>
                <a:gd name="connsiteX21" fmla="*/ 7006 w 129918"/>
                <a:gd name="connsiteY21" fmla="*/ 87380 h 12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918" h="122494">
                  <a:moveTo>
                    <a:pt x="7006" y="87380"/>
                  </a:moveTo>
                  <a:lnTo>
                    <a:pt x="9816" y="62268"/>
                  </a:lnTo>
                  <a:lnTo>
                    <a:pt x="2784" y="60839"/>
                  </a:lnTo>
                  <a:lnTo>
                    <a:pt x="11552" y="51782"/>
                  </a:lnTo>
                  <a:lnTo>
                    <a:pt x="33992" y="43114"/>
                  </a:lnTo>
                  <a:lnTo>
                    <a:pt x="25620" y="17224"/>
                  </a:lnTo>
                  <a:lnTo>
                    <a:pt x="52248" y="2784"/>
                  </a:lnTo>
                  <a:lnTo>
                    <a:pt x="72085" y="9837"/>
                  </a:lnTo>
                  <a:lnTo>
                    <a:pt x="94184" y="9725"/>
                  </a:lnTo>
                  <a:lnTo>
                    <a:pt x="108647" y="15071"/>
                  </a:lnTo>
                  <a:lnTo>
                    <a:pt x="105119" y="25000"/>
                  </a:lnTo>
                  <a:lnTo>
                    <a:pt x="119770" y="42224"/>
                  </a:lnTo>
                  <a:lnTo>
                    <a:pt x="116903" y="56292"/>
                  </a:lnTo>
                  <a:lnTo>
                    <a:pt x="127972" y="72383"/>
                  </a:lnTo>
                  <a:lnTo>
                    <a:pt x="104609" y="75260"/>
                  </a:lnTo>
                  <a:lnTo>
                    <a:pt x="86938" y="92520"/>
                  </a:lnTo>
                  <a:lnTo>
                    <a:pt x="85429" y="109763"/>
                  </a:lnTo>
                  <a:lnTo>
                    <a:pt x="62556" y="121065"/>
                  </a:lnTo>
                  <a:lnTo>
                    <a:pt x="50921" y="106756"/>
                  </a:lnTo>
                  <a:lnTo>
                    <a:pt x="34289" y="114495"/>
                  </a:lnTo>
                  <a:lnTo>
                    <a:pt x="17903" y="107758"/>
                  </a:lnTo>
                  <a:lnTo>
                    <a:pt x="7006" y="8738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217C1FC-9A9F-4C83-B4E7-CEB229558CF3}"/>
                </a:ext>
              </a:extLst>
            </p:cNvPr>
            <p:cNvSpPr/>
            <p:nvPr/>
          </p:nvSpPr>
          <p:spPr>
            <a:xfrm>
              <a:off x="1757642" y="5743478"/>
              <a:ext cx="369341" cy="322940"/>
            </a:xfrm>
            <a:custGeom>
              <a:avLst/>
              <a:gdLst>
                <a:gd name="connsiteX0" fmla="*/ 2784 w 369340"/>
                <a:gd name="connsiteY0" fmla="*/ 64477 h 322940"/>
                <a:gd name="connsiteX1" fmla="*/ 8931 w 369340"/>
                <a:gd name="connsiteY1" fmla="*/ 54993 h 322940"/>
                <a:gd name="connsiteX2" fmla="*/ 4143 w 369340"/>
                <a:gd name="connsiteY2" fmla="*/ 30234 h 322940"/>
                <a:gd name="connsiteX3" fmla="*/ 41066 w 369340"/>
                <a:gd name="connsiteY3" fmla="*/ 5661 h 322940"/>
                <a:gd name="connsiteX4" fmla="*/ 64429 w 369340"/>
                <a:gd name="connsiteY4" fmla="*/ 2784 h 322940"/>
                <a:gd name="connsiteX5" fmla="*/ 92883 w 369340"/>
                <a:gd name="connsiteY5" fmla="*/ 21233 h 322940"/>
                <a:gd name="connsiteX6" fmla="*/ 112172 w 369340"/>
                <a:gd name="connsiteY6" fmla="*/ 46214 h 322940"/>
                <a:gd name="connsiteX7" fmla="*/ 130463 w 369340"/>
                <a:gd name="connsiteY7" fmla="*/ 38215 h 322940"/>
                <a:gd name="connsiteX8" fmla="*/ 140192 w 369340"/>
                <a:gd name="connsiteY8" fmla="*/ 67279 h 322940"/>
                <a:gd name="connsiteX9" fmla="*/ 149054 w 369340"/>
                <a:gd name="connsiteY9" fmla="*/ 64161 h 322940"/>
                <a:gd name="connsiteX10" fmla="*/ 167363 w 369340"/>
                <a:gd name="connsiteY10" fmla="*/ 72309 h 322940"/>
                <a:gd name="connsiteX11" fmla="*/ 182844 w 369340"/>
                <a:gd name="connsiteY11" fmla="*/ 89403 h 322940"/>
                <a:gd name="connsiteX12" fmla="*/ 207208 w 369340"/>
                <a:gd name="connsiteY12" fmla="*/ 82127 h 322940"/>
                <a:gd name="connsiteX13" fmla="*/ 227232 w 369340"/>
                <a:gd name="connsiteY13" fmla="*/ 101058 h 322940"/>
                <a:gd name="connsiteX14" fmla="*/ 235584 w 369340"/>
                <a:gd name="connsiteY14" fmla="*/ 110783 h 322940"/>
                <a:gd name="connsiteX15" fmla="*/ 262945 w 369340"/>
                <a:gd name="connsiteY15" fmla="*/ 127691 h 322940"/>
                <a:gd name="connsiteX16" fmla="*/ 270016 w 369340"/>
                <a:gd name="connsiteY16" fmla="*/ 124017 h 322940"/>
                <a:gd name="connsiteX17" fmla="*/ 301694 w 369340"/>
                <a:gd name="connsiteY17" fmla="*/ 135988 h 322940"/>
                <a:gd name="connsiteX18" fmla="*/ 293925 w 369340"/>
                <a:gd name="connsiteY18" fmla="*/ 140609 h 322940"/>
                <a:gd name="connsiteX19" fmla="*/ 307520 w 369340"/>
                <a:gd name="connsiteY19" fmla="*/ 151206 h 322940"/>
                <a:gd name="connsiteX20" fmla="*/ 306406 w 369340"/>
                <a:gd name="connsiteY20" fmla="*/ 170954 h 322940"/>
                <a:gd name="connsiteX21" fmla="*/ 323791 w 369340"/>
                <a:gd name="connsiteY21" fmla="*/ 173293 h 322940"/>
                <a:gd name="connsiteX22" fmla="*/ 336349 w 369340"/>
                <a:gd name="connsiteY22" fmla="*/ 193393 h 322940"/>
                <a:gd name="connsiteX23" fmla="*/ 338027 w 369340"/>
                <a:gd name="connsiteY23" fmla="*/ 209299 h 322940"/>
                <a:gd name="connsiteX24" fmla="*/ 354074 w 369340"/>
                <a:gd name="connsiteY24" fmla="*/ 224592 h 322940"/>
                <a:gd name="connsiteX25" fmla="*/ 367685 w 369340"/>
                <a:gd name="connsiteY25" fmla="*/ 251337 h 322940"/>
                <a:gd name="connsiteX26" fmla="*/ 364291 w 369340"/>
                <a:gd name="connsiteY26" fmla="*/ 262083 h 322940"/>
                <a:gd name="connsiteX27" fmla="*/ 359237 w 369340"/>
                <a:gd name="connsiteY27" fmla="*/ 273107 h 322940"/>
                <a:gd name="connsiteX28" fmla="*/ 351149 w 369340"/>
                <a:gd name="connsiteY28" fmla="*/ 265034 h 322940"/>
                <a:gd name="connsiteX29" fmla="*/ 328802 w 369340"/>
                <a:gd name="connsiteY29" fmla="*/ 279640 h 322940"/>
                <a:gd name="connsiteX30" fmla="*/ 294558 w 369340"/>
                <a:gd name="connsiteY30" fmla="*/ 278285 h 322940"/>
                <a:gd name="connsiteX31" fmla="*/ 278474 w 369340"/>
                <a:gd name="connsiteY31" fmla="*/ 268096 h 322940"/>
                <a:gd name="connsiteX32" fmla="*/ 268271 w 369340"/>
                <a:gd name="connsiteY32" fmla="*/ 284169 h 322940"/>
                <a:gd name="connsiteX33" fmla="*/ 224242 w 369340"/>
                <a:gd name="connsiteY33" fmla="*/ 280123 h 322940"/>
                <a:gd name="connsiteX34" fmla="*/ 216660 w 369340"/>
                <a:gd name="connsiteY34" fmla="*/ 296623 h 322940"/>
                <a:gd name="connsiteX35" fmla="*/ 212059 w 369340"/>
                <a:gd name="connsiteY35" fmla="*/ 321177 h 322940"/>
                <a:gd name="connsiteX36" fmla="*/ 182228 w 369340"/>
                <a:gd name="connsiteY36" fmla="*/ 320824 h 322940"/>
                <a:gd name="connsiteX37" fmla="*/ 176627 w 369340"/>
                <a:gd name="connsiteY37" fmla="*/ 312361 h 322940"/>
                <a:gd name="connsiteX38" fmla="*/ 178345 w 369340"/>
                <a:gd name="connsiteY38" fmla="*/ 285709 h 322940"/>
                <a:gd name="connsiteX39" fmla="*/ 172332 w 369340"/>
                <a:gd name="connsiteY39" fmla="*/ 258612 h 322940"/>
                <a:gd name="connsiteX40" fmla="*/ 161018 w 369340"/>
                <a:gd name="connsiteY40" fmla="*/ 257016 h 322940"/>
                <a:gd name="connsiteX41" fmla="*/ 156153 w 369340"/>
                <a:gd name="connsiteY41" fmla="*/ 242484 h 322940"/>
                <a:gd name="connsiteX42" fmla="*/ 142426 w 369340"/>
                <a:gd name="connsiteY42" fmla="*/ 231051 h 322940"/>
                <a:gd name="connsiteX43" fmla="*/ 135940 w 369340"/>
                <a:gd name="connsiteY43" fmla="*/ 211674 h 322940"/>
                <a:gd name="connsiteX44" fmla="*/ 124984 w 369340"/>
                <a:gd name="connsiteY44" fmla="*/ 217669 h 322940"/>
                <a:gd name="connsiteX45" fmla="*/ 107807 w 369340"/>
                <a:gd name="connsiteY45" fmla="*/ 205939 h 322940"/>
                <a:gd name="connsiteX46" fmla="*/ 109052 w 369340"/>
                <a:gd name="connsiteY46" fmla="*/ 187046 h 322940"/>
                <a:gd name="connsiteX47" fmla="*/ 94119 w 369340"/>
                <a:gd name="connsiteY47" fmla="*/ 189421 h 322940"/>
                <a:gd name="connsiteX48" fmla="*/ 73490 w 369340"/>
                <a:gd name="connsiteY48" fmla="*/ 177394 h 322940"/>
                <a:gd name="connsiteX49" fmla="*/ 88933 w 369340"/>
                <a:gd name="connsiteY49" fmla="*/ 162175 h 322940"/>
                <a:gd name="connsiteX50" fmla="*/ 88690 w 369340"/>
                <a:gd name="connsiteY50" fmla="*/ 139254 h 322940"/>
                <a:gd name="connsiteX51" fmla="*/ 67044 w 369340"/>
                <a:gd name="connsiteY51" fmla="*/ 115479 h 322940"/>
                <a:gd name="connsiteX52" fmla="*/ 51318 w 369340"/>
                <a:gd name="connsiteY52" fmla="*/ 112881 h 322940"/>
                <a:gd name="connsiteX53" fmla="*/ 11418 w 369340"/>
                <a:gd name="connsiteY53" fmla="*/ 92019 h 322940"/>
                <a:gd name="connsiteX54" fmla="*/ 2784 w 369340"/>
                <a:gd name="connsiteY54" fmla="*/ 64477 h 32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69340" h="322940">
                  <a:moveTo>
                    <a:pt x="2784" y="64477"/>
                  </a:moveTo>
                  <a:lnTo>
                    <a:pt x="8931" y="54993"/>
                  </a:lnTo>
                  <a:lnTo>
                    <a:pt x="4143" y="30234"/>
                  </a:lnTo>
                  <a:lnTo>
                    <a:pt x="41066" y="5661"/>
                  </a:lnTo>
                  <a:lnTo>
                    <a:pt x="64429" y="2784"/>
                  </a:lnTo>
                  <a:lnTo>
                    <a:pt x="92883" y="21233"/>
                  </a:lnTo>
                  <a:lnTo>
                    <a:pt x="112172" y="46214"/>
                  </a:lnTo>
                  <a:lnTo>
                    <a:pt x="130463" y="38215"/>
                  </a:lnTo>
                  <a:lnTo>
                    <a:pt x="140192" y="67279"/>
                  </a:lnTo>
                  <a:lnTo>
                    <a:pt x="149054" y="64161"/>
                  </a:lnTo>
                  <a:lnTo>
                    <a:pt x="167363" y="72309"/>
                  </a:lnTo>
                  <a:lnTo>
                    <a:pt x="182844" y="89403"/>
                  </a:lnTo>
                  <a:lnTo>
                    <a:pt x="207208" y="82127"/>
                  </a:lnTo>
                  <a:lnTo>
                    <a:pt x="227232" y="101058"/>
                  </a:lnTo>
                  <a:lnTo>
                    <a:pt x="235584" y="110783"/>
                  </a:lnTo>
                  <a:lnTo>
                    <a:pt x="262945" y="127691"/>
                  </a:lnTo>
                  <a:lnTo>
                    <a:pt x="270016" y="124017"/>
                  </a:lnTo>
                  <a:lnTo>
                    <a:pt x="301694" y="135988"/>
                  </a:lnTo>
                  <a:lnTo>
                    <a:pt x="293925" y="140609"/>
                  </a:lnTo>
                  <a:lnTo>
                    <a:pt x="307520" y="151206"/>
                  </a:lnTo>
                  <a:lnTo>
                    <a:pt x="306406" y="170954"/>
                  </a:lnTo>
                  <a:lnTo>
                    <a:pt x="323791" y="173293"/>
                  </a:lnTo>
                  <a:lnTo>
                    <a:pt x="336349" y="193393"/>
                  </a:lnTo>
                  <a:lnTo>
                    <a:pt x="338027" y="209299"/>
                  </a:lnTo>
                  <a:lnTo>
                    <a:pt x="354074" y="224592"/>
                  </a:lnTo>
                  <a:lnTo>
                    <a:pt x="367685" y="251337"/>
                  </a:lnTo>
                  <a:lnTo>
                    <a:pt x="364291" y="262083"/>
                  </a:lnTo>
                  <a:lnTo>
                    <a:pt x="359237" y="273107"/>
                  </a:lnTo>
                  <a:lnTo>
                    <a:pt x="351149" y="265034"/>
                  </a:lnTo>
                  <a:lnTo>
                    <a:pt x="328802" y="279640"/>
                  </a:lnTo>
                  <a:lnTo>
                    <a:pt x="294558" y="278285"/>
                  </a:lnTo>
                  <a:lnTo>
                    <a:pt x="278474" y="268096"/>
                  </a:lnTo>
                  <a:lnTo>
                    <a:pt x="268271" y="284169"/>
                  </a:lnTo>
                  <a:lnTo>
                    <a:pt x="224242" y="280123"/>
                  </a:lnTo>
                  <a:lnTo>
                    <a:pt x="216660" y="296623"/>
                  </a:lnTo>
                  <a:lnTo>
                    <a:pt x="212059" y="321177"/>
                  </a:lnTo>
                  <a:lnTo>
                    <a:pt x="182228" y="320824"/>
                  </a:lnTo>
                  <a:lnTo>
                    <a:pt x="176627" y="312361"/>
                  </a:lnTo>
                  <a:lnTo>
                    <a:pt x="178345" y="285709"/>
                  </a:lnTo>
                  <a:lnTo>
                    <a:pt x="172332" y="258612"/>
                  </a:lnTo>
                  <a:lnTo>
                    <a:pt x="161018" y="257016"/>
                  </a:lnTo>
                  <a:lnTo>
                    <a:pt x="156153" y="242484"/>
                  </a:lnTo>
                  <a:lnTo>
                    <a:pt x="142426" y="231051"/>
                  </a:lnTo>
                  <a:lnTo>
                    <a:pt x="135940" y="211674"/>
                  </a:lnTo>
                  <a:lnTo>
                    <a:pt x="124984" y="217669"/>
                  </a:lnTo>
                  <a:lnTo>
                    <a:pt x="107807" y="205939"/>
                  </a:lnTo>
                  <a:lnTo>
                    <a:pt x="109052" y="187046"/>
                  </a:lnTo>
                  <a:lnTo>
                    <a:pt x="94119" y="189421"/>
                  </a:lnTo>
                  <a:lnTo>
                    <a:pt x="73490" y="177394"/>
                  </a:lnTo>
                  <a:lnTo>
                    <a:pt x="88933" y="162175"/>
                  </a:lnTo>
                  <a:lnTo>
                    <a:pt x="88690" y="139254"/>
                  </a:lnTo>
                  <a:lnTo>
                    <a:pt x="67044" y="115479"/>
                  </a:lnTo>
                  <a:lnTo>
                    <a:pt x="51318" y="112881"/>
                  </a:lnTo>
                  <a:lnTo>
                    <a:pt x="11418" y="92019"/>
                  </a:lnTo>
                  <a:lnTo>
                    <a:pt x="2784" y="6447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AC35FC9-CCE0-400C-9D6F-3CFE24D8D8DE}"/>
                </a:ext>
              </a:extLst>
            </p:cNvPr>
            <p:cNvSpPr/>
            <p:nvPr/>
          </p:nvSpPr>
          <p:spPr>
            <a:xfrm>
              <a:off x="2084353" y="5663913"/>
              <a:ext cx="328509" cy="259837"/>
            </a:xfrm>
            <a:custGeom>
              <a:avLst/>
              <a:gdLst>
                <a:gd name="connsiteX0" fmla="*/ 238613 w 328509"/>
                <a:gd name="connsiteY0" fmla="*/ 257795 h 259836"/>
                <a:gd name="connsiteX1" fmla="*/ 221567 w 328509"/>
                <a:gd name="connsiteY1" fmla="*/ 246901 h 259836"/>
                <a:gd name="connsiteX2" fmla="*/ 230071 w 328509"/>
                <a:gd name="connsiteY2" fmla="*/ 236192 h 259836"/>
                <a:gd name="connsiteX3" fmla="*/ 209652 w 328509"/>
                <a:gd name="connsiteY3" fmla="*/ 214774 h 259836"/>
                <a:gd name="connsiteX4" fmla="*/ 211085 w 328509"/>
                <a:gd name="connsiteY4" fmla="*/ 207758 h 259836"/>
                <a:gd name="connsiteX5" fmla="*/ 189418 w 328509"/>
                <a:gd name="connsiteY5" fmla="*/ 205253 h 259836"/>
                <a:gd name="connsiteX6" fmla="*/ 189665 w 328509"/>
                <a:gd name="connsiteY6" fmla="*/ 190739 h 259836"/>
                <a:gd name="connsiteX7" fmla="*/ 172432 w 328509"/>
                <a:gd name="connsiteY7" fmla="*/ 167985 h 259836"/>
                <a:gd name="connsiteX8" fmla="*/ 151161 w 328509"/>
                <a:gd name="connsiteY8" fmla="*/ 167966 h 259836"/>
                <a:gd name="connsiteX9" fmla="*/ 140168 w 328509"/>
                <a:gd name="connsiteY9" fmla="*/ 179065 h 259836"/>
                <a:gd name="connsiteX10" fmla="*/ 134171 w 328509"/>
                <a:gd name="connsiteY10" fmla="*/ 168114 h 259836"/>
                <a:gd name="connsiteX11" fmla="*/ 123386 w 328509"/>
                <a:gd name="connsiteY11" fmla="*/ 169822 h 259836"/>
                <a:gd name="connsiteX12" fmla="*/ 123894 w 328509"/>
                <a:gd name="connsiteY12" fmla="*/ 156997 h 259836"/>
                <a:gd name="connsiteX13" fmla="*/ 112092 w 328509"/>
                <a:gd name="connsiteY13" fmla="*/ 146956 h 259836"/>
                <a:gd name="connsiteX14" fmla="*/ 94518 w 328509"/>
                <a:gd name="connsiteY14" fmla="*/ 132740 h 259836"/>
                <a:gd name="connsiteX15" fmla="*/ 94180 w 328509"/>
                <a:gd name="connsiteY15" fmla="*/ 103879 h 259836"/>
                <a:gd name="connsiteX16" fmla="*/ 65839 w 328509"/>
                <a:gd name="connsiteY16" fmla="*/ 107554 h 259836"/>
                <a:gd name="connsiteX17" fmla="*/ 50848 w 328509"/>
                <a:gd name="connsiteY17" fmla="*/ 98868 h 259836"/>
                <a:gd name="connsiteX18" fmla="*/ 48302 w 328509"/>
                <a:gd name="connsiteY18" fmla="*/ 88215 h 259836"/>
                <a:gd name="connsiteX19" fmla="*/ 26581 w 328509"/>
                <a:gd name="connsiteY19" fmla="*/ 74666 h 259836"/>
                <a:gd name="connsiteX20" fmla="*/ 2784 w 328509"/>
                <a:gd name="connsiteY20" fmla="*/ 80160 h 259836"/>
                <a:gd name="connsiteX21" fmla="*/ 3595 w 328509"/>
                <a:gd name="connsiteY21" fmla="*/ 63864 h 259836"/>
                <a:gd name="connsiteX22" fmla="*/ 20226 w 328509"/>
                <a:gd name="connsiteY22" fmla="*/ 56125 h 259836"/>
                <a:gd name="connsiteX23" fmla="*/ 31860 w 328509"/>
                <a:gd name="connsiteY23" fmla="*/ 70434 h 259836"/>
                <a:gd name="connsiteX24" fmla="*/ 54735 w 328509"/>
                <a:gd name="connsiteY24" fmla="*/ 59131 h 259836"/>
                <a:gd name="connsiteX25" fmla="*/ 56244 w 328509"/>
                <a:gd name="connsiteY25" fmla="*/ 41889 h 259836"/>
                <a:gd name="connsiteX26" fmla="*/ 73913 w 328509"/>
                <a:gd name="connsiteY26" fmla="*/ 24629 h 259836"/>
                <a:gd name="connsiteX27" fmla="*/ 97278 w 328509"/>
                <a:gd name="connsiteY27" fmla="*/ 21752 h 259836"/>
                <a:gd name="connsiteX28" fmla="*/ 113172 w 328509"/>
                <a:gd name="connsiteY28" fmla="*/ 20082 h 259836"/>
                <a:gd name="connsiteX29" fmla="*/ 147003 w 328509"/>
                <a:gd name="connsiteY29" fmla="*/ 2784 h 259836"/>
                <a:gd name="connsiteX30" fmla="*/ 177889 w 328509"/>
                <a:gd name="connsiteY30" fmla="*/ 9781 h 259836"/>
                <a:gd name="connsiteX31" fmla="*/ 184715 w 328509"/>
                <a:gd name="connsiteY31" fmla="*/ 20601 h 259836"/>
                <a:gd name="connsiteX32" fmla="*/ 193353 w 328509"/>
                <a:gd name="connsiteY32" fmla="*/ 10728 h 259836"/>
                <a:gd name="connsiteX33" fmla="*/ 205892 w 328509"/>
                <a:gd name="connsiteY33" fmla="*/ 14681 h 259836"/>
                <a:gd name="connsiteX34" fmla="*/ 203910 w 328509"/>
                <a:gd name="connsiteY34" fmla="*/ 39662 h 259836"/>
                <a:gd name="connsiteX35" fmla="*/ 214789 w 328509"/>
                <a:gd name="connsiteY35" fmla="*/ 43875 h 259836"/>
                <a:gd name="connsiteX36" fmla="*/ 208642 w 328509"/>
                <a:gd name="connsiteY36" fmla="*/ 53359 h 259836"/>
                <a:gd name="connsiteX37" fmla="*/ 221463 w 328509"/>
                <a:gd name="connsiteY37" fmla="*/ 75130 h 259836"/>
                <a:gd name="connsiteX38" fmla="*/ 228930 w 328509"/>
                <a:gd name="connsiteY38" fmla="*/ 73942 h 259836"/>
                <a:gd name="connsiteX39" fmla="*/ 237189 w 328509"/>
                <a:gd name="connsiteY39" fmla="*/ 77728 h 259836"/>
                <a:gd name="connsiteX40" fmla="*/ 220953 w 328509"/>
                <a:gd name="connsiteY40" fmla="*/ 87973 h 259836"/>
                <a:gd name="connsiteX41" fmla="*/ 254253 w 328509"/>
                <a:gd name="connsiteY41" fmla="*/ 104788 h 259836"/>
                <a:gd name="connsiteX42" fmla="*/ 258609 w 328509"/>
                <a:gd name="connsiteY42" fmla="*/ 94729 h 259836"/>
                <a:gd name="connsiteX43" fmla="*/ 273695 w 328509"/>
                <a:gd name="connsiteY43" fmla="*/ 109354 h 259836"/>
                <a:gd name="connsiteX44" fmla="*/ 285783 w 328509"/>
                <a:gd name="connsiteY44" fmla="*/ 99777 h 259836"/>
                <a:gd name="connsiteX45" fmla="*/ 278390 w 328509"/>
                <a:gd name="connsiteY45" fmla="*/ 90739 h 259836"/>
                <a:gd name="connsiteX46" fmla="*/ 308958 w 328509"/>
                <a:gd name="connsiteY46" fmla="*/ 85022 h 259836"/>
                <a:gd name="connsiteX47" fmla="*/ 293344 w 328509"/>
                <a:gd name="connsiteY47" fmla="*/ 104510 h 259836"/>
                <a:gd name="connsiteX48" fmla="*/ 304147 w 328509"/>
                <a:gd name="connsiteY48" fmla="*/ 118950 h 259836"/>
                <a:gd name="connsiteX49" fmla="*/ 306449 w 328509"/>
                <a:gd name="connsiteY49" fmla="*/ 106682 h 259836"/>
                <a:gd name="connsiteX50" fmla="*/ 315894 w 328509"/>
                <a:gd name="connsiteY50" fmla="*/ 117948 h 259836"/>
                <a:gd name="connsiteX51" fmla="*/ 293682 w 328509"/>
                <a:gd name="connsiteY51" fmla="*/ 133371 h 259836"/>
                <a:gd name="connsiteX52" fmla="*/ 309671 w 328509"/>
                <a:gd name="connsiteY52" fmla="*/ 137639 h 259836"/>
                <a:gd name="connsiteX53" fmla="*/ 321739 w 328509"/>
                <a:gd name="connsiteY53" fmla="*/ 149332 h 259836"/>
                <a:gd name="connsiteX54" fmla="*/ 326735 w 328509"/>
                <a:gd name="connsiteY54" fmla="*/ 164681 h 259836"/>
                <a:gd name="connsiteX55" fmla="*/ 302466 w 328509"/>
                <a:gd name="connsiteY55" fmla="*/ 177914 h 259836"/>
                <a:gd name="connsiteX56" fmla="*/ 283646 w 328509"/>
                <a:gd name="connsiteY56" fmla="*/ 182591 h 259836"/>
                <a:gd name="connsiteX57" fmla="*/ 262414 w 328509"/>
                <a:gd name="connsiteY57" fmla="*/ 177469 h 259836"/>
                <a:gd name="connsiteX58" fmla="*/ 267653 w 328509"/>
                <a:gd name="connsiteY58" fmla="*/ 215757 h 259836"/>
                <a:gd name="connsiteX59" fmla="*/ 243479 w 328509"/>
                <a:gd name="connsiteY59" fmla="*/ 234911 h 259836"/>
                <a:gd name="connsiteX60" fmla="*/ 238613 w 328509"/>
                <a:gd name="connsiteY60" fmla="*/ 257795 h 259836"/>
                <a:gd name="connsiteX61" fmla="*/ 47493 w 328509"/>
                <a:gd name="connsiteY61" fmla="*/ 67094 h 259836"/>
                <a:gd name="connsiteX62" fmla="*/ 48454 w 328509"/>
                <a:gd name="connsiteY62" fmla="*/ 67780 h 259836"/>
                <a:gd name="connsiteX63" fmla="*/ 51641 w 328509"/>
                <a:gd name="connsiteY63" fmla="*/ 66426 h 259836"/>
                <a:gd name="connsiteX64" fmla="*/ 50679 w 328509"/>
                <a:gd name="connsiteY64" fmla="*/ 65739 h 259836"/>
                <a:gd name="connsiteX65" fmla="*/ 47493 w 328509"/>
                <a:gd name="connsiteY65" fmla="*/ 67094 h 259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328509" h="259836">
                  <a:moveTo>
                    <a:pt x="238613" y="257795"/>
                  </a:moveTo>
                  <a:lnTo>
                    <a:pt x="221567" y="246901"/>
                  </a:lnTo>
                  <a:lnTo>
                    <a:pt x="230071" y="236192"/>
                  </a:lnTo>
                  <a:lnTo>
                    <a:pt x="209652" y="214774"/>
                  </a:lnTo>
                  <a:lnTo>
                    <a:pt x="211085" y="207758"/>
                  </a:lnTo>
                  <a:lnTo>
                    <a:pt x="189418" y="205253"/>
                  </a:lnTo>
                  <a:lnTo>
                    <a:pt x="189665" y="190739"/>
                  </a:lnTo>
                  <a:lnTo>
                    <a:pt x="172432" y="167985"/>
                  </a:lnTo>
                  <a:lnTo>
                    <a:pt x="151161" y="167966"/>
                  </a:lnTo>
                  <a:lnTo>
                    <a:pt x="140168" y="179065"/>
                  </a:lnTo>
                  <a:lnTo>
                    <a:pt x="134171" y="168114"/>
                  </a:lnTo>
                  <a:lnTo>
                    <a:pt x="123386" y="169822"/>
                  </a:lnTo>
                  <a:lnTo>
                    <a:pt x="123894" y="156997"/>
                  </a:lnTo>
                  <a:lnTo>
                    <a:pt x="112092" y="146956"/>
                  </a:lnTo>
                  <a:lnTo>
                    <a:pt x="94518" y="132740"/>
                  </a:lnTo>
                  <a:lnTo>
                    <a:pt x="94180" y="103879"/>
                  </a:lnTo>
                  <a:lnTo>
                    <a:pt x="65839" y="107554"/>
                  </a:lnTo>
                  <a:lnTo>
                    <a:pt x="50848" y="98868"/>
                  </a:lnTo>
                  <a:lnTo>
                    <a:pt x="48302" y="88215"/>
                  </a:lnTo>
                  <a:lnTo>
                    <a:pt x="26581" y="74666"/>
                  </a:lnTo>
                  <a:lnTo>
                    <a:pt x="2784" y="80160"/>
                  </a:lnTo>
                  <a:lnTo>
                    <a:pt x="3595" y="63864"/>
                  </a:lnTo>
                  <a:lnTo>
                    <a:pt x="20226" y="56125"/>
                  </a:lnTo>
                  <a:lnTo>
                    <a:pt x="31860" y="70434"/>
                  </a:lnTo>
                  <a:lnTo>
                    <a:pt x="54735" y="59131"/>
                  </a:lnTo>
                  <a:lnTo>
                    <a:pt x="56244" y="41889"/>
                  </a:lnTo>
                  <a:lnTo>
                    <a:pt x="73913" y="24629"/>
                  </a:lnTo>
                  <a:lnTo>
                    <a:pt x="97278" y="21752"/>
                  </a:lnTo>
                  <a:lnTo>
                    <a:pt x="113172" y="20082"/>
                  </a:lnTo>
                  <a:lnTo>
                    <a:pt x="147003" y="2784"/>
                  </a:lnTo>
                  <a:lnTo>
                    <a:pt x="177889" y="9781"/>
                  </a:lnTo>
                  <a:lnTo>
                    <a:pt x="184715" y="20601"/>
                  </a:lnTo>
                  <a:lnTo>
                    <a:pt x="193353" y="10728"/>
                  </a:lnTo>
                  <a:lnTo>
                    <a:pt x="205892" y="14681"/>
                  </a:lnTo>
                  <a:lnTo>
                    <a:pt x="203910" y="39662"/>
                  </a:lnTo>
                  <a:lnTo>
                    <a:pt x="214789" y="43875"/>
                  </a:lnTo>
                  <a:lnTo>
                    <a:pt x="208642" y="53359"/>
                  </a:lnTo>
                  <a:lnTo>
                    <a:pt x="221463" y="75130"/>
                  </a:lnTo>
                  <a:lnTo>
                    <a:pt x="228930" y="73942"/>
                  </a:lnTo>
                  <a:lnTo>
                    <a:pt x="237189" y="77728"/>
                  </a:lnTo>
                  <a:lnTo>
                    <a:pt x="220953" y="87973"/>
                  </a:lnTo>
                  <a:lnTo>
                    <a:pt x="254253" y="104788"/>
                  </a:lnTo>
                  <a:lnTo>
                    <a:pt x="258609" y="94729"/>
                  </a:lnTo>
                  <a:lnTo>
                    <a:pt x="273695" y="109354"/>
                  </a:lnTo>
                  <a:lnTo>
                    <a:pt x="285783" y="99777"/>
                  </a:lnTo>
                  <a:lnTo>
                    <a:pt x="278390" y="90739"/>
                  </a:lnTo>
                  <a:lnTo>
                    <a:pt x="308958" y="85022"/>
                  </a:lnTo>
                  <a:lnTo>
                    <a:pt x="293344" y="104510"/>
                  </a:lnTo>
                  <a:lnTo>
                    <a:pt x="304147" y="118950"/>
                  </a:lnTo>
                  <a:lnTo>
                    <a:pt x="306449" y="106682"/>
                  </a:lnTo>
                  <a:lnTo>
                    <a:pt x="315894" y="117948"/>
                  </a:lnTo>
                  <a:lnTo>
                    <a:pt x="293682" y="133371"/>
                  </a:lnTo>
                  <a:lnTo>
                    <a:pt x="309671" y="137639"/>
                  </a:lnTo>
                  <a:lnTo>
                    <a:pt x="321739" y="149332"/>
                  </a:lnTo>
                  <a:lnTo>
                    <a:pt x="326735" y="164681"/>
                  </a:lnTo>
                  <a:lnTo>
                    <a:pt x="302466" y="177914"/>
                  </a:lnTo>
                  <a:lnTo>
                    <a:pt x="283646" y="182591"/>
                  </a:lnTo>
                  <a:lnTo>
                    <a:pt x="262414" y="177469"/>
                  </a:lnTo>
                  <a:lnTo>
                    <a:pt x="267653" y="215757"/>
                  </a:lnTo>
                  <a:lnTo>
                    <a:pt x="243479" y="234911"/>
                  </a:lnTo>
                  <a:lnTo>
                    <a:pt x="238613" y="257795"/>
                  </a:lnTo>
                  <a:close/>
                  <a:moveTo>
                    <a:pt x="47493" y="67094"/>
                  </a:moveTo>
                  <a:lnTo>
                    <a:pt x="48454" y="67780"/>
                  </a:lnTo>
                  <a:lnTo>
                    <a:pt x="51641" y="66426"/>
                  </a:lnTo>
                  <a:lnTo>
                    <a:pt x="50679" y="65739"/>
                  </a:lnTo>
                  <a:lnTo>
                    <a:pt x="47493" y="6709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9C97E33-6C5D-4575-BBD4-D52096C4D5FB}"/>
                </a:ext>
              </a:extLst>
            </p:cNvPr>
            <p:cNvSpPr/>
            <p:nvPr/>
          </p:nvSpPr>
          <p:spPr>
            <a:xfrm>
              <a:off x="1483343" y="6307121"/>
              <a:ext cx="131775" cy="115071"/>
            </a:xfrm>
            <a:custGeom>
              <a:avLst/>
              <a:gdLst>
                <a:gd name="connsiteX0" fmla="*/ 27502 w 131774"/>
                <a:gd name="connsiteY0" fmla="*/ 113716 h 115070"/>
                <a:gd name="connsiteX1" fmla="*/ 10232 w 131774"/>
                <a:gd name="connsiteY1" fmla="*/ 96065 h 115070"/>
                <a:gd name="connsiteX2" fmla="*/ 2784 w 131774"/>
                <a:gd name="connsiteY2" fmla="*/ 75984 h 115070"/>
                <a:gd name="connsiteX3" fmla="*/ 11778 w 131774"/>
                <a:gd name="connsiteY3" fmla="*/ 73701 h 115070"/>
                <a:gd name="connsiteX4" fmla="*/ 35182 w 131774"/>
                <a:gd name="connsiteY4" fmla="*/ 28304 h 115070"/>
                <a:gd name="connsiteX5" fmla="*/ 28790 w 131774"/>
                <a:gd name="connsiteY5" fmla="*/ 14866 h 115070"/>
                <a:gd name="connsiteX6" fmla="*/ 31581 w 131774"/>
                <a:gd name="connsiteY6" fmla="*/ 11024 h 115070"/>
                <a:gd name="connsiteX7" fmla="*/ 49664 w 131774"/>
                <a:gd name="connsiteY7" fmla="*/ 12398 h 115070"/>
                <a:gd name="connsiteX8" fmla="*/ 56643 w 131774"/>
                <a:gd name="connsiteY8" fmla="*/ 2784 h 115070"/>
                <a:gd name="connsiteX9" fmla="*/ 72124 w 131774"/>
                <a:gd name="connsiteY9" fmla="*/ 19877 h 115070"/>
                <a:gd name="connsiteX10" fmla="*/ 80591 w 131774"/>
                <a:gd name="connsiteY10" fmla="*/ 14272 h 115070"/>
                <a:gd name="connsiteX11" fmla="*/ 103894 w 131774"/>
                <a:gd name="connsiteY11" fmla="*/ 37788 h 115070"/>
                <a:gd name="connsiteX12" fmla="*/ 108100 w 131774"/>
                <a:gd name="connsiteY12" fmla="*/ 48163 h 115070"/>
                <a:gd name="connsiteX13" fmla="*/ 122072 w 131774"/>
                <a:gd name="connsiteY13" fmla="*/ 45100 h 115070"/>
                <a:gd name="connsiteX14" fmla="*/ 129217 w 131774"/>
                <a:gd name="connsiteY14" fmla="*/ 68615 h 115070"/>
                <a:gd name="connsiteX15" fmla="*/ 99046 w 131774"/>
                <a:gd name="connsiteY15" fmla="*/ 76819 h 115070"/>
                <a:gd name="connsiteX16" fmla="*/ 93709 w 131774"/>
                <a:gd name="connsiteY16" fmla="*/ 107442 h 115070"/>
                <a:gd name="connsiteX17" fmla="*/ 80264 w 131774"/>
                <a:gd name="connsiteY17" fmla="*/ 113827 h 115070"/>
                <a:gd name="connsiteX18" fmla="*/ 69421 w 131774"/>
                <a:gd name="connsiteY18" fmla="*/ 104491 h 115070"/>
                <a:gd name="connsiteX19" fmla="*/ 60654 w 131774"/>
                <a:gd name="connsiteY19" fmla="*/ 113549 h 115070"/>
                <a:gd name="connsiteX20" fmla="*/ 27502 w 131774"/>
                <a:gd name="connsiteY20" fmla="*/ 113716 h 1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1774" h="115070">
                  <a:moveTo>
                    <a:pt x="27502" y="113716"/>
                  </a:moveTo>
                  <a:lnTo>
                    <a:pt x="10232" y="96065"/>
                  </a:lnTo>
                  <a:lnTo>
                    <a:pt x="2784" y="75984"/>
                  </a:lnTo>
                  <a:lnTo>
                    <a:pt x="11778" y="73701"/>
                  </a:lnTo>
                  <a:lnTo>
                    <a:pt x="35182" y="28304"/>
                  </a:lnTo>
                  <a:lnTo>
                    <a:pt x="28790" y="14866"/>
                  </a:lnTo>
                  <a:lnTo>
                    <a:pt x="31581" y="11024"/>
                  </a:lnTo>
                  <a:lnTo>
                    <a:pt x="49664" y="12398"/>
                  </a:lnTo>
                  <a:lnTo>
                    <a:pt x="56643" y="2784"/>
                  </a:lnTo>
                  <a:lnTo>
                    <a:pt x="72124" y="19877"/>
                  </a:lnTo>
                  <a:lnTo>
                    <a:pt x="80591" y="14272"/>
                  </a:lnTo>
                  <a:lnTo>
                    <a:pt x="103894" y="37788"/>
                  </a:lnTo>
                  <a:lnTo>
                    <a:pt x="108100" y="48163"/>
                  </a:lnTo>
                  <a:lnTo>
                    <a:pt x="122072" y="45100"/>
                  </a:lnTo>
                  <a:lnTo>
                    <a:pt x="129217" y="68615"/>
                  </a:lnTo>
                  <a:lnTo>
                    <a:pt x="99046" y="76819"/>
                  </a:lnTo>
                  <a:lnTo>
                    <a:pt x="93709" y="107442"/>
                  </a:lnTo>
                  <a:lnTo>
                    <a:pt x="80264" y="113827"/>
                  </a:lnTo>
                  <a:lnTo>
                    <a:pt x="69421" y="104491"/>
                  </a:lnTo>
                  <a:lnTo>
                    <a:pt x="60654" y="113549"/>
                  </a:lnTo>
                  <a:lnTo>
                    <a:pt x="27502" y="11371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B74D74A-22B3-4D2B-A63F-DF868714A10A}"/>
                </a:ext>
              </a:extLst>
            </p:cNvPr>
            <p:cNvSpPr/>
            <p:nvPr/>
          </p:nvSpPr>
          <p:spPr>
            <a:xfrm>
              <a:off x="1466351" y="6026663"/>
              <a:ext cx="309949" cy="300668"/>
            </a:xfrm>
            <a:custGeom>
              <a:avLst/>
              <a:gdLst>
                <a:gd name="connsiteX0" fmla="*/ 260333 w 309949"/>
                <a:gd name="connsiteY0" fmla="*/ 269692 h 300668"/>
                <a:gd name="connsiteX1" fmla="*/ 260294 w 309949"/>
                <a:gd name="connsiteY1" fmla="*/ 274796 h 300668"/>
                <a:gd name="connsiteX2" fmla="*/ 222015 w 309949"/>
                <a:gd name="connsiteY2" fmla="*/ 296196 h 300668"/>
                <a:gd name="connsiteX3" fmla="*/ 196861 w 309949"/>
                <a:gd name="connsiteY3" fmla="*/ 298497 h 300668"/>
                <a:gd name="connsiteX4" fmla="*/ 181588 w 309949"/>
                <a:gd name="connsiteY4" fmla="*/ 272012 h 300668"/>
                <a:gd name="connsiteX5" fmla="*/ 147534 w 309949"/>
                <a:gd name="connsiteY5" fmla="*/ 245119 h 300668"/>
                <a:gd name="connsiteX6" fmla="*/ 149308 w 309949"/>
                <a:gd name="connsiteY6" fmla="*/ 229529 h 300668"/>
                <a:gd name="connsiteX7" fmla="*/ 121649 w 309949"/>
                <a:gd name="connsiteY7" fmla="*/ 178656 h 300668"/>
                <a:gd name="connsiteX8" fmla="*/ 108751 w 309949"/>
                <a:gd name="connsiteY8" fmla="*/ 167094 h 300668"/>
                <a:gd name="connsiteX9" fmla="*/ 101001 w 309949"/>
                <a:gd name="connsiteY9" fmla="*/ 150464 h 300668"/>
                <a:gd name="connsiteX10" fmla="*/ 100928 w 309949"/>
                <a:gd name="connsiteY10" fmla="*/ 123274 h 300668"/>
                <a:gd name="connsiteX11" fmla="*/ 81337 w 309949"/>
                <a:gd name="connsiteY11" fmla="*/ 101726 h 300668"/>
                <a:gd name="connsiteX12" fmla="*/ 68855 w 309949"/>
                <a:gd name="connsiteY12" fmla="*/ 71400 h 300668"/>
                <a:gd name="connsiteX13" fmla="*/ 39985 w 309949"/>
                <a:gd name="connsiteY13" fmla="*/ 71734 h 300668"/>
                <a:gd name="connsiteX14" fmla="*/ 20319 w 309949"/>
                <a:gd name="connsiteY14" fmla="*/ 60412 h 300668"/>
                <a:gd name="connsiteX15" fmla="*/ 2784 w 309949"/>
                <a:gd name="connsiteY15" fmla="*/ 41091 h 300668"/>
                <a:gd name="connsiteX16" fmla="*/ 8536 w 309949"/>
                <a:gd name="connsiteY16" fmla="*/ 29120 h 300668"/>
                <a:gd name="connsiteX17" fmla="*/ 15794 w 309949"/>
                <a:gd name="connsiteY17" fmla="*/ 37305 h 300668"/>
                <a:gd name="connsiteX18" fmla="*/ 29900 w 309949"/>
                <a:gd name="connsiteY18" fmla="*/ 35059 h 300668"/>
                <a:gd name="connsiteX19" fmla="*/ 39384 w 309949"/>
                <a:gd name="connsiteY19" fmla="*/ 41221 h 300668"/>
                <a:gd name="connsiteX20" fmla="*/ 42289 w 309949"/>
                <a:gd name="connsiteY20" fmla="*/ 22049 h 300668"/>
                <a:gd name="connsiteX21" fmla="*/ 58335 w 309949"/>
                <a:gd name="connsiteY21" fmla="*/ 37342 h 300668"/>
                <a:gd name="connsiteX22" fmla="*/ 62107 w 309949"/>
                <a:gd name="connsiteY22" fmla="*/ 50353 h 300668"/>
                <a:gd name="connsiteX23" fmla="*/ 77361 w 309949"/>
                <a:gd name="connsiteY23" fmla="*/ 60691 h 300668"/>
                <a:gd name="connsiteX24" fmla="*/ 86522 w 309949"/>
                <a:gd name="connsiteY24" fmla="*/ 91537 h 300668"/>
                <a:gd name="connsiteX25" fmla="*/ 102211 w 309949"/>
                <a:gd name="connsiteY25" fmla="*/ 99258 h 300668"/>
                <a:gd name="connsiteX26" fmla="*/ 116485 w 309949"/>
                <a:gd name="connsiteY26" fmla="*/ 92725 h 300668"/>
                <a:gd name="connsiteX27" fmla="*/ 123180 w 309949"/>
                <a:gd name="connsiteY27" fmla="*/ 102729 h 300668"/>
                <a:gd name="connsiteX28" fmla="*/ 126084 w 309949"/>
                <a:gd name="connsiteY28" fmla="*/ 83556 h 300668"/>
                <a:gd name="connsiteX29" fmla="*/ 160630 w 309949"/>
                <a:gd name="connsiteY29" fmla="*/ 81459 h 300668"/>
                <a:gd name="connsiteX30" fmla="*/ 188767 w 309949"/>
                <a:gd name="connsiteY30" fmla="*/ 49759 h 300668"/>
                <a:gd name="connsiteX31" fmla="*/ 181940 w 309949"/>
                <a:gd name="connsiteY31" fmla="*/ 38939 h 300668"/>
                <a:gd name="connsiteX32" fmla="*/ 162122 w 309949"/>
                <a:gd name="connsiteY32" fmla="*/ 48051 h 300668"/>
                <a:gd name="connsiteX33" fmla="*/ 161708 w 309949"/>
                <a:gd name="connsiteY33" fmla="*/ 29399 h 300668"/>
                <a:gd name="connsiteX34" fmla="*/ 169817 w 309949"/>
                <a:gd name="connsiteY34" fmla="*/ 16203 h 300668"/>
                <a:gd name="connsiteX35" fmla="*/ 197028 w 309949"/>
                <a:gd name="connsiteY35" fmla="*/ 16129 h 300668"/>
                <a:gd name="connsiteX36" fmla="*/ 209227 w 309949"/>
                <a:gd name="connsiteY36" fmla="*/ 28656 h 300668"/>
                <a:gd name="connsiteX37" fmla="*/ 219786 w 309949"/>
                <a:gd name="connsiteY37" fmla="*/ 20174 h 300668"/>
                <a:gd name="connsiteX38" fmla="*/ 222126 w 309949"/>
                <a:gd name="connsiteY38" fmla="*/ 2784 h 300668"/>
                <a:gd name="connsiteX39" fmla="*/ 229912 w 309949"/>
                <a:gd name="connsiteY39" fmla="*/ 14310 h 300668"/>
                <a:gd name="connsiteX40" fmla="*/ 224463 w 309949"/>
                <a:gd name="connsiteY40" fmla="*/ 22829 h 300668"/>
                <a:gd name="connsiteX41" fmla="*/ 234079 w 309949"/>
                <a:gd name="connsiteY41" fmla="*/ 29807 h 300668"/>
                <a:gd name="connsiteX42" fmla="*/ 249843 w 309949"/>
                <a:gd name="connsiteY42" fmla="*/ 27302 h 300668"/>
                <a:gd name="connsiteX43" fmla="*/ 260346 w 309949"/>
                <a:gd name="connsiteY43" fmla="*/ 45175 h 300668"/>
                <a:gd name="connsiteX44" fmla="*/ 271074 w 309949"/>
                <a:gd name="connsiteY44" fmla="*/ 69840 h 300668"/>
                <a:gd name="connsiteX45" fmla="*/ 272863 w 309949"/>
                <a:gd name="connsiteY45" fmla="*/ 107814 h 300668"/>
                <a:gd name="connsiteX46" fmla="*/ 280651 w 309949"/>
                <a:gd name="connsiteY46" fmla="*/ 119339 h 300668"/>
                <a:gd name="connsiteX47" fmla="*/ 305239 w 309949"/>
                <a:gd name="connsiteY47" fmla="*/ 118838 h 300668"/>
                <a:gd name="connsiteX48" fmla="*/ 307256 w 309949"/>
                <a:gd name="connsiteY48" fmla="*/ 126170 h 300668"/>
                <a:gd name="connsiteX49" fmla="*/ 287778 w 309949"/>
                <a:gd name="connsiteY49" fmla="*/ 126708 h 300668"/>
                <a:gd name="connsiteX50" fmla="*/ 284626 w 309949"/>
                <a:gd name="connsiteY50" fmla="*/ 160375 h 300668"/>
                <a:gd name="connsiteX51" fmla="*/ 294355 w 309949"/>
                <a:gd name="connsiteY51" fmla="*/ 189440 h 300668"/>
                <a:gd name="connsiteX52" fmla="*/ 272520 w 309949"/>
                <a:gd name="connsiteY52" fmla="*/ 191221 h 300668"/>
                <a:gd name="connsiteX53" fmla="*/ 267898 w 309949"/>
                <a:gd name="connsiteY53" fmla="*/ 199611 h 300668"/>
                <a:gd name="connsiteX54" fmla="*/ 254567 w 309949"/>
                <a:gd name="connsiteY54" fmla="*/ 190665 h 300668"/>
                <a:gd name="connsiteX55" fmla="*/ 240727 w 309949"/>
                <a:gd name="connsiteY55" fmla="*/ 194581 h 300668"/>
                <a:gd name="connsiteX56" fmla="*/ 256640 w 309949"/>
                <a:gd name="connsiteY56" fmla="*/ 209057 h 300668"/>
                <a:gd name="connsiteX57" fmla="*/ 248702 w 309949"/>
                <a:gd name="connsiteY57" fmla="*/ 217966 h 300668"/>
                <a:gd name="connsiteX58" fmla="*/ 266313 w 309949"/>
                <a:gd name="connsiteY58" fmla="*/ 227079 h 300668"/>
                <a:gd name="connsiteX59" fmla="*/ 254131 w 309949"/>
                <a:gd name="connsiteY59" fmla="*/ 230717 h 300668"/>
                <a:gd name="connsiteX60" fmla="*/ 230654 w 309949"/>
                <a:gd name="connsiteY60" fmla="*/ 248905 h 300668"/>
                <a:gd name="connsiteX61" fmla="*/ 258618 w 309949"/>
                <a:gd name="connsiteY61" fmla="*/ 258909 h 300668"/>
                <a:gd name="connsiteX62" fmla="*/ 260333 w 309949"/>
                <a:gd name="connsiteY62" fmla="*/ 269692 h 30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09949" h="300668">
                  <a:moveTo>
                    <a:pt x="260333" y="269692"/>
                  </a:moveTo>
                  <a:lnTo>
                    <a:pt x="260294" y="274796"/>
                  </a:lnTo>
                  <a:lnTo>
                    <a:pt x="222015" y="296196"/>
                  </a:lnTo>
                  <a:lnTo>
                    <a:pt x="196861" y="298497"/>
                  </a:lnTo>
                  <a:lnTo>
                    <a:pt x="181588" y="272012"/>
                  </a:lnTo>
                  <a:lnTo>
                    <a:pt x="147534" y="245119"/>
                  </a:lnTo>
                  <a:lnTo>
                    <a:pt x="149308" y="229529"/>
                  </a:lnTo>
                  <a:lnTo>
                    <a:pt x="121649" y="178656"/>
                  </a:lnTo>
                  <a:lnTo>
                    <a:pt x="108751" y="167094"/>
                  </a:lnTo>
                  <a:lnTo>
                    <a:pt x="101001" y="150464"/>
                  </a:lnTo>
                  <a:lnTo>
                    <a:pt x="100928" y="123274"/>
                  </a:lnTo>
                  <a:lnTo>
                    <a:pt x="81337" y="101726"/>
                  </a:lnTo>
                  <a:lnTo>
                    <a:pt x="68855" y="71400"/>
                  </a:lnTo>
                  <a:lnTo>
                    <a:pt x="39985" y="71734"/>
                  </a:lnTo>
                  <a:lnTo>
                    <a:pt x="20319" y="60412"/>
                  </a:lnTo>
                  <a:lnTo>
                    <a:pt x="2784" y="41091"/>
                  </a:lnTo>
                  <a:lnTo>
                    <a:pt x="8536" y="29120"/>
                  </a:lnTo>
                  <a:lnTo>
                    <a:pt x="15794" y="37305"/>
                  </a:lnTo>
                  <a:lnTo>
                    <a:pt x="29900" y="35059"/>
                  </a:lnTo>
                  <a:lnTo>
                    <a:pt x="39384" y="41221"/>
                  </a:lnTo>
                  <a:lnTo>
                    <a:pt x="42289" y="22049"/>
                  </a:lnTo>
                  <a:lnTo>
                    <a:pt x="58335" y="37342"/>
                  </a:lnTo>
                  <a:lnTo>
                    <a:pt x="62107" y="50353"/>
                  </a:lnTo>
                  <a:lnTo>
                    <a:pt x="77361" y="60691"/>
                  </a:lnTo>
                  <a:lnTo>
                    <a:pt x="86522" y="91537"/>
                  </a:lnTo>
                  <a:lnTo>
                    <a:pt x="102211" y="99258"/>
                  </a:lnTo>
                  <a:lnTo>
                    <a:pt x="116485" y="92725"/>
                  </a:lnTo>
                  <a:lnTo>
                    <a:pt x="123180" y="102729"/>
                  </a:lnTo>
                  <a:lnTo>
                    <a:pt x="126084" y="83556"/>
                  </a:lnTo>
                  <a:lnTo>
                    <a:pt x="160630" y="81459"/>
                  </a:lnTo>
                  <a:lnTo>
                    <a:pt x="188767" y="49759"/>
                  </a:lnTo>
                  <a:lnTo>
                    <a:pt x="181940" y="38939"/>
                  </a:lnTo>
                  <a:lnTo>
                    <a:pt x="162122" y="48051"/>
                  </a:lnTo>
                  <a:lnTo>
                    <a:pt x="161708" y="29399"/>
                  </a:lnTo>
                  <a:lnTo>
                    <a:pt x="169817" y="16203"/>
                  </a:lnTo>
                  <a:lnTo>
                    <a:pt x="197028" y="16129"/>
                  </a:lnTo>
                  <a:lnTo>
                    <a:pt x="209227" y="28656"/>
                  </a:lnTo>
                  <a:lnTo>
                    <a:pt x="219786" y="20174"/>
                  </a:lnTo>
                  <a:lnTo>
                    <a:pt x="222126" y="2784"/>
                  </a:lnTo>
                  <a:lnTo>
                    <a:pt x="229912" y="14310"/>
                  </a:lnTo>
                  <a:lnTo>
                    <a:pt x="224463" y="22829"/>
                  </a:lnTo>
                  <a:lnTo>
                    <a:pt x="234079" y="29807"/>
                  </a:lnTo>
                  <a:lnTo>
                    <a:pt x="249843" y="27302"/>
                  </a:lnTo>
                  <a:lnTo>
                    <a:pt x="260346" y="45175"/>
                  </a:lnTo>
                  <a:lnTo>
                    <a:pt x="271074" y="69840"/>
                  </a:lnTo>
                  <a:lnTo>
                    <a:pt x="272863" y="107814"/>
                  </a:lnTo>
                  <a:lnTo>
                    <a:pt x="280651" y="119339"/>
                  </a:lnTo>
                  <a:lnTo>
                    <a:pt x="305239" y="118838"/>
                  </a:lnTo>
                  <a:lnTo>
                    <a:pt x="307256" y="126170"/>
                  </a:lnTo>
                  <a:lnTo>
                    <a:pt x="287778" y="126708"/>
                  </a:lnTo>
                  <a:lnTo>
                    <a:pt x="284626" y="160375"/>
                  </a:lnTo>
                  <a:lnTo>
                    <a:pt x="294355" y="189440"/>
                  </a:lnTo>
                  <a:lnTo>
                    <a:pt x="272520" y="191221"/>
                  </a:lnTo>
                  <a:lnTo>
                    <a:pt x="267898" y="199611"/>
                  </a:lnTo>
                  <a:lnTo>
                    <a:pt x="254567" y="190665"/>
                  </a:lnTo>
                  <a:lnTo>
                    <a:pt x="240727" y="194581"/>
                  </a:lnTo>
                  <a:lnTo>
                    <a:pt x="256640" y="209057"/>
                  </a:lnTo>
                  <a:lnTo>
                    <a:pt x="248702" y="217966"/>
                  </a:lnTo>
                  <a:lnTo>
                    <a:pt x="266313" y="227079"/>
                  </a:lnTo>
                  <a:lnTo>
                    <a:pt x="254131" y="230717"/>
                  </a:lnTo>
                  <a:lnTo>
                    <a:pt x="230654" y="248905"/>
                  </a:lnTo>
                  <a:lnTo>
                    <a:pt x="258618" y="258909"/>
                  </a:lnTo>
                  <a:lnTo>
                    <a:pt x="260333" y="26969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626F58A-3D34-4070-81C4-D05E69DBA9FD}"/>
                </a:ext>
              </a:extLst>
            </p:cNvPr>
            <p:cNvSpPr/>
            <p:nvPr/>
          </p:nvSpPr>
          <p:spPr>
            <a:xfrm>
              <a:off x="1364892" y="5805839"/>
              <a:ext cx="295101" cy="324796"/>
            </a:xfrm>
            <a:custGeom>
              <a:avLst/>
              <a:gdLst>
                <a:gd name="connsiteX0" fmla="*/ 204232 w 295101"/>
                <a:gd name="connsiteY0" fmla="*/ 2784 h 324796"/>
                <a:gd name="connsiteX1" fmla="*/ 221673 w 295101"/>
                <a:gd name="connsiteY1" fmla="*/ 16166 h 324796"/>
                <a:gd name="connsiteX2" fmla="*/ 240812 w 295101"/>
                <a:gd name="connsiteY2" fmla="*/ 24183 h 324796"/>
                <a:gd name="connsiteX3" fmla="*/ 258407 w 295101"/>
                <a:gd name="connsiteY3" fmla="*/ 17131 h 324796"/>
                <a:gd name="connsiteX4" fmla="*/ 278017 w 295101"/>
                <a:gd name="connsiteY4" fmla="*/ 17409 h 324796"/>
                <a:gd name="connsiteX5" fmla="*/ 286221 w 295101"/>
                <a:gd name="connsiteY5" fmla="*/ 10152 h 324796"/>
                <a:gd name="connsiteX6" fmla="*/ 283975 w 295101"/>
                <a:gd name="connsiteY6" fmla="*/ 33463 h 324796"/>
                <a:gd name="connsiteX7" fmla="*/ 291894 w 295101"/>
                <a:gd name="connsiteY7" fmla="*/ 45806 h 324796"/>
                <a:gd name="connsiteX8" fmla="*/ 293928 w 295101"/>
                <a:gd name="connsiteY8" fmla="*/ 69302 h 324796"/>
                <a:gd name="connsiteX9" fmla="*/ 282143 w 295101"/>
                <a:gd name="connsiteY9" fmla="*/ 75427 h 324796"/>
                <a:gd name="connsiteX10" fmla="*/ 266094 w 295101"/>
                <a:gd name="connsiteY10" fmla="*/ 97532 h 324796"/>
                <a:gd name="connsiteX11" fmla="*/ 277503 w 295101"/>
                <a:gd name="connsiteY11" fmla="*/ 105085 h 324796"/>
                <a:gd name="connsiteX12" fmla="*/ 282594 w 295101"/>
                <a:gd name="connsiteY12" fmla="*/ 126374 h 324796"/>
                <a:gd name="connsiteX13" fmla="*/ 277935 w 295101"/>
                <a:gd name="connsiteY13" fmla="*/ 139885 h 324796"/>
                <a:gd name="connsiteX14" fmla="*/ 262529 w 295101"/>
                <a:gd name="connsiteY14" fmla="*/ 149982 h 324796"/>
                <a:gd name="connsiteX15" fmla="*/ 237752 w 295101"/>
                <a:gd name="connsiteY15" fmla="*/ 138623 h 324796"/>
                <a:gd name="connsiteX16" fmla="*/ 212048 w 295101"/>
                <a:gd name="connsiteY16" fmla="*/ 158872 h 324796"/>
                <a:gd name="connsiteX17" fmla="*/ 231677 w 295101"/>
                <a:gd name="connsiteY17" fmla="*/ 175297 h 324796"/>
                <a:gd name="connsiteX18" fmla="*/ 234580 w 295101"/>
                <a:gd name="connsiteY18" fmla="*/ 193541 h 324796"/>
                <a:gd name="connsiteX19" fmla="*/ 229544 w 295101"/>
                <a:gd name="connsiteY19" fmla="*/ 220713 h 324796"/>
                <a:gd name="connsiteX20" fmla="*/ 240348 w 295101"/>
                <a:gd name="connsiteY20" fmla="*/ 235153 h 324796"/>
                <a:gd name="connsiteX21" fmla="*/ 263164 w 295101"/>
                <a:gd name="connsiteY21" fmla="*/ 250223 h 324796"/>
                <a:gd name="connsiteX22" fmla="*/ 263578 w 295101"/>
                <a:gd name="connsiteY22" fmla="*/ 268876 h 324796"/>
                <a:gd name="connsiteX23" fmla="*/ 283396 w 295101"/>
                <a:gd name="connsiteY23" fmla="*/ 259763 h 324796"/>
                <a:gd name="connsiteX24" fmla="*/ 290222 w 295101"/>
                <a:gd name="connsiteY24" fmla="*/ 270583 h 324796"/>
                <a:gd name="connsiteX25" fmla="*/ 262085 w 295101"/>
                <a:gd name="connsiteY25" fmla="*/ 302283 h 324796"/>
                <a:gd name="connsiteX26" fmla="*/ 227540 w 295101"/>
                <a:gd name="connsiteY26" fmla="*/ 304380 h 324796"/>
                <a:gd name="connsiteX27" fmla="*/ 224635 w 295101"/>
                <a:gd name="connsiteY27" fmla="*/ 323553 h 324796"/>
                <a:gd name="connsiteX28" fmla="*/ 217943 w 295101"/>
                <a:gd name="connsiteY28" fmla="*/ 313549 h 324796"/>
                <a:gd name="connsiteX29" fmla="*/ 203668 w 295101"/>
                <a:gd name="connsiteY29" fmla="*/ 320082 h 324796"/>
                <a:gd name="connsiteX30" fmla="*/ 187980 w 295101"/>
                <a:gd name="connsiteY30" fmla="*/ 312361 h 324796"/>
                <a:gd name="connsiteX31" fmla="*/ 178817 w 295101"/>
                <a:gd name="connsiteY31" fmla="*/ 281515 h 324796"/>
                <a:gd name="connsiteX32" fmla="*/ 163562 w 295101"/>
                <a:gd name="connsiteY32" fmla="*/ 271177 h 324796"/>
                <a:gd name="connsiteX33" fmla="*/ 159791 w 295101"/>
                <a:gd name="connsiteY33" fmla="*/ 258167 h 324796"/>
                <a:gd name="connsiteX34" fmla="*/ 143746 w 295101"/>
                <a:gd name="connsiteY34" fmla="*/ 242873 h 324796"/>
                <a:gd name="connsiteX35" fmla="*/ 140841 w 295101"/>
                <a:gd name="connsiteY35" fmla="*/ 262046 h 324796"/>
                <a:gd name="connsiteX36" fmla="*/ 131355 w 295101"/>
                <a:gd name="connsiteY36" fmla="*/ 255884 h 324796"/>
                <a:gd name="connsiteX37" fmla="*/ 117252 w 295101"/>
                <a:gd name="connsiteY37" fmla="*/ 258130 h 324796"/>
                <a:gd name="connsiteX38" fmla="*/ 109991 w 295101"/>
                <a:gd name="connsiteY38" fmla="*/ 249945 h 324796"/>
                <a:gd name="connsiteX39" fmla="*/ 104240 w 295101"/>
                <a:gd name="connsiteY39" fmla="*/ 261916 h 324796"/>
                <a:gd name="connsiteX40" fmla="*/ 89683 w 295101"/>
                <a:gd name="connsiteY40" fmla="*/ 250613 h 324796"/>
                <a:gd name="connsiteX41" fmla="*/ 76749 w 295101"/>
                <a:gd name="connsiteY41" fmla="*/ 244173 h 324796"/>
                <a:gd name="connsiteX42" fmla="*/ 78729 w 295101"/>
                <a:gd name="connsiteY42" fmla="*/ 219191 h 324796"/>
                <a:gd name="connsiteX43" fmla="*/ 55292 w 295101"/>
                <a:gd name="connsiteY43" fmla="*/ 194859 h 324796"/>
                <a:gd name="connsiteX44" fmla="*/ 61648 w 295101"/>
                <a:gd name="connsiteY44" fmla="*/ 175984 h 324796"/>
                <a:gd name="connsiteX45" fmla="*/ 55483 w 295101"/>
                <a:gd name="connsiteY45" fmla="*/ 169321 h 324796"/>
                <a:gd name="connsiteX46" fmla="*/ 64421 w 295101"/>
                <a:gd name="connsiteY46" fmla="*/ 155995 h 324796"/>
                <a:gd name="connsiteX47" fmla="*/ 30668 w 295101"/>
                <a:gd name="connsiteY47" fmla="*/ 125631 h 324796"/>
                <a:gd name="connsiteX48" fmla="*/ 20410 w 295101"/>
                <a:gd name="connsiteY48" fmla="*/ 130679 h 324796"/>
                <a:gd name="connsiteX49" fmla="*/ 5722 w 295101"/>
                <a:gd name="connsiteY49" fmla="*/ 118560 h 324796"/>
                <a:gd name="connsiteX50" fmla="*/ 16980 w 295101"/>
                <a:gd name="connsiteY50" fmla="*/ 109113 h 324796"/>
                <a:gd name="connsiteX51" fmla="*/ 10984 w 295101"/>
                <a:gd name="connsiteY51" fmla="*/ 98163 h 324796"/>
                <a:gd name="connsiteX52" fmla="*/ 35800 w 295101"/>
                <a:gd name="connsiteY52" fmla="*/ 104417 h 324796"/>
                <a:gd name="connsiteX53" fmla="*/ 43191 w 295101"/>
                <a:gd name="connsiteY53" fmla="*/ 113437 h 324796"/>
                <a:gd name="connsiteX54" fmla="*/ 55448 w 295101"/>
                <a:gd name="connsiteY54" fmla="*/ 99592 h 324796"/>
                <a:gd name="connsiteX55" fmla="*/ 2784 w 295101"/>
                <a:gd name="connsiteY55" fmla="*/ 67984 h 324796"/>
                <a:gd name="connsiteX56" fmla="*/ 12118 w 295101"/>
                <a:gd name="connsiteY56" fmla="*/ 57146 h 324796"/>
                <a:gd name="connsiteX57" fmla="*/ 34161 w 295101"/>
                <a:gd name="connsiteY57" fmla="*/ 45991 h 324796"/>
                <a:gd name="connsiteX58" fmla="*/ 53697 w 295101"/>
                <a:gd name="connsiteY58" fmla="*/ 56496 h 324796"/>
                <a:gd name="connsiteX59" fmla="*/ 65615 w 295101"/>
                <a:gd name="connsiteY59" fmla="*/ 51188 h 324796"/>
                <a:gd name="connsiteX60" fmla="*/ 104438 w 295101"/>
                <a:gd name="connsiteY60" fmla="*/ 86693 h 324796"/>
                <a:gd name="connsiteX61" fmla="*/ 121938 w 295101"/>
                <a:gd name="connsiteY61" fmla="*/ 73701 h 324796"/>
                <a:gd name="connsiteX62" fmla="*/ 136044 w 295101"/>
                <a:gd name="connsiteY62" fmla="*/ 71455 h 324796"/>
                <a:gd name="connsiteX63" fmla="*/ 146265 w 295101"/>
                <a:gd name="connsiteY63" fmla="*/ 34113 h 324796"/>
                <a:gd name="connsiteX64" fmla="*/ 162124 w 295101"/>
                <a:gd name="connsiteY64" fmla="*/ 37546 h 324796"/>
                <a:gd name="connsiteX65" fmla="*/ 159087 w 295101"/>
                <a:gd name="connsiteY65" fmla="*/ 18467 h 324796"/>
                <a:gd name="connsiteX66" fmla="*/ 169535 w 295101"/>
                <a:gd name="connsiteY66" fmla="*/ 25316 h 324796"/>
                <a:gd name="connsiteX67" fmla="*/ 188618 w 295101"/>
                <a:gd name="connsiteY67" fmla="*/ 22272 h 324796"/>
                <a:gd name="connsiteX68" fmla="*/ 204232 w 295101"/>
                <a:gd name="connsiteY68" fmla="*/ 2784 h 32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95101" h="324796">
                  <a:moveTo>
                    <a:pt x="204232" y="2784"/>
                  </a:moveTo>
                  <a:lnTo>
                    <a:pt x="221673" y="16166"/>
                  </a:lnTo>
                  <a:lnTo>
                    <a:pt x="240812" y="24183"/>
                  </a:lnTo>
                  <a:lnTo>
                    <a:pt x="258407" y="17131"/>
                  </a:lnTo>
                  <a:lnTo>
                    <a:pt x="278017" y="17409"/>
                  </a:lnTo>
                  <a:lnTo>
                    <a:pt x="286221" y="10152"/>
                  </a:lnTo>
                  <a:lnTo>
                    <a:pt x="283975" y="33463"/>
                  </a:lnTo>
                  <a:lnTo>
                    <a:pt x="291894" y="45806"/>
                  </a:lnTo>
                  <a:lnTo>
                    <a:pt x="293928" y="69302"/>
                  </a:lnTo>
                  <a:lnTo>
                    <a:pt x="282143" y="75427"/>
                  </a:lnTo>
                  <a:lnTo>
                    <a:pt x="266094" y="97532"/>
                  </a:lnTo>
                  <a:lnTo>
                    <a:pt x="277503" y="105085"/>
                  </a:lnTo>
                  <a:lnTo>
                    <a:pt x="282594" y="126374"/>
                  </a:lnTo>
                  <a:lnTo>
                    <a:pt x="277935" y="139885"/>
                  </a:lnTo>
                  <a:lnTo>
                    <a:pt x="262529" y="149982"/>
                  </a:lnTo>
                  <a:lnTo>
                    <a:pt x="237752" y="138623"/>
                  </a:lnTo>
                  <a:lnTo>
                    <a:pt x="212048" y="158872"/>
                  </a:lnTo>
                  <a:lnTo>
                    <a:pt x="231677" y="175297"/>
                  </a:lnTo>
                  <a:lnTo>
                    <a:pt x="234580" y="193541"/>
                  </a:lnTo>
                  <a:lnTo>
                    <a:pt x="229544" y="220713"/>
                  </a:lnTo>
                  <a:lnTo>
                    <a:pt x="240348" y="235153"/>
                  </a:lnTo>
                  <a:lnTo>
                    <a:pt x="263164" y="250223"/>
                  </a:lnTo>
                  <a:lnTo>
                    <a:pt x="263578" y="268876"/>
                  </a:lnTo>
                  <a:lnTo>
                    <a:pt x="283396" y="259763"/>
                  </a:lnTo>
                  <a:lnTo>
                    <a:pt x="290222" y="270583"/>
                  </a:lnTo>
                  <a:lnTo>
                    <a:pt x="262085" y="302283"/>
                  </a:lnTo>
                  <a:lnTo>
                    <a:pt x="227540" y="304380"/>
                  </a:lnTo>
                  <a:lnTo>
                    <a:pt x="224635" y="323553"/>
                  </a:lnTo>
                  <a:lnTo>
                    <a:pt x="217943" y="313549"/>
                  </a:lnTo>
                  <a:lnTo>
                    <a:pt x="203668" y="320082"/>
                  </a:lnTo>
                  <a:lnTo>
                    <a:pt x="187980" y="312361"/>
                  </a:lnTo>
                  <a:lnTo>
                    <a:pt x="178817" y="281515"/>
                  </a:lnTo>
                  <a:lnTo>
                    <a:pt x="163562" y="271177"/>
                  </a:lnTo>
                  <a:lnTo>
                    <a:pt x="159791" y="258167"/>
                  </a:lnTo>
                  <a:lnTo>
                    <a:pt x="143746" y="242873"/>
                  </a:lnTo>
                  <a:lnTo>
                    <a:pt x="140841" y="262046"/>
                  </a:lnTo>
                  <a:lnTo>
                    <a:pt x="131355" y="255884"/>
                  </a:lnTo>
                  <a:lnTo>
                    <a:pt x="117252" y="258130"/>
                  </a:lnTo>
                  <a:lnTo>
                    <a:pt x="109991" y="249945"/>
                  </a:lnTo>
                  <a:lnTo>
                    <a:pt x="104240" y="261916"/>
                  </a:lnTo>
                  <a:lnTo>
                    <a:pt x="89683" y="250613"/>
                  </a:lnTo>
                  <a:lnTo>
                    <a:pt x="76749" y="244173"/>
                  </a:lnTo>
                  <a:lnTo>
                    <a:pt x="78729" y="219191"/>
                  </a:lnTo>
                  <a:lnTo>
                    <a:pt x="55292" y="194859"/>
                  </a:lnTo>
                  <a:lnTo>
                    <a:pt x="61648" y="175984"/>
                  </a:lnTo>
                  <a:lnTo>
                    <a:pt x="55483" y="169321"/>
                  </a:lnTo>
                  <a:lnTo>
                    <a:pt x="64421" y="155995"/>
                  </a:lnTo>
                  <a:lnTo>
                    <a:pt x="30668" y="125631"/>
                  </a:lnTo>
                  <a:lnTo>
                    <a:pt x="20410" y="130679"/>
                  </a:lnTo>
                  <a:lnTo>
                    <a:pt x="5722" y="118560"/>
                  </a:lnTo>
                  <a:lnTo>
                    <a:pt x="16980" y="109113"/>
                  </a:lnTo>
                  <a:lnTo>
                    <a:pt x="10984" y="98163"/>
                  </a:lnTo>
                  <a:lnTo>
                    <a:pt x="35800" y="104417"/>
                  </a:lnTo>
                  <a:lnTo>
                    <a:pt x="43191" y="113437"/>
                  </a:lnTo>
                  <a:lnTo>
                    <a:pt x="55448" y="99592"/>
                  </a:lnTo>
                  <a:lnTo>
                    <a:pt x="2784" y="67984"/>
                  </a:lnTo>
                  <a:lnTo>
                    <a:pt x="12118" y="57146"/>
                  </a:lnTo>
                  <a:lnTo>
                    <a:pt x="34161" y="45991"/>
                  </a:lnTo>
                  <a:lnTo>
                    <a:pt x="53697" y="56496"/>
                  </a:lnTo>
                  <a:lnTo>
                    <a:pt x="65615" y="51188"/>
                  </a:lnTo>
                  <a:lnTo>
                    <a:pt x="104438" y="86693"/>
                  </a:lnTo>
                  <a:lnTo>
                    <a:pt x="121938" y="73701"/>
                  </a:lnTo>
                  <a:lnTo>
                    <a:pt x="136044" y="71455"/>
                  </a:lnTo>
                  <a:lnTo>
                    <a:pt x="146265" y="34113"/>
                  </a:lnTo>
                  <a:lnTo>
                    <a:pt x="162124" y="37546"/>
                  </a:lnTo>
                  <a:lnTo>
                    <a:pt x="159087" y="18467"/>
                  </a:lnTo>
                  <a:lnTo>
                    <a:pt x="169535" y="25316"/>
                  </a:lnTo>
                  <a:lnTo>
                    <a:pt x="188618" y="22272"/>
                  </a:lnTo>
                  <a:lnTo>
                    <a:pt x="204232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BD91167-B1F6-498B-968F-8670B31174B7}"/>
                </a:ext>
              </a:extLst>
            </p:cNvPr>
            <p:cNvSpPr/>
            <p:nvPr/>
          </p:nvSpPr>
          <p:spPr>
            <a:xfrm>
              <a:off x="1696102" y="5596336"/>
              <a:ext cx="155903" cy="180030"/>
            </a:xfrm>
            <a:custGeom>
              <a:avLst/>
              <a:gdLst>
                <a:gd name="connsiteX0" fmla="*/ 125971 w 155902"/>
                <a:gd name="connsiteY0" fmla="*/ 149926 h 180029"/>
                <a:gd name="connsiteX1" fmla="*/ 102608 w 155902"/>
                <a:gd name="connsiteY1" fmla="*/ 152803 h 180029"/>
                <a:gd name="connsiteX2" fmla="*/ 65685 w 155902"/>
                <a:gd name="connsiteY2" fmla="*/ 177376 h 180029"/>
                <a:gd name="connsiteX3" fmla="*/ 56067 w 155902"/>
                <a:gd name="connsiteY3" fmla="*/ 170416 h 180029"/>
                <a:gd name="connsiteX4" fmla="*/ 27238 w 155902"/>
                <a:gd name="connsiteY4" fmla="*/ 128211 h 180029"/>
                <a:gd name="connsiteX5" fmla="*/ 7572 w 155902"/>
                <a:gd name="connsiteY5" fmla="*/ 116889 h 180029"/>
                <a:gd name="connsiteX6" fmla="*/ 16737 w 155902"/>
                <a:gd name="connsiteY6" fmla="*/ 110338 h 180029"/>
                <a:gd name="connsiteX7" fmla="*/ 2784 w 155902"/>
                <a:gd name="connsiteY7" fmla="*/ 92149 h 180029"/>
                <a:gd name="connsiteX8" fmla="*/ 25657 w 155902"/>
                <a:gd name="connsiteY8" fmla="*/ 80847 h 180029"/>
                <a:gd name="connsiteX9" fmla="*/ 17381 w 155902"/>
                <a:gd name="connsiteY9" fmla="*/ 60913 h 180029"/>
                <a:gd name="connsiteX10" fmla="*/ 15780 w 155902"/>
                <a:gd name="connsiteY10" fmla="*/ 34800 h 180029"/>
                <a:gd name="connsiteX11" fmla="*/ 27829 w 155902"/>
                <a:gd name="connsiteY11" fmla="*/ 30327 h 180029"/>
                <a:gd name="connsiteX12" fmla="*/ 56624 w 155902"/>
                <a:gd name="connsiteY12" fmla="*/ 2784 h 180029"/>
                <a:gd name="connsiteX13" fmla="*/ 64186 w 155902"/>
                <a:gd name="connsiteY13" fmla="*/ 7535 h 180029"/>
                <a:gd name="connsiteX14" fmla="*/ 87812 w 155902"/>
                <a:gd name="connsiteY14" fmla="*/ 6329 h 180029"/>
                <a:gd name="connsiteX15" fmla="*/ 100069 w 155902"/>
                <a:gd name="connsiteY15" fmla="*/ 29900 h 180029"/>
                <a:gd name="connsiteX16" fmla="*/ 112513 w 155902"/>
                <a:gd name="connsiteY16" fmla="*/ 27914 h 180029"/>
                <a:gd name="connsiteX17" fmla="*/ 125168 w 155902"/>
                <a:gd name="connsiteY17" fmla="*/ 16537 h 180029"/>
                <a:gd name="connsiteX18" fmla="*/ 154017 w 155902"/>
                <a:gd name="connsiteY18" fmla="*/ 37472 h 180029"/>
                <a:gd name="connsiteX19" fmla="*/ 140233 w 155902"/>
                <a:gd name="connsiteY19" fmla="*/ 52413 h 180029"/>
                <a:gd name="connsiteX20" fmla="*/ 143867 w 155902"/>
                <a:gd name="connsiteY20" fmla="*/ 139440 h 180029"/>
                <a:gd name="connsiteX21" fmla="*/ 127140 w 155902"/>
                <a:gd name="connsiteY21" fmla="*/ 141240 h 180029"/>
                <a:gd name="connsiteX22" fmla="*/ 125971 w 155902"/>
                <a:gd name="connsiteY22" fmla="*/ 149926 h 180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5902" h="180029">
                  <a:moveTo>
                    <a:pt x="125971" y="149926"/>
                  </a:moveTo>
                  <a:lnTo>
                    <a:pt x="102608" y="152803"/>
                  </a:lnTo>
                  <a:lnTo>
                    <a:pt x="65685" y="177376"/>
                  </a:lnTo>
                  <a:lnTo>
                    <a:pt x="56067" y="170416"/>
                  </a:lnTo>
                  <a:lnTo>
                    <a:pt x="27238" y="128211"/>
                  </a:lnTo>
                  <a:lnTo>
                    <a:pt x="7572" y="116889"/>
                  </a:lnTo>
                  <a:lnTo>
                    <a:pt x="16737" y="110338"/>
                  </a:lnTo>
                  <a:lnTo>
                    <a:pt x="2784" y="92149"/>
                  </a:lnTo>
                  <a:lnTo>
                    <a:pt x="25657" y="80847"/>
                  </a:lnTo>
                  <a:lnTo>
                    <a:pt x="17381" y="60913"/>
                  </a:lnTo>
                  <a:lnTo>
                    <a:pt x="15780" y="34800"/>
                  </a:lnTo>
                  <a:lnTo>
                    <a:pt x="27829" y="30327"/>
                  </a:lnTo>
                  <a:lnTo>
                    <a:pt x="56624" y="2784"/>
                  </a:lnTo>
                  <a:lnTo>
                    <a:pt x="64186" y="7535"/>
                  </a:lnTo>
                  <a:lnTo>
                    <a:pt x="87812" y="6329"/>
                  </a:lnTo>
                  <a:lnTo>
                    <a:pt x="100069" y="29900"/>
                  </a:lnTo>
                  <a:lnTo>
                    <a:pt x="112513" y="27914"/>
                  </a:lnTo>
                  <a:lnTo>
                    <a:pt x="125168" y="16537"/>
                  </a:lnTo>
                  <a:lnTo>
                    <a:pt x="154017" y="37472"/>
                  </a:lnTo>
                  <a:lnTo>
                    <a:pt x="140233" y="52413"/>
                  </a:lnTo>
                  <a:lnTo>
                    <a:pt x="143867" y="139440"/>
                  </a:lnTo>
                  <a:lnTo>
                    <a:pt x="127140" y="141240"/>
                  </a:lnTo>
                  <a:lnTo>
                    <a:pt x="125971" y="14992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A10C957-C7CC-488E-83D3-4E8187410C69}"/>
                </a:ext>
              </a:extLst>
            </p:cNvPr>
            <p:cNvSpPr/>
            <p:nvPr/>
          </p:nvSpPr>
          <p:spPr>
            <a:xfrm>
              <a:off x="1629704" y="4982657"/>
              <a:ext cx="261694" cy="207870"/>
            </a:xfrm>
            <a:custGeom>
              <a:avLst/>
              <a:gdLst>
                <a:gd name="connsiteX0" fmla="*/ 241412 w 261693"/>
                <a:gd name="connsiteY0" fmla="*/ 130754 h 207869"/>
                <a:gd name="connsiteX1" fmla="*/ 244145 w 261693"/>
                <a:gd name="connsiteY1" fmla="*/ 153285 h 207869"/>
                <a:gd name="connsiteX2" fmla="*/ 237206 w 261693"/>
                <a:gd name="connsiteY2" fmla="*/ 157776 h 207869"/>
                <a:gd name="connsiteX3" fmla="*/ 256269 w 261693"/>
                <a:gd name="connsiteY3" fmla="*/ 176002 h 207869"/>
                <a:gd name="connsiteX4" fmla="*/ 259530 w 261693"/>
                <a:gd name="connsiteY4" fmla="*/ 201856 h 207869"/>
                <a:gd name="connsiteX5" fmla="*/ 253288 w 261693"/>
                <a:gd name="connsiteY5" fmla="*/ 205401 h 207869"/>
                <a:gd name="connsiteX6" fmla="*/ 241144 w 261693"/>
                <a:gd name="connsiteY6" fmla="*/ 203935 h 207869"/>
                <a:gd name="connsiteX7" fmla="*/ 218498 w 261693"/>
                <a:gd name="connsiteY7" fmla="*/ 184577 h 207869"/>
                <a:gd name="connsiteX8" fmla="*/ 201075 w 261693"/>
                <a:gd name="connsiteY8" fmla="*/ 187342 h 207869"/>
                <a:gd name="connsiteX9" fmla="*/ 196172 w 261693"/>
                <a:gd name="connsiteY9" fmla="*/ 177914 h 207869"/>
                <a:gd name="connsiteX10" fmla="*/ 185084 w 261693"/>
                <a:gd name="connsiteY10" fmla="*/ 183092 h 207869"/>
                <a:gd name="connsiteX11" fmla="*/ 171075 w 261693"/>
                <a:gd name="connsiteY11" fmla="*/ 153842 h 207869"/>
                <a:gd name="connsiteX12" fmla="*/ 148052 w 261693"/>
                <a:gd name="connsiteY12" fmla="*/ 148163 h 207869"/>
                <a:gd name="connsiteX13" fmla="*/ 145750 w 261693"/>
                <a:gd name="connsiteY13" fmla="*/ 160431 h 207869"/>
                <a:gd name="connsiteX14" fmla="*/ 120333 w 261693"/>
                <a:gd name="connsiteY14" fmla="*/ 161062 h 207869"/>
                <a:gd name="connsiteX15" fmla="*/ 106717 w 261693"/>
                <a:gd name="connsiteY15" fmla="*/ 171733 h 207869"/>
                <a:gd name="connsiteX16" fmla="*/ 93725 w 261693"/>
                <a:gd name="connsiteY16" fmla="*/ 154250 h 207869"/>
                <a:gd name="connsiteX17" fmla="*/ 69572 w 261693"/>
                <a:gd name="connsiteY17" fmla="*/ 152134 h 207869"/>
                <a:gd name="connsiteX18" fmla="*/ 41513 w 261693"/>
                <a:gd name="connsiteY18" fmla="*/ 136191 h 207869"/>
                <a:gd name="connsiteX19" fmla="*/ 27276 w 261693"/>
                <a:gd name="connsiteY19" fmla="*/ 137602 h 207869"/>
                <a:gd name="connsiteX20" fmla="*/ 13059 w 261693"/>
                <a:gd name="connsiteY20" fmla="*/ 117762 h 207869"/>
                <a:gd name="connsiteX21" fmla="*/ 2784 w 261693"/>
                <a:gd name="connsiteY21" fmla="*/ 106626 h 207869"/>
                <a:gd name="connsiteX22" fmla="*/ 19660 w 261693"/>
                <a:gd name="connsiteY22" fmla="*/ 84391 h 207869"/>
                <a:gd name="connsiteX23" fmla="*/ 39215 w 261693"/>
                <a:gd name="connsiteY23" fmla="*/ 73627 h 207869"/>
                <a:gd name="connsiteX24" fmla="*/ 52870 w 261693"/>
                <a:gd name="connsiteY24" fmla="*/ 57851 h 207869"/>
                <a:gd name="connsiteX25" fmla="*/ 40746 w 261693"/>
                <a:gd name="connsiteY25" fmla="*/ 35115 h 207869"/>
                <a:gd name="connsiteX26" fmla="*/ 40859 w 261693"/>
                <a:gd name="connsiteY26" fmla="*/ 19785 h 207869"/>
                <a:gd name="connsiteX27" fmla="*/ 50590 w 261693"/>
                <a:gd name="connsiteY27" fmla="*/ 11433 h 207869"/>
                <a:gd name="connsiteX28" fmla="*/ 70333 w 261693"/>
                <a:gd name="connsiteY28" fmla="*/ 12546 h 207869"/>
                <a:gd name="connsiteX29" fmla="*/ 80817 w 261693"/>
                <a:gd name="connsiteY29" fmla="*/ 14272 h 207869"/>
                <a:gd name="connsiteX30" fmla="*/ 94301 w 261693"/>
                <a:gd name="connsiteY30" fmla="*/ 2784 h 207869"/>
                <a:gd name="connsiteX31" fmla="*/ 107423 w 261693"/>
                <a:gd name="connsiteY31" fmla="*/ 21102 h 207869"/>
                <a:gd name="connsiteX32" fmla="*/ 139611 w 261693"/>
                <a:gd name="connsiteY32" fmla="*/ 20230 h 207869"/>
                <a:gd name="connsiteX33" fmla="*/ 136651 w 261693"/>
                <a:gd name="connsiteY33" fmla="*/ 28359 h 207869"/>
                <a:gd name="connsiteX34" fmla="*/ 157657 w 261693"/>
                <a:gd name="connsiteY34" fmla="*/ 26726 h 207869"/>
                <a:gd name="connsiteX35" fmla="*/ 167519 w 261693"/>
                <a:gd name="connsiteY35" fmla="*/ 19191 h 207869"/>
                <a:gd name="connsiteX36" fmla="*/ 184528 w 261693"/>
                <a:gd name="connsiteY36" fmla="*/ 35208 h 207869"/>
                <a:gd name="connsiteX37" fmla="*/ 178342 w 261693"/>
                <a:gd name="connsiteY37" fmla="*/ 49796 h 207869"/>
                <a:gd name="connsiteX38" fmla="*/ 184336 w 261693"/>
                <a:gd name="connsiteY38" fmla="*/ 60746 h 207869"/>
                <a:gd name="connsiteX39" fmla="*/ 208795 w 261693"/>
                <a:gd name="connsiteY39" fmla="*/ 59410 h 207869"/>
                <a:gd name="connsiteX40" fmla="*/ 221352 w 261693"/>
                <a:gd name="connsiteY40" fmla="*/ 79510 h 207869"/>
                <a:gd name="connsiteX41" fmla="*/ 221898 w 261693"/>
                <a:gd name="connsiteY41" fmla="*/ 98979 h 207869"/>
                <a:gd name="connsiteX42" fmla="*/ 241412 w 261693"/>
                <a:gd name="connsiteY42" fmla="*/ 130754 h 20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61693" h="207869">
                  <a:moveTo>
                    <a:pt x="241412" y="130754"/>
                  </a:moveTo>
                  <a:lnTo>
                    <a:pt x="244145" y="153285"/>
                  </a:lnTo>
                  <a:lnTo>
                    <a:pt x="237206" y="157776"/>
                  </a:lnTo>
                  <a:lnTo>
                    <a:pt x="256269" y="176002"/>
                  </a:lnTo>
                  <a:lnTo>
                    <a:pt x="259530" y="201856"/>
                  </a:lnTo>
                  <a:lnTo>
                    <a:pt x="253288" y="205401"/>
                  </a:lnTo>
                  <a:lnTo>
                    <a:pt x="241144" y="203935"/>
                  </a:lnTo>
                  <a:lnTo>
                    <a:pt x="218498" y="184577"/>
                  </a:lnTo>
                  <a:lnTo>
                    <a:pt x="201075" y="187342"/>
                  </a:lnTo>
                  <a:lnTo>
                    <a:pt x="196172" y="177914"/>
                  </a:lnTo>
                  <a:lnTo>
                    <a:pt x="185084" y="183092"/>
                  </a:lnTo>
                  <a:lnTo>
                    <a:pt x="171075" y="153842"/>
                  </a:lnTo>
                  <a:lnTo>
                    <a:pt x="148052" y="148163"/>
                  </a:lnTo>
                  <a:lnTo>
                    <a:pt x="145750" y="160431"/>
                  </a:lnTo>
                  <a:lnTo>
                    <a:pt x="120333" y="161062"/>
                  </a:lnTo>
                  <a:lnTo>
                    <a:pt x="106717" y="171733"/>
                  </a:lnTo>
                  <a:lnTo>
                    <a:pt x="93725" y="154250"/>
                  </a:lnTo>
                  <a:lnTo>
                    <a:pt x="69572" y="152134"/>
                  </a:lnTo>
                  <a:lnTo>
                    <a:pt x="41513" y="136191"/>
                  </a:lnTo>
                  <a:lnTo>
                    <a:pt x="27276" y="137602"/>
                  </a:lnTo>
                  <a:lnTo>
                    <a:pt x="13059" y="117762"/>
                  </a:lnTo>
                  <a:lnTo>
                    <a:pt x="2784" y="106626"/>
                  </a:lnTo>
                  <a:lnTo>
                    <a:pt x="19660" y="84391"/>
                  </a:lnTo>
                  <a:lnTo>
                    <a:pt x="39215" y="73627"/>
                  </a:lnTo>
                  <a:lnTo>
                    <a:pt x="52870" y="57851"/>
                  </a:lnTo>
                  <a:lnTo>
                    <a:pt x="40746" y="35115"/>
                  </a:lnTo>
                  <a:lnTo>
                    <a:pt x="40859" y="19785"/>
                  </a:lnTo>
                  <a:lnTo>
                    <a:pt x="50590" y="11433"/>
                  </a:lnTo>
                  <a:lnTo>
                    <a:pt x="70333" y="12546"/>
                  </a:lnTo>
                  <a:lnTo>
                    <a:pt x="80817" y="14272"/>
                  </a:lnTo>
                  <a:lnTo>
                    <a:pt x="94301" y="2784"/>
                  </a:lnTo>
                  <a:lnTo>
                    <a:pt x="107423" y="21102"/>
                  </a:lnTo>
                  <a:lnTo>
                    <a:pt x="139611" y="20230"/>
                  </a:lnTo>
                  <a:lnTo>
                    <a:pt x="136651" y="28359"/>
                  </a:lnTo>
                  <a:lnTo>
                    <a:pt x="157657" y="26726"/>
                  </a:lnTo>
                  <a:lnTo>
                    <a:pt x="167519" y="19191"/>
                  </a:lnTo>
                  <a:lnTo>
                    <a:pt x="184528" y="35208"/>
                  </a:lnTo>
                  <a:lnTo>
                    <a:pt x="178342" y="49796"/>
                  </a:lnTo>
                  <a:lnTo>
                    <a:pt x="184336" y="60746"/>
                  </a:lnTo>
                  <a:lnTo>
                    <a:pt x="208795" y="59410"/>
                  </a:lnTo>
                  <a:lnTo>
                    <a:pt x="221352" y="79510"/>
                  </a:lnTo>
                  <a:lnTo>
                    <a:pt x="221898" y="98979"/>
                  </a:lnTo>
                  <a:lnTo>
                    <a:pt x="241412" y="13075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56D795B-24D1-4A21-9AA4-178572080403}"/>
                </a:ext>
              </a:extLst>
            </p:cNvPr>
            <p:cNvSpPr/>
            <p:nvPr/>
          </p:nvSpPr>
          <p:spPr>
            <a:xfrm>
              <a:off x="1574158" y="5774678"/>
              <a:ext cx="347069" cy="308092"/>
            </a:xfrm>
            <a:custGeom>
              <a:avLst/>
              <a:gdLst>
                <a:gd name="connsiteX0" fmla="*/ 344502 w 347069"/>
                <a:gd name="connsiteY0" fmla="*/ 225817 h 308092"/>
                <a:gd name="connsiteX1" fmla="*/ 333715 w 347069"/>
                <a:gd name="connsiteY1" fmla="*/ 227524 h 308092"/>
                <a:gd name="connsiteX2" fmla="*/ 325040 w 347069"/>
                <a:gd name="connsiteY2" fmla="*/ 242521 h 308092"/>
                <a:gd name="connsiteX3" fmla="*/ 298095 w 347069"/>
                <a:gd name="connsiteY3" fmla="*/ 244247 h 308092"/>
                <a:gd name="connsiteX4" fmla="*/ 271525 w 347069"/>
                <a:gd name="connsiteY4" fmla="*/ 269729 h 308092"/>
                <a:gd name="connsiteX5" fmla="*/ 278312 w 347069"/>
                <a:gd name="connsiteY5" fmla="*/ 285672 h 308092"/>
                <a:gd name="connsiteX6" fmla="*/ 237278 w 347069"/>
                <a:gd name="connsiteY6" fmla="*/ 305791 h 308092"/>
                <a:gd name="connsiteX7" fmla="*/ 229698 w 347069"/>
                <a:gd name="connsiteY7" fmla="*/ 284893 h 308092"/>
                <a:gd name="connsiteX8" fmla="*/ 213483 w 347069"/>
                <a:gd name="connsiteY8" fmla="*/ 273868 h 308092"/>
                <a:gd name="connsiteX9" fmla="*/ 187763 w 347069"/>
                <a:gd name="connsiteY9" fmla="*/ 277951 h 308092"/>
                <a:gd name="connsiteX10" fmla="*/ 166701 w 347069"/>
                <a:gd name="connsiteY10" fmla="*/ 268560 h 308092"/>
                <a:gd name="connsiteX11" fmla="*/ 145919 w 347069"/>
                <a:gd name="connsiteY11" fmla="*/ 276968 h 308092"/>
                <a:gd name="connsiteX12" fmla="*/ 152538 w 347069"/>
                <a:gd name="connsiteY12" fmla="*/ 297161 h 308092"/>
                <a:gd name="connsiteX13" fmla="*/ 142035 w 347069"/>
                <a:gd name="connsiteY13" fmla="*/ 279288 h 308092"/>
                <a:gd name="connsiteX14" fmla="*/ 126272 w 347069"/>
                <a:gd name="connsiteY14" fmla="*/ 281793 h 308092"/>
                <a:gd name="connsiteX15" fmla="*/ 116654 w 347069"/>
                <a:gd name="connsiteY15" fmla="*/ 274815 h 308092"/>
                <a:gd name="connsiteX16" fmla="*/ 122105 w 347069"/>
                <a:gd name="connsiteY16" fmla="*/ 266296 h 308092"/>
                <a:gd name="connsiteX17" fmla="*/ 114317 w 347069"/>
                <a:gd name="connsiteY17" fmla="*/ 254770 h 308092"/>
                <a:gd name="connsiteX18" fmla="*/ 111979 w 347069"/>
                <a:gd name="connsiteY18" fmla="*/ 272160 h 308092"/>
                <a:gd name="connsiteX19" fmla="*/ 101418 w 347069"/>
                <a:gd name="connsiteY19" fmla="*/ 280642 h 308092"/>
                <a:gd name="connsiteX20" fmla="*/ 89219 w 347069"/>
                <a:gd name="connsiteY20" fmla="*/ 268115 h 308092"/>
                <a:gd name="connsiteX21" fmla="*/ 62008 w 347069"/>
                <a:gd name="connsiteY21" fmla="*/ 268207 h 308092"/>
                <a:gd name="connsiteX22" fmla="*/ 53900 w 347069"/>
                <a:gd name="connsiteY22" fmla="*/ 281385 h 308092"/>
                <a:gd name="connsiteX23" fmla="*/ 31084 w 347069"/>
                <a:gd name="connsiteY23" fmla="*/ 266314 h 308092"/>
                <a:gd name="connsiteX24" fmla="*/ 20280 w 347069"/>
                <a:gd name="connsiteY24" fmla="*/ 251875 h 308092"/>
                <a:gd name="connsiteX25" fmla="*/ 25316 w 347069"/>
                <a:gd name="connsiteY25" fmla="*/ 224703 h 308092"/>
                <a:gd name="connsiteX26" fmla="*/ 22413 w 347069"/>
                <a:gd name="connsiteY26" fmla="*/ 206459 h 308092"/>
                <a:gd name="connsiteX27" fmla="*/ 2784 w 347069"/>
                <a:gd name="connsiteY27" fmla="*/ 190033 h 308092"/>
                <a:gd name="connsiteX28" fmla="*/ 28487 w 347069"/>
                <a:gd name="connsiteY28" fmla="*/ 169785 h 308092"/>
                <a:gd name="connsiteX29" fmla="*/ 53265 w 347069"/>
                <a:gd name="connsiteY29" fmla="*/ 181143 h 308092"/>
                <a:gd name="connsiteX30" fmla="*/ 68670 w 347069"/>
                <a:gd name="connsiteY30" fmla="*/ 171047 h 308092"/>
                <a:gd name="connsiteX31" fmla="*/ 73328 w 347069"/>
                <a:gd name="connsiteY31" fmla="*/ 157535 h 308092"/>
                <a:gd name="connsiteX32" fmla="*/ 68239 w 347069"/>
                <a:gd name="connsiteY32" fmla="*/ 136247 h 308092"/>
                <a:gd name="connsiteX33" fmla="*/ 56830 w 347069"/>
                <a:gd name="connsiteY33" fmla="*/ 128693 h 308092"/>
                <a:gd name="connsiteX34" fmla="*/ 72879 w 347069"/>
                <a:gd name="connsiteY34" fmla="*/ 106589 h 308092"/>
                <a:gd name="connsiteX35" fmla="*/ 84664 w 347069"/>
                <a:gd name="connsiteY35" fmla="*/ 100464 h 308092"/>
                <a:gd name="connsiteX36" fmla="*/ 82630 w 347069"/>
                <a:gd name="connsiteY36" fmla="*/ 76967 h 308092"/>
                <a:gd name="connsiteX37" fmla="*/ 74711 w 347069"/>
                <a:gd name="connsiteY37" fmla="*/ 64625 h 308092"/>
                <a:gd name="connsiteX38" fmla="*/ 76957 w 347069"/>
                <a:gd name="connsiteY38" fmla="*/ 41314 h 308092"/>
                <a:gd name="connsiteX39" fmla="*/ 100828 w 347069"/>
                <a:gd name="connsiteY39" fmla="*/ 25612 h 308092"/>
                <a:gd name="connsiteX40" fmla="*/ 94646 w 347069"/>
                <a:gd name="connsiteY40" fmla="*/ 2784 h 308092"/>
                <a:gd name="connsiteX41" fmla="*/ 129550 w 347069"/>
                <a:gd name="connsiteY41" fmla="*/ 8278 h 308092"/>
                <a:gd name="connsiteX42" fmla="*/ 142296 w 347069"/>
                <a:gd name="connsiteY42" fmla="*/ 2858 h 308092"/>
                <a:gd name="connsiteX43" fmla="*/ 155853 w 347069"/>
                <a:gd name="connsiteY43" fmla="*/ 18560 h 308092"/>
                <a:gd name="connsiteX44" fmla="*/ 186268 w 347069"/>
                <a:gd name="connsiteY44" fmla="*/ 33278 h 308092"/>
                <a:gd name="connsiteX45" fmla="*/ 194902 w 347069"/>
                <a:gd name="connsiteY45" fmla="*/ 60820 h 308092"/>
                <a:gd name="connsiteX46" fmla="*/ 234802 w 347069"/>
                <a:gd name="connsiteY46" fmla="*/ 81682 h 308092"/>
                <a:gd name="connsiteX47" fmla="*/ 250528 w 347069"/>
                <a:gd name="connsiteY47" fmla="*/ 84280 h 308092"/>
                <a:gd name="connsiteX48" fmla="*/ 272175 w 347069"/>
                <a:gd name="connsiteY48" fmla="*/ 108055 h 308092"/>
                <a:gd name="connsiteX49" fmla="*/ 272418 w 347069"/>
                <a:gd name="connsiteY49" fmla="*/ 130976 h 308092"/>
                <a:gd name="connsiteX50" fmla="*/ 256974 w 347069"/>
                <a:gd name="connsiteY50" fmla="*/ 146195 h 308092"/>
                <a:gd name="connsiteX51" fmla="*/ 277601 w 347069"/>
                <a:gd name="connsiteY51" fmla="*/ 158222 h 308092"/>
                <a:gd name="connsiteX52" fmla="*/ 292536 w 347069"/>
                <a:gd name="connsiteY52" fmla="*/ 155846 h 308092"/>
                <a:gd name="connsiteX53" fmla="*/ 291291 w 347069"/>
                <a:gd name="connsiteY53" fmla="*/ 174740 h 308092"/>
                <a:gd name="connsiteX54" fmla="*/ 308468 w 347069"/>
                <a:gd name="connsiteY54" fmla="*/ 186470 h 308092"/>
                <a:gd name="connsiteX55" fmla="*/ 319424 w 347069"/>
                <a:gd name="connsiteY55" fmla="*/ 180475 h 308092"/>
                <a:gd name="connsiteX56" fmla="*/ 325911 w 347069"/>
                <a:gd name="connsiteY56" fmla="*/ 199852 h 308092"/>
                <a:gd name="connsiteX57" fmla="*/ 339638 w 347069"/>
                <a:gd name="connsiteY57" fmla="*/ 211284 h 308092"/>
                <a:gd name="connsiteX58" fmla="*/ 344502 w 347069"/>
                <a:gd name="connsiteY58" fmla="*/ 225817 h 308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47069" h="308092">
                  <a:moveTo>
                    <a:pt x="344502" y="225817"/>
                  </a:moveTo>
                  <a:lnTo>
                    <a:pt x="333715" y="227524"/>
                  </a:lnTo>
                  <a:lnTo>
                    <a:pt x="325040" y="242521"/>
                  </a:lnTo>
                  <a:lnTo>
                    <a:pt x="298095" y="244247"/>
                  </a:lnTo>
                  <a:lnTo>
                    <a:pt x="271525" y="269729"/>
                  </a:lnTo>
                  <a:lnTo>
                    <a:pt x="278312" y="285672"/>
                  </a:lnTo>
                  <a:lnTo>
                    <a:pt x="237278" y="305791"/>
                  </a:lnTo>
                  <a:lnTo>
                    <a:pt x="229698" y="284893"/>
                  </a:lnTo>
                  <a:lnTo>
                    <a:pt x="213483" y="273868"/>
                  </a:lnTo>
                  <a:lnTo>
                    <a:pt x="187763" y="277951"/>
                  </a:lnTo>
                  <a:lnTo>
                    <a:pt x="166701" y="268560"/>
                  </a:lnTo>
                  <a:lnTo>
                    <a:pt x="145919" y="276968"/>
                  </a:lnTo>
                  <a:lnTo>
                    <a:pt x="152538" y="297161"/>
                  </a:lnTo>
                  <a:lnTo>
                    <a:pt x="142035" y="279288"/>
                  </a:lnTo>
                  <a:lnTo>
                    <a:pt x="126272" y="281793"/>
                  </a:lnTo>
                  <a:lnTo>
                    <a:pt x="116654" y="274815"/>
                  </a:lnTo>
                  <a:lnTo>
                    <a:pt x="122105" y="266296"/>
                  </a:lnTo>
                  <a:lnTo>
                    <a:pt x="114317" y="254770"/>
                  </a:lnTo>
                  <a:lnTo>
                    <a:pt x="111979" y="272160"/>
                  </a:lnTo>
                  <a:lnTo>
                    <a:pt x="101418" y="280642"/>
                  </a:lnTo>
                  <a:lnTo>
                    <a:pt x="89219" y="268115"/>
                  </a:lnTo>
                  <a:lnTo>
                    <a:pt x="62008" y="268207"/>
                  </a:lnTo>
                  <a:lnTo>
                    <a:pt x="53900" y="281385"/>
                  </a:lnTo>
                  <a:lnTo>
                    <a:pt x="31084" y="266314"/>
                  </a:lnTo>
                  <a:lnTo>
                    <a:pt x="20280" y="251875"/>
                  </a:lnTo>
                  <a:lnTo>
                    <a:pt x="25316" y="224703"/>
                  </a:lnTo>
                  <a:lnTo>
                    <a:pt x="22413" y="206459"/>
                  </a:lnTo>
                  <a:lnTo>
                    <a:pt x="2784" y="190033"/>
                  </a:lnTo>
                  <a:lnTo>
                    <a:pt x="28487" y="169785"/>
                  </a:lnTo>
                  <a:lnTo>
                    <a:pt x="53265" y="181143"/>
                  </a:lnTo>
                  <a:lnTo>
                    <a:pt x="68670" y="171047"/>
                  </a:lnTo>
                  <a:lnTo>
                    <a:pt x="73328" y="157535"/>
                  </a:lnTo>
                  <a:lnTo>
                    <a:pt x="68239" y="136247"/>
                  </a:lnTo>
                  <a:lnTo>
                    <a:pt x="56830" y="128693"/>
                  </a:lnTo>
                  <a:lnTo>
                    <a:pt x="72879" y="106589"/>
                  </a:lnTo>
                  <a:lnTo>
                    <a:pt x="84664" y="100464"/>
                  </a:lnTo>
                  <a:lnTo>
                    <a:pt x="82630" y="76967"/>
                  </a:lnTo>
                  <a:lnTo>
                    <a:pt x="74711" y="64625"/>
                  </a:lnTo>
                  <a:lnTo>
                    <a:pt x="76957" y="41314"/>
                  </a:lnTo>
                  <a:lnTo>
                    <a:pt x="100828" y="25612"/>
                  </a:lnTo>
                  <a:lnTo>
                    <a:pt x="94646" y="2784"/>
                  </a:lnTo>
                  <a:lnTo>
                    <a:pt x="129550" y="8278"/>
                  </a:lnTo>
                  <a:lnTo>
                    <a:pt x="142296" y="2858"/>
                  </a:lnTo>
                  <a:lnTo>
                    <a:pt x="155853" y="18560"/>
                  </a:lnTo>
                  <a:lnTo>
                    <a:pt x="186268" y="33278"/>
                  </a:lnTo>
                  <a:lnTo>
                    <a:pt x="194902" y="60820"/>
                  </a:lnTo>
                  <a:lnTo>
                    <a:pt x="234802" y="81682"/>
                  </a:lnTo>
                  <a:lnTo>
                    <a:pt x="250528" y="84280"/>
                  </a:lnTo>
                  <a:lnTo>
                    <a:pt x="272175" y="108055"/>
                  </a:lnTo>
                  <a:lnTo>
                    <a:pt x="272418" y="130976"/>
                  </a:lnTo>
                  <a:lnTo>
                    <a:pt x="256974" y="146195"/>
                  </a:lnTo>
                  <a:lnTo>
                    <a:pt x="277601" y="158222"/>
                  </a:lnTo>
                  <a:lnTo>
                    <a:pt x="292536" y="155846"/>
                  </a:lnTo>
                  <a:lnTo>
                    <a:pt x="291291" y="174740"/>
                  </a:lnTo>
                  <a:lnTo>
                    <a:pt x="308468" y="186470"/>
                  </a:lnTo>
                  <a:lnTo>
                    <a:pt x="319424" y="180475"/>
                  </a:lnTo>
                  <a:lnTo>
                    <a:pt x="325911" y="199852"/>
                  </a:lnTo>
                  <a:lnTo>
                    <a:pt x="339638" y="211284"/>
                  </a:lnTo>
                  <a:lnTo>
                    <a:pt x="344502" y="22581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585FDF6-2DEF-4759-BA92-FE9A341E892C}"/>
                </a:ext>
              </a:extLst>
            </p:cNvPr>
            <p:cNvSpPr/>
            <p:nvPr/>
          </p:nvSpPr>
          <p:spPr>
            <a:xfrm>
              <a:off x="2161599" y="5323767"/>
              <a:ext cx="380477" cy="417595"/>
            </a:xfrm>
            <a:custGeom>
              <a:avLst/>
              <a:gdLst>
                <a:gd name="connsiteX0" fmla="*/ 36240 w 380476"/>
                <a:gd name="connsiteY0" fmla="*/ 169674 h 417595"/>
                <a:gd name="connsiteX1" fmla="*/ 66392 w 380476"/>
                <a:gd name="connsiteY1" fmla="*/ 145323 h 417595"/>
                <a:gd name="connsiteX2" fmla="*/ 83477 w 380476"/>
                <a:gd name="connsiteY2" fmla="*/ 151114 h 417595"/>
                <a:gd name="connsiteX3" fmla="*/ 104822 w 380476"/>
                <a:gd name="connsiteY3" fmla="*/ 140906 h 417595"/>
                <a:gd name="connsiteX4" fmla="*/ 116099 w 380476"/>
                <a:gd name="connsiteY4" fmla="*/ 147625 h 417595"/>
                <a:gd name="connsiteX5" fmla="*/ 121285 w 380476"/>
                <a:gd name="connsiteY5" fmla="*/ 137435 h 417595"/>
                <a:gd name="connsiteX6" fmla="*/ 116970 w 380476"/>
                <a:gd name="connsiteY6" fmla="*/ 104956 h 417595"/>
                <a:gd name="connsiteX7" fmla="*/ 128529 w 380476"/>
                <a:gd name="connsiteY7" fmla="*/ 92056 h 417595"/>
                <a:gd name="connsiteX8" fmla="*/ 132263 w 380476"/>
                <a:gd name="connsiteY8" fmla="*/ 72754 h 417595"/>
                <a:gd name="connsiteX9" fmla="*/ 147142 w 380476"/>
                <a:gd name="connsiteY9" fmla="*/ 59336 h 417595"/>
                <a:gd name="connsiteX10" fmla="*/ 131322 w 380476"/>
                <a:gd name="connsiteY10" fmla="*/ 50798 h 417595"/>
                <a:gd name="connsiteX11" fmla="*/ 128551 w 380476"/>
                <a:gd name="connsiteY11" fmla="*/ 33389 h 417595"/>
                <a:gd name="connsiteX12" fmla="*/ 144371 w 380476"/>
                <a:gd name="connsiteY12" fmla="*/ 41926 h 417595"/>
                <a:gd name="connsiteX13" fmla="*/ 179540 w 380476"/>
                <a:gd name="connsiteY13" fmla="*/ 11656 h 417595"/>
                <a:gd name="connsiteX14" fmla="*/ 192590 w 380476"/>
                <a:gd name="connsiteY14" fmla="*/ 2784 h 417595"/>
                <a:gd name="connsiteX15" fmla="*/ 216064 w 380476"/>
                <a:gd name="connsiteY15" fmla="*/ 22012 h 417595"/>
                <a:gd name="connsiteX16" fmla="*/ 212143 w 380476"/>
                <a:gd name="connsiteY16" fmla="*/ 29436 h 417595"/>
                <a:gd name="connsiteX17" fmla="*/ 225040 w 380476"/>
                <a:gd name="connsiteY17" fmla="*/ 40998 h 417595"/>
                <a:gd name="connsiteX18" fmla="*/ 216042 w 380476"/>
                <a:gd name="connsiteY18" fmla="*/ 80698 h 417595"/>
                <a:gd name="connsiteX19" fmla="*/ 199581 w 380476"/>
                <a:gd name="connsiteY19" fmla="*/ 84169 h 417595"/>
                <a:gd name="connsiteX20" fmla="*/ 181797 w 380476"/>
                <a:gd name="connsiteY20" fmla="*/ 116760 h 417595"/>
                <a:gd name="connsiteX21" fmla="*/ 198806 w 380476"/>
                <a:gd name="connsiteY21" fmla="*/ 132758 h 417595"/>
                <a:gd name="connsiteX22" fmla="*/ 190866 w 380476"/>
                <a:gd name="connsiteY22" fmla="*/ 141685 h 417595"/>
                <a:gd name="connsiteX23" fmla="*/ 204819 w 380476"/>
                <a:gd name="connsiteY23" fmla="*/ 159874 h 417595"/>
                <a:gd name="connsiteX24" fmla="*/ 197841 w 380476"/>
                <a:gd name="connsiteY24" fmla="*/ 169488 h 417595"/>
                <a:gd name="connsiteX25" fmla="*/ 207326 w 380476"/>
                <a:gd name="connsiteY25" fmla="*/ 175631 h 417595"/>
                <a:gd name="connsiteX26" fmla="*/ 224505 w 380476"/>
                <a:gd name="connsiteY26" fmla="*/ 149926 h 417595"/>
                <a:gd name="connsiteX27" fmla="*/ 252414 w 380476"/>
                <a:gd name="connsiteY27" fmla="*/ 148887 h 417595"/>
                <a:gd name="connsiteX28" fmla="*/ 268798 w 380476"/>
                <a:gd name="connsiteY28" fmla="*/ 155642 h 417595"/>
                <a:gd name="connsiteX29" fmla="*/ 284734 w 380476"/>
                <a:gd name="connsiteY29" fmla="*/ 148850 h 417595"/>
                <a:gd name="connsiteX30" fmla="*/ 296631 w 380476"/>
                <a:gd name="connsiteY30" fmla="*/ 164830 h 417595"/>
                <a:gd name="connsiteX31" fmla="*/ 329329 w 380476"/>
                <a:gd name="connsiteY31" fmla="*/ 151114 h 417595"/>
                <a:gd name="connsiteX32" fmla="*/ 335061 w 380476"/>
                <a:gd name="connsiteY32" fmla="*/ 160412 h 417595"/>
                <a:gd name="connsiteX33" fmla="*/ 339435 w 380476"/>
                <a:gd name="connsiteY33" fmla="*/ 166518 h 417595"/>
                <a:gd name="connsiteX34" fmla="*/ 378467 w 380476"/>
                <a:gd name="connsiteY34" fmla="*/ 192632 h 417595"/>
                <a:gd name="connsiteX35" fmla="*/ 376863 w 380476"/>
                <a:gd name="connsiteY35" fmla="*/ 203935 h 417595"/>
                <a:gd name="connsiteX36" fmla="*/ 362644 w 380476"/>
                <a:gd name="connsiteY36" fmla="*/ 221511 h 417595"/>
                <a:gd name="connsiteX37" fmla="*/ 356442 w 380476"/>
                <a:gd name="connsiteY37" fmla="*/ 219933 h 417595"/>
                <a:gd name="connsiteX38" fmla="*/ 336282 w 380476"/>
                <a:gd name="connsiteY38" fmla="*/ 237602 h 417595"/>
                <a:gd name="connsiteX39" fmla="*/ 335076 w 380476"/>
                <a:gd name="connsiteY39" fmla="*/ 251411 h 417595"/>
                <a:gd name="connsiteX40" fmla="*/ 352214 w 380476"/>
                <a:gd name="connsiteY40" fmla="*/ 268226 h 417595"/>
                <a:gd name="connsiteX41" fmla="*/ 339996 w 380476"/>
                <a:gd name="connsiteY41" fmla="*/ 276986 h 417595"/>
                <a:gd name="connsiteX42" fmla="*/ 342936 w 380476"/>
                <a:gd name="connsiteY42" fmla="*/ 290127 h 417595"/>
                <a:gd name="connsiteX43" fmla="*/ 328095 w 380476"/>
                <a:gd name="connsiteY43" fmla="*/ 298441 h 417595"/>
                <a:gd name="connsiteX44" fmla="*/ 325794 w 380476"/>
                <a:gd name="connsiteY44" fmla="*/ 310709 h 417595"/>
                <a:gd name="connsiteX45" fmla="*/ 307050 w 380476"/>
                <a:gd name="connsiteY45" fmla="*/ 305179 h 417595"/>
                <a:gd name="connsiteX46" fmla="*/ 303979 w 380476"/>
                <a:gd name="connsiteY46" fmla="*/ 291222 h 417595"/>
                <a:gd name="connsiteX47" fmla="*/ 290005 w 380476"/>
                <a:gd name="connsiteY47" fmla="*/ 294284 h 417595"/>
                <a:gd name="connsiteX48" fmla="*/ 258403 w 380476"/>
                <a:gd name="connsiteY48" fmla="*/ 272105 h 417595"/>
                <a:gd name="connsiteX49" fmla="*/ 235925 w 380476"/>
                <a:gd name="connsiteY49" fmla="*/ 285876 h 417595"/>
                <a:gd name="connsiteX50" fmla="*/ 236772 w 380476"/>
                <a:gd name="connsiteY50" fmla="*/ 301912 h 417595"/>
                <a:gd name="connsiteX51" fmla="*/ 224175 w 380476"/>
                <a:gd name="connsiteY51" fmla="*/ 324314 h 417595"/>
                <a:gd name="connsiteX52" fmla="*/ 205753 w 380476"/>
                <a:gd name="connsiteY52" fmla="*/ 331496 h 417595"/>
                <a:gd name="connsiteX53" fmla="*/ 190762 w 380476"/>
                <a:gd name="connsiteY53" fmla="*/ 322829 h 417595"/>
                <a:gd name="connsiteX54" fmla="*/ 181294 w 380476"/>
                <a:gd name="connsiteY54" fmla="*/ 332851 h 417595"/>
                <a:gd name="connsiteX55" fmla="*/ 178050 w 380476"/>
                <a:gd name="connsiteY55" fmla="*/ 360579 h 417595"/>
                <a:gd name="connsiteX56" fmla="*/ 183386 w 380476"/>
                <a:gd name="connsiteY56" fmla="*/ 367372 h 417595"/>
                <a:gd name="connsiteX57" fmla="*/ 169639 w 380476"/>
                <a:gd name="connsiteY57" fmla="*/ 377228 h 417595"/>
                <a:gd name="connsiteX58" fmla="*/ 161511 w 380476"/>
                <a:gd name="connsiteY58" fmla="*/ 374258 h 417595"/>
                <a:gd name="connsiteX59" fmla="*/ 151686 w 380476"/>
                <a:gd name="connsiteY59" fmla="*/ 414087 h 417595"/>
                <a:gd name="connsiteX60" fmla="*/ 144217 w 380476"/>
                <a:gd name="connsiteY60" fmla="*/ 415275 h 417595"/>
                <a:gd name="connsiteX61" fmla="*/ 131396 w 380476"/>
                <a:gd name="connsiteY61" fmla="*/ 393505 h 417595"/>
                <a:gd name="connsiteX62" fmla="*/ 137545 w 380476"/>
                <a:gd name="connsiteY62" fmla="*/ 384021 h 417595"/>
                <a:gd name="connsiteX63" fmla="*/ 126665 w 380476"/>
                <a:gd name="connsiteY63" fmla="*/ 379807 h 417595"/>
                <a:gd name="connsiteX64" fmla="*/ 128646 w 380476"/>
                <a:gd name="connsiteY64" fmla="*/ 354826 h 417595"/>
                <a:gd name="connsiteX65" fmla="*/ 116107 w 380476"/>
                <a:gd name="connsiteY65" fmla="*/ 350873 h 417595"/>
                <a:gd name="connsiteX66" fmla="*/ 122859 w 380476"/>
                <a:gd name="connsiteY66" fmla="*/ 334484 h 417595"/>
                <a:gd name="connsiteX67" fmla="*/ 113807 w 380476"/>
                <a:gd name="connsiteY67" fmla="*/ 325724 h 417595"/>
                <a:gd name="connsiteX68" fmla="*/ 119559 w 380476"/>
                <a:gd name="connsiteY68" fmla="*/ 313753 h 417595"/>
                <a:gd name="connsiteX69" fmla="*/ 102211 w 380476"/>
                <a:gd name="connsiteY69" fmla="*/ 306311 h 417595"/>
                <a:gd name="connsiteX70" fmla="*/ 109832 w 380476"/>
                <a:gd name="connsiteY70" fmla="*/ 284689 h 417595"/>
                <a:gd name="connsiteX71" fmla="*/ 91936 w 380476"/>
                <a:gd name="connsiteY71" fmla="*/ 295193 h 417595"/>
                <a:gd name="connsiteX72" fmla="*/ 89787 w 380476"/>
                <a:gd name="connsiteY72" fmla="*/ 287027 h 417595"/>
                <a:gd name="connsiteX73" fmla="*/ 69856 w 380476"/>
                <a:gd name="connsiteY73" fmla="*/ 274035 h 417595"/>
                <a:gd name="connsiteX74" fmla="*/ 56411 w 380476"/>
                <a:gd name="connsiteY74" fmla="*/ 280420 h 417595"/>
                <a:gd name="connsiteX75" fmla="*/ 46002 w 380476"/>
                <a:gd name="connsiteY75" fmla="*/ 268467 h 417595"/>
                <a:gd name="connsiteX76" fmla="*/ 28710 w 380476"/>
                <a:gd name="connsiteY76" fmla="*/ 272068 h 417595"/>
                <a:gd name="connsiteX77" fmla="*/ 2784 w 380476"/>
                <a:gd name="connsiteY77" fmla="*/ 248144 h 417595"/>
                <a:gd name="connsiteX78" fmla="*/ 27205 w 380476"/>
                <a:gd name="connsiteY78" fmla="*/ 214496 h 417595"/>
                <a:gd name="connsiteX79" fmla="*/ 53736 w 380476"/>
                <a:gd name="connsiteY79" fmla="*/ 231533 h 417595"/>
                <a:gd name="connsiteX80" fmla="*/ 80136 w 380476"/>
                <a:gd name="connsiteY80" fmla="*/ 210320 h 417595"/>
                <a:gd name="connsiteX81" fmla="*/ 70425 w 380476"/>
                <a:gd name="connsiteY81" fmla="*/ 197402 h 417595"/>
                <a:gd name="connsiteX82" fmla="*/ 37164 w 380476"/>
                <a:gd name="connsiteY82" fmla="*/ 175483 h 417595"/>
                <a:gd name="connsiteX83" fmla="*/ 36240 w 380476"/>
                <a:gd name="connsiteY83" fmla="*/ 169674 h 41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80476" h="417595">
                  <a:moveTo>
                    <a:pt x="36240" y="169674"/>
                  </a:moveTo>
                  <a:lnTo>
                    <a:pt x="66392" y="145323"/>
                  </a:lnTo>
                  <a:lnTo>
                    <a:pt x="83477" y="151114"/>
                  </a:lnTo>
                  <a:lnTo>
                    <a:pt x="104822" y="140906"/>
                  </a:lnTo>
                  <a:lnTo>
                    <a:pt x="116099" y="147625"/>
                  </a:lnTo>
                  <a:lnTo>
                    <a:pt x="121285" y="137435"/>
                  </a:lnTo>
                  <a:lnTo>
                    <a:pt x="116970" y="104956"/>
                  </a:lnTo>
                  <a:lnTo>
                    <a:pt x="128529" y="92056"/>
                  </a:lnTo>
                  <a:lnTo>
                    <a:pt x="132263" y="72754"/>
                  </a:lnTo>
                  <a:lnTo>
                    <a:pt x="147142" y="59336"/>
                  </a:lnTo>
                  <a:lnTo>
                    <a:pt x="131322" y="50798"/>
                  </a:lnTo>
                  <a:lnTo>
                    <a:pt x="128551" y="33389"/>
                  </a:lnTo>
                  <a:lnTo>
                    <a:pt x="144371" y="41926"/>
                  </a:lnTo>
                  <a:lnTo>
                    <a:pt x="179540" y="11656"/>
                  </a:lnTo>
                  <a:lnTo>
                    <a:pt x="192590" y="2784"/>
                  </a:lnTo>
                  <a:lnTo>
                    <a:pt x="216064" y="22012"/>
                  </a:lnTo>
                  <a:lnTo>
                    <a:pt x="212143" y="29436"/>
                  </a:lnTo>
                  <a:lnTo>
                    <a:pt x="225040" y="40998"/>
                  </a:lnTo>
                  <a:lnTo>
                    <a:pt x="216042" y="80698"/>
                  </a:lnTo>
                  <a:lnTo>
                    <a:pt x="199581" y="84169"/>
                  </a:lnTo>
                  <a:lnTo>
                    <a:pt x="181797" y="116760"/>
                  </a:lnTo>
                  <a:lnTo>
                    <a:pt x="198806" y="132758"/>
                  </a:lnTo>
                  <a:lnTo>
                    <a:pt x="190866" y="141685"/>
                  </a:lnTo>
                  <a:lnTo>
                    <a:pt x="204819" y="159874"/>
                  </a:lnTo>
                  <a:lnTo>
                    <a:pt x="197841" y="169488"/>
                  </a:lnTo>
                  <a:lnTo>
                    <a:pt x="207326" y="175631"/>
                  </a:lnTo>
                  <a:lnTo>
                    <a:pt x="224505" y="149926"/>
                  </a:lnTo>
                  <a:lnTo>
                    <a:pt x="252414" y="148887"/>
                  </a:lnTo>
                  <a:lnTo>
                    <a:pt x="268798" y="155642"/>
                  </a:lnTo>
                  <a:lnTo>
                    <a:pt x="284734" y="148850"/>
                  </a:lnTo>
                  <a:lnTo>
                    <a:pt x="296631" y="164830"/>
                  </a:lnTo>
                  <a:lnTo>
                    <a:pt x="329329" y="151114"/>
                  </a:lnTo>
                  <a:lnTo>
                    <a:pt x="335061" y="160412"/>
                  </a:lnTo>
                  <a:lnTo>
                    <a:pt x="339435" y="166518"/>
                  </a:lnTo>
                  <a:lnTo>
                    <a:pt x="378467" y="192632"/>
                  </a:lnTo>
                  <a:lnTo>
                    <a:pt x="376863" y="203935"/>
                  </a:lnTo>
                  <a:lnTo>
                    <a:pt x="362644" y="221511"/>
                  </a:lnTo>
                  <a:lnTo>
                    <a:pt x="356442" y="219933"/>
                  </a:lnTo>
                  <a:lnTo>
                    <a:pt x="336282" y="237602"/>
                  </a:lnTo>
                  <a:lnTo>
                    <a:pt x="335076" y="251411"/>
                  </a:lnTo>
                  <a:lnTo>
                    <a:pt x="352214" y="268226"/>
                  </a:lnTo>
                  <a:lnTo>
                    <a:pt x="339996" y="276986"/>
                  </a:lnTo>
                  <a:lnTo>
                    <a:pt x="342936" y="290127"/>
                  </a:lnTo>
                  <a:lnTo>
                    <a:pt x="328095" y="298441"/>
                  </a:lnTo>
                  <a:lnTo>
                    <a:pt x="325794" y="310709"/>
                  </a:lnTo>
                  <a:lnTo>
                    <a:pt x="307050" y="305179"/>
                  </a:lnTo>
                  <a:lnTo>
                    <a:pt x="303979" y="291222"/>
                  </a:lnTo>
                  <a:lnTo>
                    <a:pt x="290005" y="294284"/>
                  </a:lnTo>
                  <a:lnTo>
                    <a:pt x="258403" y="272105"/>
                  </a:lnTo>
                  <a:lnTo>
                    <a:pt x="235925" y="285876"/>
                  </a:lnTo>
                  <a:lnTo>
                    <a:pt x="236772" y="301912"/>
                  </a:lnTo>
                  <a:lnTo>
                    <a:pt x="224175" y="324314"/>
                  </a:lnTo>
                  <a:lnTo>
                    <a:pt x="205753" y="331496"/>
                  </a:lnTo>
                  <a:lnTo>
                    <a:pt x="190762" y="322829"/>
                  </a:lnTo>
                  <a:lnTo>
                    <a:pt x="181294" y="332851"/>
                  </a:lnTo>
                  <a:lnTo>
                    <a:pt x="178050" y="360579"/>
                  </a:lnTo>
                  <a:lnTo>
                    <a:pt x="183386" y="367372"/>
                  </a:lnTo>
                  <a:lnTo>
                    <a:pt x="169639" y="377228"/>
                  </a:lnTo>
                  <a:lnTo>
                    <a:pt x="161511" y="374258"/>
                  </a:lnTo>
                  <a:lnTo>
                    <a:pt x="151686" y="414087"/>
                  </a:lnTo>
                  <a:lnTo>
                    <a:pt x="144217" y="415275"/>
                  </a:lnTo>
                  <a:lnTo>
                    <a:pt x="131396" y="393505"/>
                  </a:lnTo>
                  <a:lnTo>
                    <a:pt x="137545" y="384021"/>
                  </a:lnTo>
                  <a:lnTo>
                    <a:pt x="126665" y="379807"/>
                  </a:lnTo>
                  <a:lnTo>
                    <a:pt x="128646" y="354826"/>
                  </a:lnTo>
                  <a:lnTo>
                    <a:pt x="116107" y="350873"/>
                  </a:lnTo>
                  <a:lnTo>
                    <a:pt x="122859" y="334484"/>
                  </a:lnTo>
                  <a:lnTo>
                    <a:pt x="113807" y="325724"/>
                  </a:lnTo>
                  <a:lnTo>
                    <a:pt x="119559" y="313753"/>
                  </a:lnTo>
                  <a:lnTo>
                    <a:pt x="102211" y="306311"/>
                  </a:lnTo>
                  <a:lnTo>
                    <a:pt x="109832" y="284689"/>
                  </a:lnTo>
                  <a:lnTo>
                    <a:pt x="91936" y="295193"/>
                  </a:lnTo>
                  <a:lnTo>
                    <a:pt x="89787" y="287027"/>
                  </a:lnTo>
                  <a:lnTo>
                    <a:pt x="69856" y="274035"/>
                  </a:lnTo>
                  <a:lnTo>
                    <a:pt x="56411" y="280420"/>
                  </a:lnTo>
                  <a:lnTo>
                    <a:pt x="46002" y="268467"/>
                  </a:lnTo>
                  <a:lnTo>
                    <a:pt x="28710" y="272068"/>
                  </a:lnTo>
                  <a:lnTo>
                    <a:pt x="2784" y="248144"/>
                  </a:lnTo>
                  <a:lnTo>
                    <a:pt x="27205" y="214496"/>
                  </a:lnTo>
                  <a:lnTo>
                    <a:pt x="53736" y="231533"/>
                  </a:lnTo>
                  <a:lnTo>
                    <a:pt x="80136" y="210320"/>
                  </a:lnTo>
                  <a:lnTo>
                    <a:pt x="70425" y="197402"/>
                  </a:lnTo>
                  <a:lnTo>
                    <a:pt x="37164" y="175483"/>
                  </a:lnTo>
                  <a:lnTo>
                    <a:pt x="36240" y="16967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AE78333-575A-4EF8-A7A9-98FAC79198F6}"/>
                </a:ext>
              </a:extLst>
            </p:cNvPr>
            <p:cNvSpPr/>
            <p:nvPr/>
          </p:nvSpPr>
          <p:spPr>
            <a:xfrm>
              <a:off x="2099563" y="5555486"/>
              <a:ext cx="187454" cy="131774"/>
            </a:xfrm>
            <a:custGeom>
              <a:avLst/>
              <a:gdLst>
                <a:gd name="connsiteX0" fmla="*/ 178145 w 187454"/>
                <a:gd name="connsiteY0" fmla="*/ 119154 h 131774"/>
                <a:gd name="connsiteX1" fmla="*/ 169507 w 187454"/>
                <a:gd name="connsiteY1" fmla="*/ 129028 h 131774"/>
                <a:gd name="connsiteX2" fmla="*/ 162683 w 187454"/>
                <a:gd name="connsiteY2" fmla="*/ 118207 h 131774"/>
                <a:gd name="connsiteX3" fmla="*/ 131795 w 187454"/>
                <a:gd name="connsiteY3" fmla="*/ 111210 h 131774"/>
                <a:gd name="connsiteX4" fmla="*/ 97966 w 187454"/>
                <a:gd name="connsiteY4" fmla="*/ 128508 h 131774"/>
                <a:gd name="connsiteX5" fmla="*/ 82070 w 187454"/>
                <a:gd name="connsiteY5" fmla="*/ 130178 h 131774"/>
                <a:gd name="connsiteX6" fmla="*/ 71003 w 187454"/>
                <a:gd name="connsiteY6" fmla="*/ 114087 h 131774"/>
                <a:gd name="connsiteX7" fmla="*/ 73868 w 187454"/>
                <a:gd name="connsiteY7" fmla="*/ 100019 h 131774"/>
                <a:gd name="connsiteX8" fmla="*/ 59219 w 187454"/>
                <a:gd name="connsiteY8" fmla="*/ 82795 h 131774"/>
                <a:gd name="connsiteX9" fmla="*/ 62745 w 187454"/>
                <a:gd name="connsiteY9" fmla="*/ 72884 h 131774"/>
                <a:gd name="connsiteX10" fmla="*/ 48282 w 187454"/>
                <a:gd name="connsiteY10" fmla="*/ 67520 h 131774"/>
                <a:gd name="connsiteX11" fmla="*/ 26182 w 187454"/>
                <a:gd name="connsiteY11" fmla="*/ 67632 h 131774"/>
                <a:gd name="connsiteX12" fmla="*/ 6346 w 187454"/>
                <a:gd name="connsiteY12" fmla="*/ 60579 h 131774"/>
                <a:gd name="connsiteX13" fmla="*/ 2784 w 187454"/>
                <a:gd name="connsiteY13" fmla="*/ 38196 h 131774"/>
                <a:gd name="connsiteX14" fmla="*/ 13343 w 187454"/>
                <a:gd name="connsiteY14" fmla="*/ 29714 h 131774"/>
                <a:gd name="connsiteX15" fmla="*/ 3332 w 187454"/>
                <a:gd name="connsiteY15" fmla="*/ 20249 h 131774"/>
                <a:gd name="connsiteX16" fmla="*/ 8912 w 187454"/>
                <a:gd name="connsiteY16" fmla="*/ 12546 h 131774"/>
                <a:gd name="connsiteX17" fmla="*/ 21320 w 187454"/>
                <a:gd name="connsiteY17" fmla="*/ 15683 h 131774"/>
                <a:gd name="connsiteX18" fmla="*/ 32881 w 187454"/>
                <a:gd name="connsiteY18" fmla="*/ 2784 h 131774"/>
                <a:gd name="connsiteX19" fmla="*/ 64822 w 187454"/>
                <a:gd name="connsiteY19" fmla="*/ 16426 h 131774"/>
                <a:gd name="connsiteX20" fmla="*/ 90748 w 187454"/>
                <a:gd name="connsiteY20" fmla="*/ 40349 h 131774"/>
                <a:gd name="connsiteX21" fmla="*/ 108041 w 187454"/>
                <a:gd name="connsiteY21" fmla="*/ 36748 h 131774"/>
                <a:gd name="connsiteX22" fmla="*/ 118449 w 187454"/>
                <a:gd name="connsiteY22" fmla="*/ 48701 h 131774"/>
                <a:gd name="connsiteX23" fmla="*/ 131894 w 187454"/>
                <a:gd name="connsiteY23" fmla="*/ 42316 h 131774"/>
                <a:gd name="connsiteX24" fmla="*/ 151825 w 187454"/>
                <a:gd name="connsiteY24" fmla="*/ 55308 h 131774"/>
                <a:gd name="connsiteX25" fmla="*/ 153974 w 187454"/>
                <a:gd name="connsiteY25" fmla="*/ 63456 h 131774"/>
                <a:gd name="connsiteX26" fmla="*/ 171870 w 187454"/>
                <a:gd name="connsiteY26" fmla="*/ 52970 h 131774"/>
                <a:gd name="connsiteX27" fmla="*/ 164251 w 187454"/>
                <a:gd name="connsiteY27" fmla="*/ 74592 h 131774"/>
                <a:gd name="connsiteX28" fmla="*/ 181597 w 187454"/>
                <a:gd name="connsiteY28" fmla="*/ 82034 h 131774"/>
                <a:gd name="connsiteX29" fmla="*/ 175845 w 187454"/>
                <a:gd name="connsiteY29" fmla="*/ 94005 h 131774"/>
                <a:gd name="connsiteX30" fmla="*/ 184897 w 187454"/>
                <a:gd name="connsiteY30" fmla="*/ 102766 h 131774"/>
                <a:gd name="connsiteX31" fmla="*/ 178145 w 187454"/>
                <a:gd name="connsiteY31" fmla="*/ 119154 h 13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7454" h="131774">
                  <a:moveTo>
                    <a:pt x="178145" y="119154"/>
                  </a:moveTo>
                  <a:lnTo>
                    <a:pt x="169507" y="129028"/>
                  </a:lnTo>
                  <a:lnTo>
                    <a:pt x="162683" y="118207"/>
                  </a:lnTo>
                  <a:lnTo>
                    <a:pt x="131795" y="111210"/>
                  </a:lnTo>
                  <a:lnTo>
                    <a:pt x="97966" y="128508"/>
                  </a:lnTo>
                  <a:lnTo>
                    <a:pt x="82070" y="130178"/>
                  </a:lnTo>
                  <a:lnTo>
                    <a:pt x="71003" y="114087"/>
                  </a:lnTo>
                  <a:lnTo>
                    <a:pt x="73868" y="100019"/>
                  </a:lnTo>
                  <a:lnTo>
                    <a:pt x="59219" y="82795"/>
                  </a:lnTo>
                  <a:lnTo>
                    <a:pt x="62745" y="72884"/>
                  </a:lnTo>
                  <a:lnTo>
                    <a:pt x="48282" y="67520"/>
                  </a:lnTo>
                  <a:lnTo>
                    <a:pt x="26182" y="67632"/>
                  </a:lnTo>
                  <a:lnTo>
                    <a:pt x="6346" y="60579"/>
                  </a:lnTo>
                  <a:lnTo>
                    <a:pt x="2784" y="38196"/>
                  </a:lnTo>
                  <a:lnTo>
                    <a:pt x="13343" y="29714"/>
                  </a:lnTo>
                  <a:lnTo>
                    <a:pt x="3332" y="20249"/>
                  </a:lnTo>
                  <a:lnTo>
                    <a:pt x="8912" y="12546"/>
                  </a:lnTo>
                  <a:lnTo>
                    <a:pt x="21320" y="15683"/>
                  </a:lnTo>
                  <a:lnTo>
                    <a:pt x="32881" y="2784"/>
                  </a:lnTo>
                  <a:lnTo>
                    <a:pt x="64822" y="16426"/>
                  </a:lnTo>
                  <a:lnTo>
                    <a:pt x="90748" y="40349"/>
                  </a:lnTo>
                  <a:lnTo>
                    <a:pt x="108041" y="36748"/>
                  </a:lnTo>
                  <a:lnTo>
                    <a:pt x="118449" y="48701"/>
                  </a:lnTo>
                  <a:lnTo>
                    <a:pt x="131894" y="42316"/>
                  </a:lnTo>
                  <a:lnTo>
                    <a:pt x="151825" y="55308"/>
                  </a:lnTo>
                  <a:lnTo>
                    <a:pt x="153974" y="63456"/>
                  </a:lnTo>
                  <a:lnTo>
                    <a:pt x="171870" y="52970"/>
                  </a:lnTo>
                  <a:lnTo>
                    <a:pt x="164251" y="74592"/>
                  </a:lnTo>
                  <a:lnTo>
                    <a:pt x="181597" y="82034"/>
                  </a:lnTo>
                  <a:lnTo>
                    <a:pt x="175845" y="94005"/>
                  </a:lnTo>
                  <a:lnTo>
                    <a:pt x="184897" y="102766"/>
                  </a:lnTo>
                  <a:lnTo>
                    <a:pt x="178145" y="11915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310714F-CC04-4AB5-8F8A-C0C26D31A445}"/>
                </a:ext>
              </a:extLst>
            </p:cNvPr>
            <p:cNvSpPr/>
            <p:nvPr/>
          </p:nvSpPr>
          <p:spPr>
            <a:xfrm>
              <a:off x="3766348" y="6001181"/>
              <a:ext cx="261694" cy="352636"/>
            </a:xfrm>
            <a:custGeom>
              <a:avLst/>
              <a:gdLst>
                <a:gd name="connsiteX0" fmla="*/ 221901 w 261693"/>
                <a:gd name="connsiteY0" fmla="*/ 351262 h 352635"/>
                <a:gd name="connsiteX1" fmla="*/ 221920 w 261693"/>
                <a:gd name="connsiteY1" fmla="*/ 329993 h 352635"/>
                <a:gd name="connsiteX2" fmla="*/ 211526 w 261693"/>
                <a:gd name="connsiteY2" fmla="*/ 334188 h 352635"/>
                <a:gd name="connsiteX3" fmla="*/ 195713 w 261693"/>
                <a:gd name="connsiteY3" fmla="*/ 325650 h 352635"/>
                <a:gd name="connsiteX4" fmla="*/ 182647 w 261693"/>
                <a:gd name="connsiteY4" fmla="*/ 334540 h 352635"/>
                <a:gd name="connsiteX5" fmla="*/ 157443 w 261693"/>
                <a:gd name="connsiteY5" fmla="*/ 325798 h 352635"/>
                <a:gd name="connsiteX6" fmla="*/ 144451 w 261693"/>
                <a:gd name="connsiteY6" fmla="*/ 308297 h 352635"/>
                <a:gd name="connsiteX7" fmla="*/ 149407 w 261693"/>
                <a:gd name="connsiteY7" fmla="*/ 291351 h 352635"/>
                <a:gd name="connsiteX8" fmla="*/ 129585 w 261693"/>
                <a:gd name="connsiteY8" fmla="*/ 284299 h 352635"/>
                <a:gd name="connsiteX9" fmla="*/ 141908 w 261693"/>
                <a:gd name="connsiteY9" fmla="*/ 260227 h 352635"/>
                <a:gd name="connsiteX10" fmla="*/ 128768 w 261693"/>
                <a:gd name="connsiteY10" fmla="*/ 263178 h 352635"/>
                <a:gd name="connsiteX11" fmla="*/ 114737 w 261693"/>
                <a:gd name="connsiteY11" fmla="*/ 255197 h 352635"/>
                <a:gd name="connsiteX12" fmla="*/ 95063 w 261693"/>
                <a:gd name="connsiteY12" fmla="*/ 227710 h 352635"/>
                <a:gd name="connsiteX13" fmla="*/ 67966 w 261693"/>
                <a:gd name="connsiteY13" fmla="*/ 212454 h 352635"/>
                <a:gd name="connsiteX14" fmla="*/ 60616 w 261693"/>
                <a:gd name="connsiteY14" fmla="*/ 214477 h 352635"/>
                <a:gd name="connsiteX15" fmla="*/ 42520 w 261693"/>
                <a:gd name="connsiteY15" fmla="*/ 196956 h 352635"/>
                <a:gd name="connsiteX16" fmla="*/ 34373 w 261693"/>
                <a:gd name="connsiteY16" fmla="*/ 177840 h 352635"/>
                <a:gd name="connsiteX17" fmla="*/ 40256 w 261693"/>
                <a:gd name="connsiteY17" fmla="*/ 166686 h 352635"/>
                <a:gd name="connsiteX18" fmla="*/ 30512 w 261693"/>
                <a:gd name="connsiteY18" fmla="*/ 158890 h 352635"/>
                <a:gd name="connsiteX19" fmla="*/ 27413 w 261693"/>
                <a:gd name="connsiteY19" fmla="*/ 128768 h 352635"/>
                <a:gd name="connsiteX20" fmla="*/ 10746 w 261693"/>
                <a:gd name="connsiteY20" fmla="*/ 104213 h 352635"/>
                <a:gd name="connsiteX21" fmla="*/ 8723 w 261693"/>
                <a:gd name="connsiteY21" fmla="*/ 80716 h 352635"/>
                <a:gd name="connsiteX22" fmla="*/ 2784 w 261693"/>
                <a:gd name="connsiteY22" fmla="*/ 80809 h 352635"/>
                <a:gd name="connsiteX23" fmla="*/ 54473 w 261693"/>
                <a:gd name="connsiteY23" fmla="*/ 58129 h 352635"/>
                <a:gd name="connsiteX24" fmla="*/ 77376 w 261693"/>
                <a:gd name="connsiteY24" fmla="*/ 41722 h 352635"/>
                <a:gd name="connsiteX25" fmla="*/ 104139 w 261693"/>
                <a:gd name="connsiteY25" fmla="*/ 28118 h 352635"/>
                <a:gd name="connsiteX26" fmla="*/ 119562 w 261693"/>
                <a:gd name="connsiteY26" fmla="*/ 34169 h 352635"/>
                <a:gd name="connsiteX27" fmla="*/ 124481 w 261693"/>
                <a:gd name="connsiteY27" fmla="*/ 22327 h 352635"/>
                <a:gd name="connsiteX28" fmla="*/ 152747 w 261693"/>
                <a:gd name="connsiteY28" fmla="*/ 28898 h 352635"/>
                <a:gd name="connsiteX29" fmla="*/ 179455 w 261693"/>
                <a:gd name="connsiteY29" fmla="*/ 4232 h 352635"/>
                <a:gd name="connsiteX30" fmla="*/ 188568 w 261693"/>
                <a:gd name="connsiteY30" fmla="*/ 2784 h 352635"/>
                <a:gd name="connsiteX31" fmla="*/ 195138 w 261693"/>
                <a:gd name="connsiteY31" fmla="*/ 11934 h 352635"/>
                <a:gd name="connsiteX32" fmla="*/ 185283 w 261693"/>
                <a:gd name="connsiteY32" fmla="*/ 19469 h 352635"/>
                <a:gd name="connsiteX33" fmla="*/ 190702 w 261693"/>
                <a:gd name="connsiteY33" fmla="*/ 32201 h 352635"/>
                <a:gd name="connsiteX34" fmla="*/ 213290 w 261693"/>
                <a:gd name="connsiteY34" fmla="*/ 40516 h 352635"/>
                <a:gd name="connsiteX35" fmla="*/ 232777 w 261693"/>
                <a:gd name="connsiteY35" fmla="*/ 77394 h 352635"/>
                <a:gd name="connsiteX36" fmla="*/ 219600 w 261693"/>
                <a:gd name="connsiteY36" fmla="*/ 85431 h 352635"/>
                <a:gd name="connsiteX37" fmla="*/ 201745 w 261693"/>
                <a:gd name="connsiteY37" fmla="*/ 106979 h 352635"/>
                <a:gd name="connsiteX38" fmla="*/ 193635 w 261693"/>
                <a:gd name="connsiteY38" fmla="*/ 120175 h 352635"/>
                <a:gd name="connsiteX39" fmla="*/ 215071 w 261693"/>
                <a:gd name="connsiteY39" fmla="*/ 153341 h 352635"/>
                <a:gd name="connsiteX40" fmla="*/ 207128 w 261693"/>
                <a:gd name="connsiteY40" fmla="*/ 183519 h 352635"/>
                <a:gd name="connsiteX41" fmla="*/ 211192 w 261693"/>
                <a:gd name="connsiteY41" fmla="*/ 193077 h 352635"/>
                <a:gd name="connsiteX42" fmla="*/ 220658 w 261693"/>
                <a:gd name="connsiteY42" fmla="*/ 183074 h 352635"/>
                <a:gd name="connsiteX43" fmla="*/ 237083 w 261693"/>
                <a:gd name="connsiteY43" fmla="*/ 184707 h 352635"/>
                <a:gd name="connsiteX44" fmla="*/ 241946 w 261693"/>
                <a:gd name="connsiteY44" fmla="*/ 199239 h 352635"/>
                <a:gd name="connsiteX45" fmla="*/ 232907 w 261693"/>
                <a:gd name="connsiteY45" fmla="*/ 206626 h 352635"/>
                <a:gd name="connsiteX46" fmla="*/ 249667 w 261693"/>
                <a:gd name="connsiteY46" fmla="*/ 220973 h 352635"/>
                <a:gd name="connsiteX47" fmla="*/ 231126 w 261693"/>
                <a:gd name="connsiteY47" fmla="*/ 243486 h 352635"/>
                <a:gd name="connsiteX48" fmla="*/ 245046 w 261693"/>
                <a:gd name="connsiteY48" fmla="*/ 266778 h 352635"/>
                <a:gd name="connsiteX49" fmla="*/ 240610 w 261693"/>
                <a:gd name="connsiteY49" fmla="*/ 287046 h 352635"/>
                <a:gd name="connsiteX50" fmla="*/ 259318 w 261693"/>
                <a:gd name="connsiteY50" fmla="*/ 297680 h 352635"/>
                <a:gd name="connsiteX51" fmla="*/ 254790 w 261693"/>
                <a:gd name="connsiteY51" fmla="*/ 312008 h 352635"/>
                <a:gd name="connsiteX52" fmla="*/ 235543 w 261693"/>
                <a:gd name="connsiteY52" fmla="*/ 335468 h 352635"/>
                <a:gd name="connsiteX53" fmla="*/ 237566 w 261693"/>
                <a:gd name="connsiteY53" fmla="*/ 342818 h 352635"/>
                <a:gd name="connsiteX54" fmla="*/ 221901 w 261693"/>
                <a:gd name="connsiteY54" fmla="*/ 351262 h 35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61693" h="352635">
                  <a:moveTo>
                    <a:pt x="221901" y="351262"/>
                  </a:moveTo>
                  <a:lnTo>
                    <a:pt x="221920" y="329993"/>
                  </a:lnTo>
                  <a:lnTo>
                    <a:pt x="211526" y="334188"/>
                  </a:lnTo>
                  <a:lnTo>
                    <a:pt x="195713" y="325650"/>
                  </a:lnTo>
                  <a:lnTo>
                    <a:pt x="182647" y="334540"/>
                  </a:lnTo>
                  <a:lnTo>
                    <a:pt x="157443" y="325798"/>
                  </a:lnTo>
                  <a:lnTo>
                    <a:pt x="144451" y="308297"/>
                  </a:lnTo>
                  <a:lnTo>
                    <a:pt x="149407" y="291351"/>
                  </a:lnTo>
                  <a:lnTo>
                    <a:pt x="129585" y="284299"/>
                  </a:lnTo>
                  <a:lnTo>
                    <a:pt x="141908" y="260227"/>
                  </a:lnTo>
                  <a:lnTo>
                    <a:pt x="128768" y="263178"/>
                  </a:lnTo>
                  <a:lnTo>
                    <a:pt x="114737" y="255197"/>
                  </a:lnTo>
                  <a:lnTo>
                    <a:pt x="95063" y="227710"/>
                  </a:lnTo>
                  <a:lnTo>
                    <a:pt x="67966" y="212454"/>
                  </a:lnTo>
                  <a:lnTo>
                    <a:pt x="60616" y="214477"/>
                  </a:lnTo>
                  <a:lnTo>
                    <a:pt x="42520" y="196956"/>
                  </a:lnTo>
                  <a:lnTo>
                    <a:pt x="34373" y="177840"/>
                  </a:lnTo>
                  <a:lnTo>
                    <a:pt x="40256" y="166686"/>
                  </a:lnTo>
                  <a:lnTo>
                    <a:pt x="30512" y="158890"/>
                  </a:lnTo>
                  <a:lnTo>
                    <a:pt x="27413" y="128768"/>
                  </a:lnTo>
                  <a:lnTo>
                    <a:pt x="10746" y="104213"/>
                  </a:lnTo>
                  <a:lnTo>
                    <a:pt x="8723" y="80716"/>
                  </a:lnTo>
                  <a:lnTo>
                    <a:pt x="2784" y="80809"/>
                  </a:lnTo>
                  <a:lnTo>
                    <a:pt x="54473" y="58129"/>
                  </a:lnTo>
                  <a:lnTo>
                    <a:pt x="77376" y="41722"/>
                  </a:lnTo>
                  <a:lnTo>
                    <a:pt x="104139" y="28118"/>
                  </a:lnTo>
                  <a:lnTo>
                    <a:pt x="119562" y="34169"/>
                  </a:lnTo>
                  <a:lnTo>
                    <a:pt x="124481" y="22327"/>
                  </a:lnTo>
                  <a:lnTo>
                    <a:pt x="152747" y="28898"/>
                  </a:lnTo>
                  <a:lnTo>
                    <a:pt x="179455" y="4232"/>
                  </a:lnTo>
                  <a:lnTo>
                    <a:pt x="188568" y="2784"/>
                  </a:lnTo>
                  <a:lnTo>
                    <a:pt x="195138" y="11934"/>
                  </a:lnTo>
                  <a:lnTo>
                    <a:pt x="185283" y="19469"/>
                  </a:lnTo>
                  <a:lnTo>
                    <a:pt x="190702" y="32201"/>
                  </a:lnTo>
                  <a:lnTo>
                    <a:pt x="213290" y="40516"/>
                  </a:lnTo>
                  <a:lnTo>
                    <a:pt x="232777" y="77394"/>
                  </a:lnTo>
                  <a:lnTo>
                    <a:pt x="219600" y="85431"/>
                  </a:lnTo>
                  <a:lnTo>
                    <a:pt x="201745" y="106979"/>
                  </a:lnTo>
                  <a:lnTo>
                    <a:pt x="193635" y="120175"/>
                  </a:lnTo>
                  <a:lnTo>
                    <a:pt x="215071" y="153341"/>
                  </a:lnTo>
                  <a:lnTo>
                    <a:pt x="207128" y="183519"/>
                  </a:lnTo>
                  <a:lnTo>
                    <a:pt x="211192" y="193077"/>
                  </a:lnTo>
                  <a:lnTo>
                    <a:pt x="220658" y="183074"/>
                  </a:lnTo>
                  <a:lnTo>
                    <a:pt x="237083" y="184707"/>
                  </a:lnTo>
                  <a:lnTo>
                    <a:pt x="241946" y="199239"/>
                  </a:lnTo>
                  <a:lnTo>
                    <a:pt x="232907" y="206626"/>
                  </a:lnTo>
                  <a:lnTo>
                    <a:pt x="249667" y="220973"/>
                  </a:lnTo>
                  <a:lnTo>
                    <a:pt x="231126" y="243486"/>
                  </a:lnTo>
                  <a:lnTo>
                    <a:pt x="245046" y="266778"/>
                  </a:lnTo>
                  <a:lnTo>
                    <a:pt x="240610" y="287046"/>
                  </a:lnTo>
                  <a:lnTo>
                    <a:pt x="259318" y="297680"/>
                  </a:lnTo>
                  <a:lnTo>
                    <a:pt x="254790" y="312008"/>
                  </a:lnTo>
                  <a:lnTo>
                    <a:pt x="235543" y="335468"/>
                  </a:lnTo>
                  <a:lnTo>
                    <a:pt x="237566" y="342818"/>
                  </a:lnTo>
                  <a:lnTo>
                    <a:pt x="221901" y="35126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A3D02BA-CFD8-45E6-9B0A-68A49A1D725A}"/>
                </a:ext>
              </a:extLst>
            </p:cNvPr>
            <p:cNvSpPr/>
            <p:nvPr/>
          </p:nvSpPr>
          <p:spPr>
            <a:xfrm>
              <a:off x="1694220" y="6040453"/>
              <a:ext cx="157759" cy="283965"/>
            </a:xfrm>
            <a:custGeom>
              <a:avLst/>
              <a:gdLst>
                <a:gd name="connsiteX0" fmla="*/ 117217 w 157758"/>
                <a:gd name="connsiteY0" fmla="*/ 40015 h 283964"/>
                <a:gd name="connsiteX1" fmla="*/ 100284 w 157758"/>
                <a:gd name="connsiteY1" fmla="*/ 51225 h 283964"/>
                <a:gd name="connsiteX2" fmla="*/ 122458 w 157758"/>
                <a:gd name="connsiteY2" fmla="*/ 78304 h 283964"/>
                <a:gd name="connsiteX3" fmla="*/ 105806 w 157758"/>
                <a:gd name="connsiteY3" fmla="*/ 107313 h 283964"/>
                <a:gd name="connsiteX4" fmla="*/ 111632 w 157758"/>
                <a:gd name="connsiteY4" fmla="*/ 122550 h 283964"/>
                <a:gd name="connsiteX5" fmla="*/ 120797 w 157758"/>
                <a:gd name="connsiteY5" fmla="*/ 115999 h 283964"/>
                <a:gd name="connsiteX6" fmla="*/ 128451 w 157758"/>
                <a:gd name="connsiteY6" fmla="*/ 126689 h 283964"/>
                <a:gd name="connsiteX7" fmla="*/ 147421 w 157758"/>
                <a:gd name="connsiteY7" fmla="*/ 138976 h 283964"/>
                <a:gd name="connsiteX8" fmla="*/ 155847 w 157758"/>
                <a:gd name="connsiteY8" fmla="*/ 175891 h 283964"/>
                <a:gd name="connsiteX9" fmla="*/ 152074 w 157758"/>
                <a:gd name="connsiteY9" fmla="*/ 200316 h 283964"/>
                <a:gd name="connsiteX10" fmla="*/ 154336 w 157758"/>
                <a:gd name="connsiteY10" fmla="*/ 230568 h 283964"/>
                <a:gd name="connsiteX11" fmla="*/ 139570 w 157758"/>
                <a:gd name="connsiteY11" fmla="*/ 228656 h 283964"/>
                <a:gd name="connsiteX12" fmla="*/ 132614 w 157758"/>
                <a:gd name="connsiteY12" fmla="*/ 217020 h 283964"/>
                <a:gd name="connsiteX13" fmla="*/ 123751 w 157758"/>
                <a:gd name="connsiteY13" fmla="*/ 220119 h 283964"/>
                <a:gd name="connsiteX14" fmla="*/ 148696 w 157758"/>
                <a:gd name="connsiteY14" fmla="*/ 264625 h 283964"/>
                <a:gd name="connsiteX15" fmla="*/ 134590 w 157758"/>
                <a:gd name="connsiteY15" fmla="*/ 266871 h 283964"/>
                <a:gd name="connsiteX16" fmla="*/ 115715 w 157758"/>
                <a:gd name="connsiteY16" fmla="*/ 260524 h 283964"/>
                <a:gd name="connsiteX17" fmla="*/ 107964 w 157758"/>
                <a:gd name="connsiteY17" fmla="*/ 281311 h 283964"/>
                <a:gd name="connsiteX18" fmla="*/ 102139 w 157758"/>
                <a:gd name="connsiteY18" fmla="*/ 266092 h 283964"/>
                <a:gd name="connsiteX19" fmla="*/ 73532 w 157758"/>
                <a:gd name="connsiteY19" fmla="*/ 268077 h 283964"/>
                <a:gd name="connsiteX20" fmla="*/ 44514 w 157758"/>
                <a:gd name="connsiteY20" fmla="*/ 251429 h 283964"/>
                <a:gd name="connsiteX21" fmla="*/ 32463 w 157758"/>
                <a:gd name="connsiteY21" fmla="*/ 255902 h 283964"/>
                <a:gd name="connsiteX22" fmla="*/ 30748 w 157758"/>
                <a:gd name="connsiteY22" fmla="*/ 245119 h 283964"/>
                <a:gd name="connsiteX23" fmla="*/ 2784 w 157758"/>
                <a:gd name="connsiteY23" fmla="*/ 235115 h 283964"/>
                <a:gd name="connsiteX24" fmla="*/ 26262 w 157758"/>
                <a:gd name="connsiteY24" fmla="*/ 216927 h 283964"/>
                <a:gd name="connsiteX25" fmla="*/ 38443 w 157758"/>
                <a:gd name="connsiteY25" fmla="*/ 213289 h 283964"/>
                <a:gd name="connsiteX26" fmla="*/ 20832 w 157758"/>
                <a:gd name="connsiteY26" fmla="*/ 204176 h 283964"/>
                <a:gd name="connsiteX27" fmla="*/ 28771 w 157758"/>
                <a:gd name="connsiteY27" fmla="*/ 195267 h 283964"/>
                <a:gd name="connsiteX28" fmla="*/ 12856 w 157758"/>
                <a:gd name="connsiteY28" fmla="*/ 180791 h 283964"/>
                <a:gd name="connsiteX29" fmla="*/ 26698 w 157758"/>
                <a:gd name="connsiteY29" fmla="*/ 176875 h 283964"/>
                <a:gd name="connsiteX30" fmla="*/ 40030 w 157758"/>
                <a:gd name="connsiteY30" fmla="*/ 185821 h 283964"/>
                <a:gd name="connsiteX31" fmla="*/ 44649 w 157758"/>
                <a:gd name="connsiteY31" fmla="*/ 177431 h 283964"/>
                <a:gd name="connsiteX32" fmla="*/ 66485 w 157758"/>
                <a:gd name="connsiteY32" fmla="*/ 175650 h 283964"/>
                <a:gd name="connsiteX33" fmla="*/ 56758 w 157758"/>
                <a:gd name="connsiteY33" fmla="*/ 146585 h 283964"/>
                <a:gd name="connsiteX34" fmla="*/ 59907 w 157758"/>
                <a:gd name="connsiteY34" fmla="*/ 112918 h 283964"/>
                <a:gd name="connsiteX35" fmla="*/ 79388 w 157758"/>
                <a:gd name="connsiteY35" fmla="*/ 112380 h 283964"/>
                <a:gd name="connsiteX36" fmla="*/ 77370 w 157758"/>
                <a:gd name="connsiteY36" fmla="*/ 105048 h 283964"/>
                <a:gd name="connsiteX37" fmla="*/ 52781 w 157758"/>
                <a:gd name="connsiteY37" fmla="*/ 105549 h 283964"/>
                <a:gd name="connsiteX38" fmla="*/ 44993 w 157758"/>
                <a:gd name="connsiteY38" fmla="*/ 94042 h 283964"/>
                <a:gd name="connsiteX39" fmla="*/ 43204 w 157758"/>
                <a:gd name="connsiteY39" fmla="*/ 56050 h 283964"/>
                <a:gd name="connsiteX40" fmla="*/ 32476 w 157758"/>
                <a:gd name="connsiteY40" fmla="*/ 31385 h 283964"/>
                <a:gd name="connsiteX41" fmla="*/ 25859 w 157758"/>
                <a:gd name="connsiteY41" fmla="*/ 11192 h 283964"/>
                <a:gd name="connsiteX42" fmla="*/ 46639 w 157758"/>
                <a:gd name="connsiteY42" fmla="*/ 2784 h 283964"/>
                <a:gd name="connsiteX43" fmla="*/ 67701 w 157758"/>
                <a:gd name="connsiteY43" fmla="*/ 12175 h 283964"/>
                <a:gd name="connsiteX44" fmla="*/ 93423 w 157758"/>
                <a:gd name="connsiteY44" fmla="*/ 8092 h 283964"/>
                <a:gd name="connsiteX45" fmla="*/ 109639 w 157758"/>
                <a:gd name="connsiteY45" fmla="*/ 19117 h 283964"/>
                <a:gd name="connsiteX46" fmla="*/ 117217 w 157758"/>
                <a:gd name="connsiteY46" fmla="*/ 40015 h 28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57758" h="283964">
                  <a:moveTo>
                    <a:pt x="117217" y="40015"/>
                  </a:moveTo>
                  <a:lnTo>
                    <a:pt x="100284" y="51225"/>
                  </a:lnTo>
                  <a:lnTo>
                    <a:pt x="122458" y="78304"/>
                  </a:lnTo>
                  <a:lnTo>
                    <a:pt x="105806" y="107313"/>
                  </a:lnTo>
                  <a:lnTo>
                    <a:pt x="111632" y="122550"/>
                  </a:lnTo>
                  <a:lnTo>
                    <a:pt x="120797" y="115999"/>
                  </a:lnTo>
                  <a:lnTo>
                    <a:pt x="128451" y="126689"/>
                  </a:lnTo>
                  <a:lnTo>
                    <a:pt x="147421" y="138976"/>
                  </a:lnTo>
                  <a:lnTo>
                    <a:pt x="155847" y="175891"/>
                  </a:lnTo>
                  <a:lnTo>
                    <a:pt x="152074" y="200316"/>
                  </a:lnTo>
                  <a:lnTo>
                    <a:pt x="154336" y="230568"/>
                  </a:lnTo>
                  <a:lnTo>
                    <a:pt x="139570" y="228656"/>
                  </a:lnTo>
                  <a:lnTo>
                    <a:pt x="132614" y="217020"/>
                  </a:lnTo>
                  <a:lnTo>
                    <a:pt x="123751" y="220119"/>
                  </a:lnTo>
                  <a:lnTo>
                    <a:pt x="148696" y="264625"/>
                  </a:lnTo>
                  <a:lnTo>
                    <a:pt x="134590" y="266871"/>
                  </a:lnTo>
                  <a:lnTo>
                    <a:pt x="115715" y="260524"/>
                  </a:lnTo>
                  <a:lnTo>
                    <a:pt x="107964" y="281311"/>
                  </a:lnTo>
                  <a:lnTo>
                    <a:pt x="102139" y="266092"/>
                  </a:lnTo>
                  <a:lnTo>
                    <a:pt x="73532" y="268077"/>
                  </a:lnTo>
                  <a:lnTo>
                    <a:pt x="44514" y="251429"/>
                  </a:lnTo>
                  <a:lnTo>
                    <a:pt x="32463" y="255902"/>
                  </a:lnTo>
                  <a:lnTo>
                    <a:pt x="30748" y="245119"/>
                  </a:lnTo>
                  <a:lnTo>
                    <a:pt x="2784" y="235115"/>
                  </a:lnTo>
                  <a:lnTo>
                    <a:pt x="26262" y="216927"/>
                  </a:lnTo>
                  <a:lnTo>
                    <a:pt x="38443" y="213289"/>
                  </a:lnTo>
                  <a:lnTo>
                    <a:pt x="20832" y="204176"/>
                  </a:lnTo>
                  <a:lnTo>
                    <a:pt x="28771" y="195267"/>
                  </a:lnTo>
                  <a:lnTo>
                    <a:pt x="12856" y="180791"/>
                  </a:lnTo>
                  <a:lnTo>
                    <a:pt x="26698" y="176875"/>
                  </a:lnTo>
                  <a:lnTo>
                    <a:pt x="40030" y="185821"/>
                  </a:lnTo>
                  <a:lnTo>
                    <a:pt x="44649" y="177431"/>
                  </a:lnTo>
                  <a:lnTo>
                    <a:pt x="66485" y="175650"/>
                  </a:lnTo>
                  <a:lnTo>
                    <a:pt x="56758" y="146585"/>
                  </a:lnTo>
                  <a:lnTo>
                    <a:pt x="59907" y="112918"/>
                  </a:lnTo>
                  <a:lnTo>
                    <a:pt x="79388" y="112380"/>
                  </a:lnTo>
                  <a:lnTo>
                    <a:pt x="77370" y="105048"/>
                  </a:lnTo>
                  <a:lnTo>
                    <a:pt x="52781" y="105549"/>
                  </a:lnTo>
                  <a:lnTo>
                    <a:pt x="44993" y="94042"/>
                  </a:lnTo>
                  <a:lnTo>
                    <a:pt x="43204" y="56050"/>
                  </a:lnTo>
                  <a:lnTo>
                    <a:pt x="32476" y="31385"/>
                  </a:lnTo>
                  <a:lnTo>
                    <a:pt x="25859" y="11192"/>
                  </a:lnTo>
                  <a:lnTo>
                    <a:pt x="46639" y="2784"/>
                  </a:lnTo>
                  <a:lnTo>
                    <a:pt x="67701" y="12175"/>
                  </a:lnTo>
                  <a:lnTo>
                    <a:pt x="93423" y="8092"/>
                  </a:lnTo>
                  <a:lnTo>
                    <a:pt x="109639" y="19117"/>
                  </a:lnTo>
                  <a:lnTo>
                    <a:pt x="117217" y="40015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5080D02E-546C-4E8A-967C-1B5900F97E62}"/>
                </a:ext>
              </a:extLst>
            </p:cNvPr>
            <p:cNvSpPr/>
            <p:nvPr/>
          </p:nvSpPr>
          <p:spPr>
            <a:xfrm>
              <a:off x="1187833" y="4767642"/>
              <a:ext cx="113215" cy="137342"/>
            </a:xfrm>
            <a:custGeom>
              <a:avLst/>
              <a:gdLst>
                <a:gd name="connsiteX0" fmla="*/ 94030 w 113215"/>
                <a:gd name="connsiteY0" fmla="*/ 53415 h 137342"/>
                <a:gd name="connsiteX1" fmla="*/ 98081 w 113215"/>
                <a:gd name="connsiteY1" fmla="*/ 84243 h 137342"/>
                <a:gd name="connsiteX2" fmla="*/ 111205 w 113215"/>
                <a:gd name="connsiteY2" fmla="*/ 102561 h 137342"/>
                <a:gd name="connsiteX3" fmla="*/ 106942 w 113215"/>
                <a:gd name="connsiteY3" fmla="*/ 118541 h 137342"/>
                <a:gd name="connsiteX4" fmla="*/ 68833 w 113215"/>
                <a:gd name="connsiteY4" fmla="*/ 135654 h 137342"/>
                <a:gd name="connsiteX5" fmla="*/ 22526 w 113215"/>
                <a:gd name="connsiteY5" fmla="*/ 47773 h 137342"/>
                <a:gd name="connsiteX6" fmla="*/ 2784 w 113215"/>
                <a:gd name="connsiteY6" fmla="*/ 9243 h 137342"/>
                <a:gd name="connsiteX7" fmla="*/ 34557 w 113215"/>
                <a:gd name="connsiteY7" fmla="*/ 27153 h 137342"/>
                <a:gd name="connsiteX8" fmla="*/ 27374 w 113215"/>
                <a:gd name="connsiteY8" fmla="*/ 8742 h 137342"/>
                <a:gd name="connsiteX9" fmla="*/ 43439 w 113215"/>
                <a:gd name="connsiteY9" fmla="*/ 2784 h 137342"/>
                <a:gd name="connsiteX10" fmla="*/ 70835 w 113215"/>
                <a:gd name="connsiteY10" fmla="*/ 52005 h 137342"/>
                <a:gd name="connsiteX11" fmla="*/ 85978 w 113215"/>
                <a:gd name="connsiteY11" fmla="*/ 40238 h 137342"/>
                <a:gd name="connsiteX12" fmla="*/ 94030 w 113215"/>
                <a:gd name="connsiteY12" fmla="*/ 53415 h 13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215" h="137342">
                  <a:moveTo>
                    <a:pt x="94030" y="53415"/>
                  </a:moveTo>
                  <a:lnTo>
                    <a:pt x="98081" y="84243"/>
                  </a:lnTo>
                  <a:lnTo>
                    <a:pt x="111205" y="102561"/>
                  </a:lnTo>
                  <a:lnTo>
                    <a:pt x="106942" y="118541"/>
                  </a:lnTo>
                  <a:lnTo>
                    <a:pt x="68833" y="135654"/>
                  </a:lnTo>
                  <a:lnTo>
                    <a:pt x="22526" y="47773"/>
                  </a:lnTo>
                  <a:lnTo>
                    <a:pt x="2784" y="9243"/>
                  </a:lnTo>
                  <a:lnTo>
                    <a:pt x="34557" y="27153"/>
                  </a:lnTo>
                  <a:lnTo>
                    <a:pt x="27374" y="8742"/>
                  </a:lnTo>
                  <a:lnTo>
                    <a:pt x="43439" y="2784"/>
                  </a:lnTo>
                  <a:lnTo>
                    <a:pt x="70835" y="52005"/>
                  </a:lnTo>
                  <a:lnTo>
                    <a:pt x="85978" y="40238"/>
                  </a:lnTo>
                  <a:lnTo>
                    <a:pt x="94030" y="53415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717CC60-07D6-4A0D-ADE8-22098D223E9C}"/>
                </a:ext>
              </a:extLst>
            </p:cNvPr>
            <p:cNvSpPr/>
            <p:nvPr/>
          </p:nvSpPr>
          <p:spPr>
            <a:xfrm>
              <a:off x="1200142" y="5874195"/>
              <a:ext cx="244990" cy="298812"/>
            </a:xfrm>
            <a:custGeom>
              <a:avLst/>
              <a:gdLst>
                <a:gd name="connsiteX0" fmla="*/ 106103 w 244989"/>
                <a:gd name="connsiteY0" fmla="*/ 292595 h 298812"/>
                <a:gd name="connsiteX1" fmla="*/ 87343 w 244989"/>
                <a:gd name="connsiteY1" fmla="*/ 270917 h 298812"/>
                <a:gd name="connsiteX2" fmla="*/ 66901 w 244989"/>
                <a:gd name="connsiteY2" fmla="*/ 270769 h 298812"/>
                <a:gd name="connsiteX3" fmla="*/ 62773 w 244989"/>
                <a:gd name="connsiteY3" fmla="*/ 250167 h 298812"/>
                <a:gd name="connsiteX4" fmla="*/ 56327 w 244989"/>
                <a:gd name="connsiteY4" fmla="*/ 188270 h 298812"/>
                <a:gd name="connsiteX5" fmla="*/ 48089 w 244989"/>
                <a:gd name="connsiteY5" fmla="*/ 163215 h 298812"/>
                <a:gd name="connsiteX6" fmla="*/ 32779 w 244989"/>
                <a:gd name="connsiteY6" fmla="*/ 141834 h 298812"/>
                <a:gd name="connsiteX7" fmla="*/ 33534 w 244989"/>
                <a:gd name="connsiteY7" fmla="*/ 114495 h 298812"/>
                <a:gd name="connsiteX8" fmla="*/ 14866 w 244989"/>
                <a:gd name="connsiteY8" fmla="*/ 98757 h 298812"/>
                <a:gd name="connsiteX9" fmla="*/ 19035 w 244989"/>
                <a:gd name="connsiteY9" fmla="*/ 76837 h 298812"/>
                <a:gd name="connsiteX10" fmla="*/ 2784 w 244989"/>
                <a:gd name="connsiteY10" fmla="*/ 33500 h 298812"/>
                <a:gd name="connsiteX11" fmla="*/ 25449 w 244989"/>
                <a:gd name="connsiteY11" fmla="*/ 31589 h 298812"/>
                <a:gd name="connsiteX12" fmla="*/ 33462 w 244989"/>
                <a:gd name="connsiteY12" fmla="*/ 49889 h 298812"/>
                <a:gd name="connsiteX13" fmla="*/ 27220 w 244989"/>
                <a:gd name="connsiteY13" fmla="*/ 53433 h 298812"/>
                <a:gd name="connsiteX14" fmla="*/ 51734 w 244989"/>
                <a:gd name="connsiteY14" fmla="*/ 63140 h 298812"/>
                <a:gd name="connsiteX15" fmla="*/ 57994 w 244989"/>
                <a:gd name="connsiteY15" fmla="*/ 75742 h 298812"/>
                <a:gd name="connsiteX16" fmla="*/ 70327 w 244989"/>
                <a:gd name="connsiteY16" fmla="*/ 51670 h 298812"/>
                <a:gd name="connsiteX17" fmla="*/ 83827 w 244989"/>
                <a:gd name="connsiteY17" fmla="*/ 56329 h 298812"/>
                <a:gd name="connsiteX18" fmla="*/ 104343 w 244989"/>
                <a:gd name="connsiteY18" fmla="*/ 46269 h 298812"/>
                <a:gd name="connsiteX19" fmla="*/ 121428 w 244989"/>
                <a:gd name="connsiteY19" fmla="*/ 52041 h 298812"/>
                <a:gd name="connsiteX20" fmla="*/ 133759 w 244989"/>
                <a:gd name="connsiteY20" fmla="*/ 65386 h 298812"/>
                <a:gd name="connsiteX21" fmla="*/ 127916 w 244989"/>
                <a:gd name="connsiteY21" fmla="*/ 34001 h 298812"/>
                <a:gd name="connsiteX22" fmla="*/ 120355 w 244989"/>
                <a:gd name="connsiteY22" fmla="*/ 29250 h 298812"/>
                <a:gd name="connsiteX23" fmla="*/ 126352 w 244989"/>
                <a:gd name="connsiteY23" fmla="*/ 2784 h 298812"/>
                <a:gd name="connsiteX24" fmla="*/ 136326 w 244989"/>
                <a:gd name="connsiteY24" fmla="*/ 17353 h 298812"/>
                <a:gd name="connsiteX25" fmla="*/ 175736 w 244989"/>
                <a:gd name="connsiteY25" fmla="*/ 29807 h 298812"/>
                <a:gd name="connsiteX26" fmla="*/ 181732 w 244989"/>
                <a:gd name="connsiteY26" fmla="*/ 40757 h 298812"/>
                <a:gd name="connsiteX27" fmla="*/ 170474 w 244989"/>
                <a:gd name="connsiteY27" fmla="*/ 50204 h 298812"/>
                <a:gd name="connsiteX28" fmla="*/ 185162 w 244989"/>
                <a:gd name="connsiteY28" fmla="*/ 62324 h 298812"/>
                <a:gd name="connsiteX29" fmla="*/ 195420 w 244989"/>
                <a:gd name="connsiteY29" fmla="*/ 57275 h 298812"/>
                <a:gd name="connsiteX30" fmla="*/ 229173 w 244989"/>
                <a:gd name="connsiteY30" fmla="*/ 87639 h 298812"/>
                <a:gd name="connsiteX31" fmla="*/ 220233 w 244989"/>
                <a:gd name="connsiteY31" fmla="*/ 100965 h 298812"/>
                <a:gd name="connsiteX32" fmla="*/ 226400 w 244989"/>
                <a:gd name="connsiteY32" fmla="*/ 107628 h 298812"/>
                <a:gd name="connsiteX33" fmla="*/ 220044 w 244989"/>
                <a:gd name="connsiteY33" fmla="*/ 126503 h 298812"/>
                <a:gd name="connsiteX34" fmla="*/ 243481 w 244989"/>
                <a:gd name="connsiteY34" fmla="*/ 150835 h 298812"/>
                <a:gd name="connsiteX35" fmla="*/ 241501 w 244989"/>
                <a:gd name="connsiteY35" fmla="*/ 175817 h 298812"/>
                <a:gd name="connsiteX36" fmla="*/ 237106 w 244989"/>
                <a:gd name="connsiteY36" fmla="*/ 190980 h 298812"/>
                <a:gd name="connsiteX37" fmla="*/ 216476 w 244989"/>
                <a:gd name="connsiteY37" fmla="*/ 178953 h 298812"/>
                <a:gd name="connsiteX38" fmla="*/ 207443 w 244989"/>
                <a:gd name="connsiteY38" fmla="*/ 186340 h 298812"/>
                <a:gd name="connsiteX39" fmla="*/ 201183 w 244989"/>
                <a:gd name="connsiteY39" fmla="*/ 211136 h 298812"/>
                <a:gd name="connsiteX40" fmla="*/ 216135 w 244989"/>
                <a:gd name="connsiteY40" fmla="*/ 224926 h 298812"/>
                <a:gd name="connsiteX41" fmla="*/ 211174 w 244989"/>
                <a:gd name="connsiteY41" fmla="*/ 241871 h 298812"/>
                <a:gd name="connsiteX42" fmla="*/ 219001 w 244989"/>
                <a:gd name="connsiteY42" fmla="*/ 248274 h 298812"/>
                <a:gd name="connsiteX43" fmla="*/ 195467 w 244989"/>
                <a:gd name="connsiteY43" fmla="*/ 255420 h 298812"/>
                <a:gd name="connsiteX44" fmla="*/ 198728 w 244989"/>
                <a:gd name="connsiteY44" fmla="*/ 281273 h 298812"/>
                <a:gd name="connsiteX45" fmla="*/ 179002 w 244989"/>
                <a:gd name="connsiteY45" fmla="*/ 296307 h 298812"/>
                <a:gd name="connsiteX46" fmla="*/ 164501 w 244989"/>
                <a:gd name="connsiteY46" fmla="*/ 296065 h 298812"/>
                <a:gd name="connsiteX47" fmla="*/ 145383 w 244989"/>
                <a:gd name="connsiteY47" fmla="*/ 266797 h 298812"/>
                <a:gd name="connsiteX48" fmla="*/ 140197 w 244989"/>
                <a:gd name="connsiteY48" fmla="*/ 276968 h 298812"/>
                <a:gd name="connsiteX49" fmla="*/ 129449 w 244989"/>
                <a:gd name="connsiteY49" fmla="*/ 273590 h 298812"/>
                <a:gd name="connsiteX50" fmla="*/ 106103 w 244989"/>
                <a:gd name="connsiteY50" fmla="*/ 292595 h 298812"/>
                <a:gd name="connsiteX51" fmla="*/ 159229 w 244989"/>
                <a:gd name="connsiteY51" fmla="*/ 188048 h 298812"/>
                <a:gd name="connsiteX52" fmla="*/ 145765 w 244989"/>
                <a:gd name="connsiteY52" fmla="*/ 178285 h 298812"/>
                <a:gd name="connsiteX53" fmla="*/ 136658 w 244989"/>
                <a:gd name="connsiteY53" fmla="*/ 158482 h 298812"/>
                <a:gd name="connsiteX54" fmla="*/ 113332 w 244989"/>
                <a:gd name="connsiteY54" fmla="*/ 156236 h 298812"/>
                <a:gd name="connsiteX55" fmla="*/ 99173 w 244989"/>
                <a:gd name="connsiteY55" fmla="*/ 147439 h 298812"/>
                <a:gd name="connsiteX56" fmla="*/ 86049 w 244989"/>
                <a:gd name="connsiteY56" fmla="*/ 129102 h 298812"/>
                <a:gd name="connsiteX57" fmla="*/ 92062 w 244989"/>
                <a:gd name="connsiteY57" fmla="*/ 156218 h 298812"/>
                <a:gd name="connsiteX58" fmla="*/ 114011 w 244989"/>
                <a:gd name="connsiteY58" fmla="*/ 176541 h 298812"/>
                <a:gd name="connsiteX59" fmla="*/ 122686 w 244989"/>
                <a:gd name="connsiteY59" fmla="*/ 161544 h 298812"/>
                <a:gd name="connsiteX60" fmla="*/ 128510 w 244989"/>
                <a:gd name="connsiteY60" fmla="*/ 176782 h 298812"/>
                <a:gd name="connsiteX61" fmla="*/ 138995 w 244989"/>
                <a:gd name="connsiteY61" fmla="*/ 178508 h 298812"/>
                <a:gd name="connsiteX62" fmla="*/ 132903 w 244989"/>
                <a:gd name="connsiteY62" fmla="*/ 199054 h 298812"/>
                <a:gd name="connsiteX63" fmla="*/ 104089 w 244989"/>
                <a:gd name="connsiteY63" fmla="*/ 210431 h 298812"/>
                <a:gd name="connsiteX64" fmla="*/ 111142 w 244989"/>
                <a:gd name="connsiteY64" fmla="*/ 228025 h 298812"/>
                <a:gd name="connsiteX65" fmla="*/ 96470 w 244989"/>
                <a:gd name="connsiteY65" fmla="*/ 232053 h 298812"/>
                <a:gd name="connsiteX66" fmla="*/ 93265 w 244989"/>
                <a:gd name="connsiteY66" fmla="*/ 217261 h 298812"/>
                <a:gd name="connsiteX67" fmla="*/ 80310 w 244989"/>
                <a:gd name="connsiteY67" fmla="*/ 232071 h 298812"/>
                <a:gd name="connsiteX68" fmla="*/ 98033 w 244989"/>
                <a:gd name="connsiteY68" fmla="*/ 263270 h 298812"/>
                <a:gd name="connsiteX69" fmla="*/ 116721 w 244989"/>
                <a:gd name="connsiteY69" fmla="*/ 257740 h 298812"/>
                <a:gd name="connsiteX70" fmla="*/ 130110 w 244989"/>
                <a:gd name="connsiteY70" fmla="*/ 240312 h 298812"/>
                <a:gd name="connsiteX71" fmla="*/ 137994 w 244989"/>
                <a:gd name="connsiteY71" fmla="*/ 220342 h 298812"/>
                <a:gd name="connsiteX72" fmla="*/ 148950 w 244989"/>
                <a:gd name="connsiteY72" fmla="*/ 214347 h 298812"/>
                <a:gd name="connsiteX73" fmla="*/ 155945 w 244989"/>
                <a:gd name="connsiteY73" fmla="*/ 220898 h 298812"/>
                <a:gd name="connsiteX74" fmla="*/ 154266 w 244989"/>
                <a:gd name="connsiteY74" fmla="*/ 242428 h 298812"/>
                <a:gd name="connsiteX75" fmla="*/ 164186 w 244989"/>
                <a:gd name="connsiteY75" fmla="*/ 208519 h 298812"/>
                <a:gd name="connsiteX76" fmla="*/ 159229 w 244989"/>
                <a:gd name="connsiteY76" fmla="*/ 188048 h 29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44989" h="298812">
                  <a:moveTo>
                    <a:pt x="106103" y="292595"/>
                  </a:moveTo>
                  <a:lnTo>
                    <a:pt x="87343" y="270917"/>
                  </a:lnTo>
                  <a:lnTo>
                    <a:pt x="66901" y="270769"/>
                  </a:lnTo>
                  <a:lnTo>
                    <a:pt x="62773" y="250167"/>
                  </a:lnTo>
                  <a:lnTo>
                    <a:pt x="56327" y="188270"/>
                  </a:lnTo>
                  <a:lnTo>
                    <a:pt x="48089" y="163215"/>
                  </a:lnTo>
                  <a:lnTo>
                    <a:pt x="32779" y="141834"/>
                  </a:lnTo>
                  <a:lnTo>
                    <a:pt x="33534" y="114495"/>
                  </a:lnTo>
                  <a:lnTo>
                    <a:pt x="14866" y="98757"/>
                  </a:lnTo>
                  <a:lnTo>
                    <a:pt x="19035" y="76837"/>
                  </a:lnTo>
                  <a:lnTo>
                    <a:pt x="2784" y="33500"/>
                  </a:lnTo>
                  <a:lnTo>
                    <a:pt x="25449" y="31589"/>
                  </a:lnTo>
                  <a:lnTo>
                    <a:pt x="33462" y="49889"/>
                  </a:lnTo>
                  <a:lnTo>
                    <a:pt x="27220" y="53433"/>
                  </a:lnTo>
                  <a:lnTo>
                    <a:pt x="51734" y="63140"/>
                  </a:lnTo>
                  <a:lnTo>
                    <a:pt x="57994" y="75742"/>
                  </a:lnTo>
                  <a:lnTo>
                    <a:pt x="70327" y="51670"/>
                  </a:lnTo>
                  <a:lnTo>
                    <a:pt x="83827" y="56329"/>
                  </a:lnTo>
                  <a:lnTo>
                    <a:pt x="104343" y="46269"/>
                  </a:lnTo>
                  <a:lnTo>
                    <a:pt x="121428" y="52041"/>
                  </a:lnTo>
                  <a:lnTo>
                    <a:pt x="133759" y="65386"/>
                  </a:lnTo>
                  <a:lnTo>
                    <a:pt x="127916" y="34001"/>
                  </a:lnTo>
                  <a:lnTo>
                    <a:pt x="120355" y="29250"/>
                  </a:lnTo>
                  <a:lnTo>
                    <a:pt x="126352" y="2784"/>
                  </a:lnTo>
                  <a:lnTo>
                    <a:pt x="136326" y="17353"/>
                  </a:lnTo>
                  <a:lnTo>
                    <a:pt x="175736" y="29807"/>
                  </a:lnTo>
                  <a:lnTo>
                    <a:pt x="181732" y="40757"/>
                  </a:lnTo>
                  <a:lnTo>
                    <a:pt x="170474" y="50204"/>
                  </a:lnTo>
                  <a:lnTo>
                    <a:pt x="185162" y="62324"/>
                  </a:lnTo>
                  <a:lnTo>
                    <a:pt x="195420" y="57275"/>
                  </a:lnTo>
                  <a:lnTo>
                    <a:pt x="229173" y="87639"/>
                  </a:lnTo>
                  <a:lnTo>
                    <a:pt x="220233" y="100965"/>
                  </a:lnTo>
                  <a:lnTo>
                    <a:pt x="226400" y="107628"/>
                  </a:lnTo>
                  <a:lnTo>
                    <a:pt x="220044" y="126503"/>
                  </a:lnTo>
                  <a:lnTo>
                    <a:pt x="243481" y="150835"/>
                  </a:lnTo>
                  <a:lnTo>
                    <a:pt x="241501" y="175817"/>
                  </a:lnTo>
                  <a:lnTo>
                    <a:pt x="237106" y="190980"/>
                  </a:lnTo>
                  <a:lnTo>
                    <a:pt x="216476" y="178953"/>
                  </a:lnTo>
                  <a:lnTo>
                    <a:pt x="207443" y="186340"/>
                  </a:lnTo>
                  <a:lnTo>
                    <a:pt x="201183" y="211136"/>
                  </a:lnTo>
                  <a:lnTo>
                    <a:pt x="216135" y="224926"/>
                  </a:lnTo>
                  <a:lnTo>
                    <a:pt x="211174" y="241871"/>
                  </a:lnTo>
                  <a:lnTo>
                    <a:pt x="219001" y="248274"/>
                  </a:lnTo>
                  <a:lnTo>
                    <a:pt x="195467" y="255420"/>
                  </a:lnTo>
                  <a:lnTo>
                    <a:pt x="198728" y="281273"/>
                  </a:lnTo>
                  <a:lnTo>
                    <a:pt x="179002" y="296307"/>
                  </a:lnTo>
                  <a:lnTo>
                    <a:pt x="164501" y="296065"/>
                  </a:lnTo>
                  <a:lnTo>
                    <a:pt x="145383" y="266797"/>
                  </a:lnTo>
                  <a:lnTo>
                    <a:pt x="140197" y="276968"/>
                  </a:lnTo>
                  <a:lnTo>
                    <a:pt x="129449" y="273590"/>
                  </a:lnTo>
                  <a:lnTo>
                    <a:pt x="106103" y="292595"/>
                  </a:lnTo>
                  <a:close/>
                  <a:moveTo>
                    <a:pt x="159229" y="188048"/>
                  </a:moveTo>
                  <a:lnTo>
                    <a:pt x="145765" y="178285"/>
                  </a:lnTo>
                  <a:lnTo>
                    <a:pt x="136658" y="158482"/>
                  </a:lnTo>
                  <a:lnTo>
                    <a:pt x="113332" y="156236"/>
                  </a:lnTo>
                  <a:lnTo>
                    <a:pt x="99173" y="147439"/>
                  </a:lnTo>
                  <a:lnTo>
                    <a:pt x="86049" y="129102"/>
                  </a:lnTo>
                  <a:lnTo>
                    <a:pt x="92062" y="156218"/>
                  </a:lnTo>
                  <a:lnTo>
                    <a:pt x="114011" y="176541"/>
                  </a:lnTo>
                  <a:lnTo>
                    <a:pt x="122686" y="161544"/>
                  </a:lnTo>
                  <a:lnTo>
                    <a:pt x="128510" y="176782"/>
                  </a:lnTo>
                  <a:lnTo>
                    <a:pt x="138995" y="178508"/>
                  </a:lnTo>
                  <a:lnTo>
                    <a:pt x="132903" y="199054"/>
                  </a:lnTo>
                  <a:lnTo>
                    <a:pt x="104089" y="210431"/>
                  </a:lnTo>
                  <a:lnTo>
                    <a:pt x="111142" y="228025"/>
                  </a:lnTo>
                  <a:lnTo>
                    <a:pt x="96470" y="232053"/>
                  </a:lnTo>
                  <a:lnTo>
                    <a:pt x="93265" y="217261"/>
                  </a:lnTo>
                  <a:lnTo>
                    <a:pt x="80310" y="232071"/>
                  </a:lnTo>
                  <a:lnTo>
                    <a:pt x="98033" y="263270"/>
                  </a:lnTo>
                  <a:lnTo>
                    <a:pt x="116721" y="257740"/>
                  </a:lnTo>
                  <a:lnTo>
                    <a:pt x="130110" y="240312"/>
                  </a:lnTo>
                  <a:lnTo>
                    <a:pt x="137994" y="220342"/>
                  </a:lnTo>
                  <a:lnTo>
                    <a:pt x="148950" y="214347"/>
                  </a:lnTo>
                  <a:lnTo>
                    <a:pt x="155945" y="220898"/>
                  </a:lnTo>
                  <a:lnTo>
                    <a:pt x="154266" y="242428"/>
                  </a:lnTo>
                  <a:lnTo>
                    <a:pt x="164186" y="208519"/>
                  </a:lnTo>
                  <a:lnTo>
                    <a:pt x="159229" y="188048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D951827-7EB7-4ABB-A402-9D71BF6540D0}"/>
                </a:ext>
              </a:extLst>
            </p:cNvPr>
            <p:cNvSpPr/>
            <p:nvPr/>
          </p:nvSpPr>
          <p:spPr>
            <a:xfrm>
              <a:off x="2722706" y="5910201"/>
              <a:ext cx="319229" cy="202302"/>
            </a:xfrm>
            <a:custGeom>
              <a:avLst/>
              <a:gdLst>
                <a:gd name="connsiteX0" fmla="*/ 317600 w 319229"/>
                <a:gd name="connsiteY0" fmla="*/ 167836 h 202301"/>
                <a:gd name="connsiteX1" fmla="*/ 308951 w 319229"/>
                <a:gd name="connsiteY1" fmla="*/ 177710 h 202301"/>
                <a:gd name="connsiteX2" fmla="*/ 293101 w 319229"/>
                <a:gd name="connsiteY2" fmla="*/ 174276 h 202301"/>
                <a:gd name="connsiteX3" fmla="*/ 284693 w 319229"/>
                <a:gd name="connsiteY3" fmla="*/ 190924 h 202301"/>
                <a:gd name="connsiteX4" fmla="*/ 258579 w 319229"/>
                <a:gd name="connsiteY4" fmla="*/ 192521 h 202301"/>
                <a:gd name="connsiteX5" fmla="*/ 201007 w 319229"/>
                <a:gd name="connsiteY5" fmla="*/ 188920 h 202301"/>
                <a:gd name="connsiteX6" fmla="*/ 177510 w 319229"/>
                <a:gd name="connsiteY6" fmla="*/ 190962 h 202301"/>
                <a:gd name="connsiteX7" fmla="*/ 153252 w 319229"/>
                <a:gd name="connsiteY7" fmla="*/ 182925 h 202301"/>
                <a:gd name="connsiteX8" fmla="*/ 140372 w 319229"/>
                <a:gd name="connsiteY8" fmla="*/ 187510 h 202301"/>
                <a:gd name="connsiteX9" fmla="*/ 136418 w 319229"/>
                <a:gd name="connsiteY9" fmla="*/ 200056 h 202301"/>
                <a:gd name="connsiteX10" fmla="*/ 124039 w 319229"/>
                <a:gd name="connsiteY10" fmla="*/ 191816 h 202301"/>
                <a:gd name="connsiteX11" fmla="*/ 78920 w 319229"/>
                <a:gd name="connsiteY11" fmla="*/ 186229 h 202301"/>
                <a:gd name="connsiteX12" fmla="*/ 45086 w 319229"/>
                <a:gd name="connsiteY12" fmla="*/ 187361 h 202301"/>
                <a:gd name="connsiteX13" fmla="*/ 38552 w 319229"/>
                <a:gd name="connsiteY13" fmla="*/ 173107 h 202301"/>
                <a:gd name="connsiteX14" fmla="*/ 51897 w 319229"/>
                <a:gd name="connsiteY14" fmla="*/ 160765 h 202301"/>
                <a:gd name="connsiteX15" fmla="*/ 50746 w 319229"/>
                <a:gd name="connsiteY15" fmla="*/ 148200 h 202301"/>
                <a:gd name="connsiteX16" fmla="*/ 20958 w 319229"/>
                <a:gd name="connsiteY16" fmla="*/ 142725 h 202301"/>
                <a:gd name="connsiteX17" fmla="*/ 23222 w 319229"/>
                <a:gd name="connsiteY17" fmla="*/ 135561 h 202301"/>
                <a:gd name="connsiteX18" fmla="*/ 2784 w 319229"/>
                <a:gd name="connsiteY18" fmla="*/ 135412 h 202301"/>
                <a:gd name="connsiteX19" fmla="*/ 4803 w 319229"/>
                <a:gd name="connsiteY19" fmla="*/ 105327 h 202301"/>
                <a:gd name="connsiteX20" fmla="*/ 13326 w 319229"/>
                <a:gd name="connsiteY20" fmla="*/ 110783 h 202301"/>
                <a:gd name="connsiteX21" fmla="*/ 19640 w 319229"/>
                <a:gd name="connsiteY21" fmla="*/ 97012 h 202301"/>
                <a:gd name="connsiteX22" fmla="*/ 12385 w 319229"/>
                <a:gd name="connsiteY22" fmla="*/ 88827 h 202301"/>
                <a:gd name="connsiteX23" fmla="*/ 22238 w 319229"/>
                <a:gd name="connsiteY23" fmla="*/ 81292 h 202301"/>
                <a:gd name="connsiteX24" fmla="*/ 43378 w 319229"/>
                <a:gd name="connsiteY24" fmla="*/ 80494 h 202301"/>
                <a:gd name="connsiteX25" fmla="*/ 42877 w 319229"/>
                <a:gd name="connsiteY25" fmla="*/ 55902 h 202301"/>
                <a:gd name="connsiteX26" fmla="*/ 36140 w 319229"/>
                <a:gd name="connsiteY26" fmla="*/ 51021 h 202301"/>
                <a:gd name="connsiteX27" fmla="*/ 35063 w 319229"/>
                <a:gd name="connsiteY27" fmla="*/ 28230 h 202301"/>
                <a:gd name="connsiteX28" fmla="*/ 39295 w 319229"/>
                <a:gd name="connsiteY28" fmla="*/ 17354 h 202301"/>
                <a:gd name="connsiteX29" fmla="*/ 66745 w 319229"/>
                <a:gd name="connsiteY29" fmla="*/ 2784 h 202301"/>
                <a:gd name="connsiteX30" fmla="*/ 66986 w 319229"/>
                <a:gd name="connsiteY30" fmla="*/ 9558 h 202301"/>
                <a:gd name="connsiteX31" fmla="*/ 104811 w 319229"/>
                <a:gd name="connsiteY31" fmla="*/ 12046 h 202301"/>
                <a:gd name="connsiteX32" fmla="*/ 134618 w 319229"/>
                <a:gd name="connsiteY32" fmla="*/ 33649 h 202301"/>
                <a:gd name="connsiteX33" fmla="*/ 147870 w 319229"/>
                <a:gd name="connsiteY33" fmla="*/ 15386 h 202301"/>
                <a:gd name="connsiteX34" fmla="*/ 170810 w 319229"/>
                <a:gd name="connsiteY34" fmla="*/ 15145 h 202301"/>
                <a:gd name="connsiteX35" fmla="*/ 176972 w 319229"/>
                <a:gd name="connsiteY35" fmla="*/ 21808 h 202301"/>
                <a:gd name="connsiteX36" fmla="*/ 169919 w 319229"/>
                <a:gd name="connsiteY36" fmla="*/ 41648 h 202301"/>
                <a:gd name="connsiteX37" fmla="*/ 174336 w 319229"/>
                <a:gd name="connsiteY37" fmla="*/ 58797 h 202301"/>
                <a:gd name="connsiteX38" fmla="*/ 195977 w 319229"/>
                <a:gd name="connsiteY38" fmla="*/ 66426 h 202301"/>
                <a:gd name="connsiteX39" fmla="*/ 206705 w 319229"/>
                <a:gd name="connsiteY39" fmla="*/ 91073 h 202301"/>
                <a:gd name="connsiteX40" fmla="*/ 220105 w 319229"/>
                <a:gd name="connsiteY40" fmla="*/ 89792 h 202301"/>
                <a:gd name="connsiteX41" fmla="*/ 225005 w 319229"/>
                <a:gd name="connsiteY41" fmla="*/ 99221 h 202301"/>
                <a:gd name="connsiteX42" fmla="*/ 263071 w 319229"/>
                <a:gd name="connsiteY42" fmla="*/ 108463 h 202301"/>
                <a:gd name="connsiteX43" fmla="*/ 265836 w 319229"/>
                <a:gd name="connsiteY43" fmla="*/ 125891 h 202301"/>
                <a:gd name="connsiteX44" fmla="*/ 298205 w 319229"/>
                <a:gd name="connsiteY44" fmla="*/ 136897 h 202301"/>
                <a:gd name="connsiteX45" fmla="*/ 295940 w 319229"/>
                <a:gd name="connsiteY45" fmla="*/ 144061 h 202301"/>
                <a:gd name="connsiteX46" fmla="*/ 317600 w 319229"/>
                <a:gd name="connsiteY46" fmla="*/ 167836 h 202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19229" h="202301">
                  <a:moveTo>
                    <a:pt x="317600" y="167836"/>
                  </a:moveTo>
                  <a:lnTo>
                    <a:pt x="308951" y="177710"/>
                  </a:lnTo>
                  <a:lnTo>
                    <a:pt x="293101" y="174276"/>
                  </a:lnTo>
                  <a:lnTo>
                    <a:pt x="284693" y="190924"/>
                  </a:lnTo>
                  <a:lnTo>
                    <a:pt x="258579" y="192521"/>
                  </a:lnTo>
                  <a:lnTo>
                    <a:pt x="201007" y="188920"/>
                  </a:lnTo>
                  <a:lnTo>
                    <a:pt x="177510" y="190962"/>
                  </a:lnTo>
                  <a:lnTo>
                    <a:pt x="153252" y="182925"/>
                  </a:lnTo>
                  <a:lnTo>
                    <a:pt x="140372" y="187510"/>
                  </a:lnTo>
                  <a:lnTo>
                    <a:pt x="136418" y="200056"/>
                  </a:lnTo>
                  <a:lnTo>
                    <a:pt x="124039" y="191816"/>
                  </a:lnTo>
                  <a:lnTo>
                    <a:pt x="78920" y="186229"/>
                  </a:lnTo>
                  <a:lnTo>
                    <a:pt x="45086" y="187361"/>
                  </a:lnTo>
                  <a:lnTo>
                    <a:pt x="38552" y="173107"/>
                  </a:lnTo>
                  <a:lnTo>
                    <a:pt x="51897" y="160765"/>
                  </a:lnTo>
                  <a:lnTo>
                    <a:pt x="50746" y="148200"/>
                  </a:lnTo>
                  <a:lnTo>
                    <a:pt x="20958" y="142725"/>
                  </a:lnTo>
                  <a:lnTo>
                    <a:pt x="23222" y="135561"/>
                  </a:lnTo>
                  <a:lnTo>
                    <a:pt x="2784" y="135412"/>
                  </a:lnTo>
                  <a:lnTo>
                    <a:pt x="4803" y="105327"/>
                  </a:lnTo>
                  <a:lnTo>
                    <a:pt x="13326" y="110783"/>
                  </a:lnTo>
                  <a:lnTo>
                    <a:pt x="19640" y="97012"/>
                  </a:lnTo>
                  <a:lnTo>
                    <a:pt x="12385" y="88827"/>
                  </a:lnTo>
                  <a:lnTo>
                    <a:pt x="22238" y="81292"/>
                  </a:lnTo>
                  <a:lnTo>
                    <a:pt x="43378" y="80494"/>
                  </a:lnTo>
                  <a:lnTo>
                    <a:pt x="42877" y="55902"/>
                  </a:lnTo>
                  <a:lnTo>
                    <a:pt x="36140" y="51021"/>
                  </a:lnTo>
                  <a:lnTo>
                    <a:pt x="35063" y="28230"/>
                  </a:lnTo>
                  <a:lnTo>
                    <a:pt x="39295" y="17354"/>
                  </a:lnTo>
                  <a:lnTo>
                    <a:pt x="66745" y="2784"/>
                  </a:lnTo>
                  <a:lnTo>
                    <a:pt x="66986" y="9558"/>
                  </a:lnTo>
                  <a:lnTo>
                    <a:pt x="104811" y="12046"/>
                  </a:lnTo>
                  <a:lnTo>
                    <a:pt x="134618" y="33649"/>
                  </a:lnTo>
                  <a:lnTo>
                    <a:pt x="147870" y="15386"/>
                  </a:lnTo>
                  <a:lnTo>
                    <a:pt x="170810" y="15145"/>
                  </a:lnTo>
                  <a:lnTo>
                    <a:pt x="176972" y="21808"/>
                  </a:lnTo>
                  <a:lnTo>
                    <a:pt x="169919" y="41648"/>
                  </a:lnTo>
                  <a:lnTo>
                    <a:pt x="174336" y="58797"/>
                  </a:lnTo>
                  <a:lnTo>
                    <a:pt x="195977" y="66426"/>
                  </a:lnTo>
                  <a:lnTo>
                    <a:pt x="206705" y="91073"/>
                  </a:lnTo>
                  <a:lnTo>
                    <a:pt x="220105" y="89792"/>
                  </a:lnTo>
                  <a:lnTo>
                    <a:pt x="225005" y="99221"/>
                  </a:lnTo>
                  <a:lnTo>
                    <a:pt x="263071" y="108463"/>
                  </a:lnTo>
                  <a:lnTo>
                    <a:pt x="265836" y="125891"/>
                  </a:lnTo>
                  <a:lnTo>
                    <a:pt x="298205" y="136897"/>
                  </a:lnTo>
                  <a:lnTo>
                    <a:pt x="295940" y="144061"/>
                  </a:lnTo>
                  <a:lnTo>
                    <a:pt x="317600" y="16783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8DDB936E-484A-40E7-92D5-253B12FE288F}"/>
                </a:ext>
              </a:extLst>
            </p:cNvPr>
            <p:cNvSpPr/>
            <p:nvPr/>
          </p:nvSpPr>
          <p:spPr>
            <a:xfrm>
              <a:off x="2425128" y="5431470"/>
              <a:ext cx="373053" cy="425019"/>
            </a:xfrm>
            <a:custGeom>
              <a:avLst/>
              <a:gdLst>
                <a:gd name="connsiteX0" fmla="*/ 139546 w 373052"/>
                <a:gd name="connsiteY0" fmla="*/ 416073 h 425018"/>
                <a:gd name="connsiteX1" fmla="*/ 123610 w 373052"/>
                <a:gd name="connsiteY1" fmla="*/ 422866 h 425018"/>
                <a:gd name="connsiteX2" fmla="*/ 109676 w 373052"/>
                <a:gd name="connsiteY2" fmla="*/ 420824 h 425018"/>
                <a:gd name="connsiteX3" fmla="*/ 99251 w 373052"/>
                <a:gd name="connsiteY3" fmla="*/ 392725 h 425018"/>
                <a:gd name="connsiteX4" fmla="*/ 82393 w 373052"/>
                <a:gd name="connsiteY4" fmla="*/ 393690 h 425018"/>
                <a:gd name="connsiteX5" fmla="*/ 80847 w 373052"/>
                <a:gd name="connsiteY5" fmla="*/ 378638 h 425018"/>
                <a:gd name="connsiteX6" fmla="*/ 57786 w 373052"/>
                <a:gd name="connsiteY6" fmla="*/ 378063 h 425018"/>
                <a:gd name="connsiteX7" fmla="*/ 37684 w 373052"/>
                <a:gd name="connsiteY7" fmla="*/ 369340 h 425018"/>
                <a:gd name="connsiteX8" fmla="*/ 28183 w 373052"/>
                <a:gd name="connsiteY8" fmla="*/ 347049 h 425018"/>
                <a:gd name="connsiteX9" fmla="*/ 13209 w 373052"/>
                <a:gd name="connsiteY9" fmla="*/ 354529 h 425018"/>
                <a:gd name="connsiteX10" fmla="*/ 13269 w 373052"/>
                <a:gd name="connsiteY10" fmla="*/ 328155 h 425018"/>
                <a:gd name="connsiteX11" fmla="*/ 2784 w 373052"/>
                <a:gd name="connsiteY11" fmla="*/ 326429 h 425018"/>
                <a:gd name="connsiteX12" fmla="*/ 9365 w 373052"/>
                <a:gd name="connsiteY12" fmla="*/ 314328 h 425018"/>
                <a:gd name="connsiteX13" fmla="*/ 17322 w 373052"/>
                <a:gd name="connsiteY13" fmla="*/ 321567 h 425018"/>
                <a:gd name="connsiteX14" fmla="*/ 23772 w 373052"/>
                <a:gd name="connsiteY14" fmla="*/ 308631 h 425018"/>
                <a:gd name="connsiteX15" fmla="*/ 35822 w 373052"/>
                <a:gd name="connsiteY15" fmla="*/ 304158 h 425018"/>
                <a:gd name="connsiteX16" fmla="*/ 46496 w 373052"/>
                <a:gd name="connsiteY16" fmla="*/ 280346 h 425018"/>
                <a:gd name="connsiteX17" fmla="*/ 40500 w 373052"/>
                <a:gd name="connsiteY17" fmla="*/ 269395 h 425018"/>
                <a:gd name="connsiteX18" fmla="*/ 51758 w 373052"/>
                <a:gd name="connsiteY18" fmla="*/ 259948 h 425018"/>
                <a:gd name="connsiteX19" fmla="*/ 58679 w 373052"/>
                <a:gd name="connsiteY19" fmla="*/ 239291 h 425018"/>
                <a:gd name="connsiteX20" fmla="*/ 56079 w 373052"/>
                <a:gd name="connsiteY20" fmla="*/ 217595 h 425018"/>
                <a:gd name="connsiteX21" fmla="*/ 62265 w 373052"/>
                <a:gd name="connsiteY21" fmla="*/ 203007 h 425018"/>
                <a:gd name="connsiteX22" fmla="*/ 64566 w 373052"/>
                <a:gd name="connsiteY22" fmla="*/ 190739 h 425018"/>
                <a:gd name="connsiteX23" fmla="*/ 79407 w 373052"/>
                <a:gd name="connsiteY23" fmla="*/ 182424 h 425018"/>
                <a:gd name="connsiteX24" fmla="*/ 76465 w 373052"/>
                <a:gd name="connsiteY24" fmla="*/ 169284 h 425018"/>
                <a:gd name="connsiteX25" fmla="*/ 88685 w 373052"/>
                <a:gd name="connsiteY25" fmla="*/ 160542 h 425018"/>
                <a:gd name="connsiteX26" fmla="*/ 71545 w 373052"/>
                <a:gd name="connsiteY26" fmla="*/ 143708 h 425018"/>
                <a:gd name="connsiteX27" fmla="*/ 72753 w 373052"/>
                <a:gd name="connsiteY27" fmla="*/ 129900 h 425018"/>
                <a:gd name="connsiteX28" fmla="*/ 92911 w 373052"/>
                <a:gd name="connsiteY28" fmla="*/ 112231 h 425018"/>
                <a:gd name="connsiteX29" fmla="*/ 99115 w 373052"/>
                <a:gd name="connsiteY29" fmla="*/ 113808 h 425018"/>
                <a:gd name="connsiteX30" fmla="*/ 113334 w 373052"/>
                <a:gd name="connsiteY30" fmla="*/ 96232 h 425018"/>
                <a:gd name="connsiteX31" fmla="*/ 114937 w 373052"/>
                <a:gd name="connsiteY31" fmla="*/ 84930 h 425018"/>
                <a:gd name="connsiteX32" fmla="*/ 75906 w 373052"/>
                <a:gd name="connsiteY32" fmla="*/ 58816 h 425018"/>
                <a:gd name="connsiteX33" fmla="*/ 71532 w 373052"/>
                <a:gd name="connsiteY33" fmla="*/ 52710 h 425018"/>
                <a:gd name="connsiteX34" fmla="*/ 79772 w 373052"/>
                <a:gd name="connsiteY34" fmla="*/ 40349 h 425018"/>
                <a:gd name="connsiteX35" fmla="*/ 66951 w 373052"/>
                <a:gd name="connsiteY35" fmla="*/ 18560 h 425018"/>
                <a:gd name="connsiteX36" fmla="*/ 80604 w 373052"/>
                <a:gd name="connsiteY36" fmla="*/ 2784 h 425018"/>
                <a:gd name="connsiteX37" fmla="*/ 95990 w 373052"/>
                <a:gd name="connsiteY37" fmla="*/ 13957 h 425018"/>
                <a:gd name="connsiteX38" fmla="*/ 103364 w 373052"/>
                <a:gd name="connsiteY38" fmla="*/ 6830 h 425018"/>
                <a:gd name="connsiteX39" fmla="*/ 114904 w 373052"/>
                <a:gd name="connsiteY39" fmla="*/ 15200 h 425018"/>
                <a:gd name="connsiteX40" fmla="*/ 122974 w 373052"/>
                <a:gd name="connsiteY40" fmla="*/ 7108 h 425018"/>
                <a:gd name="connsiteX41" fmla="*/ 137664 w 373052"/>
                <a:gd name="connsiteY41" fmla="*/ 19228 h 425018"/>
                <a:gd name="connsiteX42" fmla="*/ 132477 w 373052"/>
                <a:gd name="connsiteY42" fmla="*/ 29399 h 425018"/>
                <a:gd name="connsiteX43" fmla="*/ 146072 w 373052"/>
                <a:gd name="connsiteY43" fmla="*/ 39996 h 425018"/>
                <a:gd name="connsiteX44" fmla="*/ 153314 w 373052"/>
                <a:gd name="connsiteY44" fmla="*/ 32034 h 425018"/>
                <a:gd name="connsiteX45" fmla="*/ 189290 w 373052"/>
                <a:gd name="connsiteY45" fmla="*/ 60338 h 425018"/>
                <a:gd name="connsiteX46" fmla="*/ 209542 w 373052"/>
                <a:gd name="connsiteY46" fmla="*/ 48608 h 425018"/>
                <a:gd name="connsiteX47" fmla="*/ 221913 w 373052"/>
                <a:gd name="connsiteY47" fmla="*/ 56849 h 425018"/>
                <a:gd name="connsiteX48" fmla="*/ 232473 w 373052"/>
                <a:gd name="connsiteY48" fmla="*/ 48367 h 425018"/>
                <a:gd name="connsiteX49" fmla="*/ 245935 w 373052"/>
                <a:gd name="connsiteY49" fmla="*/ 58129 h 425018"/>
                <a:gd name="connsiteX50" fmla="*/ 257496 w 373052"/>
                <a:gd name="connsiteY50" fmla="*/ 45230 h 425018"/>
                <a:gd name="connsiteX51" fmla="*/ 271599 w 373052"/>
                <a:gd name="connsiteY51" fmla="*/ 42985 h 425018"/>
                <a:gd name="connsiteX52" fmla="*/ 342218 w 373052"/>
                <a:gd name="connsiteY52" fmla="*/ 75130 h 425018"/>
                <a:gd name="connsiteX53" fmla="*/ 370688 w 373052"/>
                <a:gd name="connsiteY53" fmla="*/ 72290 h 425018"/>
                <a:gd name="connsiteX54" fmla="*/ 368517 w 373052"/>
                <a:gd name="connsiteY54" fmla="*/ 85394 h 425018"/>
                <a:gd name="connsiteX55" fmla="*/ 354430 w 373052"/>
                <a:gd name="connsiteY55" fmla="*/ 103805 h 425018"/>
                <a:gd name="connsiteX56" fmla="*/ 350198 w 373052"/>
                <a:gd name="connsiteY56" fmla="*/ 135932 h 425018"/>
                <a:gd name="connsiteX57" fmla="*/ 340677 w 373052"/>
                <a:gd name="connsiteY57" fmla="*/ 151058 h 425018"/>
                <a:gd name="connsiteX58" fmla="*/ 308665 w 373052"/>
                <a:gd name="connsiteY58" fmla="*/ 185060 h 425018"/>
                <a:gd name="connsiteX59" fmla="*/ 280944 w 373052"/>
                <a:gd name="connsiteY59" fmla="*/ 197977 h 425018"/>
                <a:gd name="connsiteX60" fmla="*/ 268819 w 373052"/>
                <a:gd name="connsiteY60" fmla="*/ 212658 h 425018"/>
                <a:gd name="connsiteX61" fmla="*/ 292444 w 373052"/>
                <a:gd name="connsiteY61" fmla="*/ 248887 h 425018"/>
                <a:gd name="connsiteX62" fmla="*/ 278583 w 373052"/>
                <a:gd name="connsiteY62" fmla="*/ 274035 h 425018"/>
                <a:gd name="connsiteX63" fmla="*/ 288594 w 373052"/>
                <a:gd name="connsiteY63" fmla="*/ 283501 h 425018"/>
                <a:gd name="connsiteX64" fmla="*/ 285163 w 373052"/>
                <a:gd name="connsiteY64" fmla="*/ 299369 h 425018"/>
                <a:gd name="connsiteX65" fmla="*/ 237492 w 373052"/>
                <a:gd name="connsiteY65" fmla="*/ 320546 h 425018"/>
                <a:gd name="connsiteX66" fmla="*/ 238565 w 373052"/>
                <a:gd name="connsiteY66" fmla="*/ 343337 h 425018"/>
                <a:gd name="connsiteX67" fmla="*/ 224856 w 373052"/>
                <a:gd name="connsiteY67" fmla="*/ 348070 h 425018"/>
                <a:gd name="connsiteX68" fmla="*/ 210866 w 373052"/>
                <a:gd name="connsiteY68" fmla="*/ 334985 h 425018"/>
                <a:gd name="connsiteX69" fmla="*/ 198382 w 373052"/>
                <a:gd name="connsiteY69" fmla="*/ 342075 h 425018"/>
                <a:gd name="connsiteX70" fmla="*/ 187896 w 373052"/>
                <a:gd name="connsiteY70" fmla="*/ 377766 h 425018"/>
                <a:gd name="connsiteX71" fmla="*/ 161910 w 373052"/>
                <a:gd name="connsiteY71" fmla="*/ 380197 h 425018"/>
                <a:gd name="connsiteX72" fmla="*/ 146751 w 373052"/>
                <a:gd name="connsiteY72" fmla="*/ 375798 h 425018"/>
                <a:gd name="connsiteX73" fmla="*/ 147336 w 373052"/>
                <a:gd name="connsiteY73" fmla="*/ 390164 h 425018"/>
                <a:gd name="connsiteX74" fmla="*/ 139546 w 373052"/>
                <a:gd name="connsiteY74" fmla="*/ 416073 h 42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73052" h="425018">
                  <a:moveTo>
                    <a:pt x="139546" y="416073"/>
                  </a:moveTo>
                  <a:lnTo>
                    <a:pt x="123610" y="422866"/>
                  </a:lnTo>
                  <a:lnTo>
                    <a:pt x="109676" y="420824"/>
                  </a:lnTo>
                  <a:lnTo>
                    <a:pt x="99251" y="392725"/>
                  </a:lnTo>
                  <a:lnTo>
                    <a:pt x="82393" y="393690"/>
                  </a:lnTo>
                  <a:lnTo>
                    <a:pt x="80847" y="378638"/>
                  </a:lnTo>
                  <a:lnTo>
                    <a:pt x="57786" y="378063"/>
                  </a:lnTo>
                  <a:lnTo>
                    <a:pt x="37684" y="369340"/>
                  </a:lnTo>
                  <a:lnTo>
                    <a:pt x="28183" y="347049"/>
                  </a:lnTo>
                  <a:lnTo>
                    <a:pt x="13209" y="354529"/>
                  </a:lnTo>
                  <a:lnTo>
                    <a:pt x="13269" y="328155"/>
                  </a:lnTo>
                  <a:lnTo>
                    <a:pt x="2784" y="326429"/>
                  </a:lnTo>
                  <a:lnTo>
                    <a:pt x="9365" y="314328"/>
                  </a:lnTo>
                  <a:lnTo>
                    <a:pt x="17322" y="321567"/>
                  </a:lnTo>
                  <a:lnTo>
                    <a:pt x="23772" y="308631"/>
                  </a:lnTo>
                  <a:lnTo>
                    <a:pt x="35822" y="304158"/>
                  </a:lnTo>
                  <a:lnTo>
                    <a:pt x="46496" y="280346"/>
                  </a:lnTo>
                  <a:lnTo>
                    <a:pt x="40500" y="269395"/>
                  </a:lnTo>
                  <a:lnTo>
                    <a:pt x="51758" y="259948"/>
                  </a:lnTo>
                  <a:lnTo>
                    <a:pt x="58679" y="239291"/>
                  </a:lnTo>
                  <a:lnTo>
                    <a:pt x="56079" y="217595"/>
                  </a:lnTo>
                  <a:lnTo>
                    <a:pt x="62265" y="203007"/>
                  </a:lnTo>
                  <a:lnTo>
                    <a:pt x="64566" y="190739"/>
                  </a:lnTo>
                  <a:lnTo>
                    <a:pt x="79407" y="182424"/>
                  </a:lnTo>
                  <a:lnTo>
                    <a:pt x="76465" y="169284"/>
                  </a:lnTo>
                  <a:lnTo>
                    <a:pt x="88685" y="160542"/>
                  </a:lnTo>
                  <a:lnTo>
                    <a:pt x="71545" y="143708"/>
                  </a:lnTo>
                  <a:lnTo>
                    <a:pt x="72753" y="129900"/>
                  </a:lnTo>
                  <a:lnTo>
                    <a:pt x="92911" y="112231"/>
                  </a:lnTo>
                  <a:lnTo>
                    <a:pt x="99115" y="113808"/>
                  </a:lnTo>
                  <a:lnTo>
                    <a:pt x="113334" y="96232"/>
                  </a:lnTo>
                  <a:lnTo>
                    <a:pt x="114937" y="84930"/>
                  </a:lnTo>
                  <a:lnTo>
                    <a:pt x="75906" y="58816"/>
                  </a:lnTo>
                  <a:lnTo>
                    <a:pt x="71532" y="52710"/>
                  </a:lnTo>
                  <a:lnTo>
                    <a:pt x="79772" y="40349"/>
                  </a:lnTo>
                  <a:lnTo>
                    <a:pt x="66951" y="18560"/>
                  </a:lnTo>
                  <a:lnTo>
                    <a:pt x="80604" y="2784"/>
                  </a:lnTo>
                  <a:lnTo>
                    <a:pt x="95990" y="13957"/>
                  </a:lnTo>
                  <a:lnTo>
                    <a:pt x="103364" y="6830"/>
                  </a:lnTo>
                  <a:lnTo>
                    <a:pt x="114904" y="15200"/>
                  </a:lnTo>
                  <a:lnTo>
                    <a:pt x="122974" y="7108"/>
                  </a:lnTo>
                  <a:lnTo>
                    <a:pt x="137664" y="19228"/>
                  </a:lnTo>
                  <a:lnTo>
                    <a:pt x="132477" y="29399"/>
                  </a:lnTo>
                  <a:lnTo>
                    <a:pt x="146072" y="39996"/>
                  </a:lnTo>
                  <a:lnTo>
                    <a:pt x="153314" y="32034"/>
                  </a:lnTo>
                  <a:lnTo>
                    <a:pt x="189290" y="60338"/>
                  </a:lnTo>
                  <a:lnTo>
                    <a:pt x="209542" y="48608"/>
                  </a:lnTo>
                  <a:lnTo>
                    <a:pt x="221913" y="56849"/>
                  </a:lnTo>
                  <a:lnTo>
                    <a:pt x="232473" y="48367"/>
                  </a:lnTo>
                  <a:lnTo>
                    <a:pt x="245935" y="58129"/>
                  </a:lnTo>
                  <a:lnTo>
                    <a:pt x="257496" y="45230"/>
                  </a:lnTo>
                  <a:lnTo>
                    <a:pt x="271599" y="42985"/>
                  </a:lnTo>
                  <a:lnTo>
                    <a:pt x="342218" y="75130"/>
                  </a:lnTo>
                  <a:lnTo>
                    <a:pt x="370688" y="72290"/>
                  </a:lnTo>
                  <a:lnTo>
                    <a:pt x="368517" y="85394"/>
                  </a:lnTo>
                  <a:lnTo>
                    <a:pt x="354430" y="103805"/>
                  </a:lnTo>
                  <a:lnTo>
                    <a:pt x="350198" y="135932"/>
                  </a:lnTo>
                  <a:lnTo>
                    <a:pt x="340677" y="151058"/>
                  </a:lnTo>
                  <a:lnTo>
                    <a:pt x="308665" y="185060"/>
                  </a:lnTo>
                  <a:lnTo>
                    <a:pt x="280944" y="197977"/>
                  </a:lnTo>
                  <a:lnTo>
                    <a:pt x="268819" y="212658"/>
                  </a:lnTo>
                  <a:lnTo>
                    <a:pt x="292444" y="248887"/>
                  </a:lnTo>
                  <a:lnTo>
                    <a:pt x="278583" y="274035"/>
                  </a:lnTo>
                  <a:lnTo>
                    <a:pt x="288594" y="283501"/>
                  </a:lnTo>
                  <a:lnTo>
                    <a:pt x="285163" y="299369"/>
                  </a:lnTo>
                  <a:lnTo>
                    <a:pt x="237492" y="320546"/>
                  </a:lnTo>
                  <a:lnTo>
                    <a:pt x="238565" y="343337"/>
                  </a:lnTo>
                  <a:lnTo>
                    <a:pt x="224856" y="348070"/>
                  </a:lnTo>
                  <a:lnTo>
                    <a:pt x="210866" y="334985"/>
                  </a:lnTo>
                  <a:lnTo>
                    <a:pt x="198382" y="342075"/>
                  </a:lnTo>
                  <a:lnTo>
                    <a:pt x="187896" y="377766"/>
                  </a:lnTo>
                  <a:lnTo>
                    <a:pt x="161910" y="380197"/>
                  </a:lnTo>
                  <a:lnTo>
                    <a:pt x="146751" y="375798"/>
                  </a:lnTo>
                  <a:lnTo>
                    <a:pt x="147336" y="390164"/>
                  </a:lnTo>
                  <a:lnTo>
                    <a:pt x="139546" y="41607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465748-2F09-4F66-9714-D284412CA36C}"/>
                </a:ext>
              </a:extLst>
            </p:cNvPr>
            <p:cNvSpPr/>
            <p:nvPr/>
          </p:nvSpPr>
          <p:spPr>
            <a:xfrm>
              <a:off x="1277668" y="6000513"/>
              <a:ext cx="89087" cy="139198"/>
            </a:xfrm>
            <a:custGeom>
              <a:avLst/>
              <a:gdLst>
                <a:gd name="connsiteX0" fmla="*/ 81700 w 89087"/>
                <a:gd name="connsiteY0" fmla="*/ 61730 h 139198"/>
                <a:gd name="connsiteX1" fmla="*/ 86660 w 89087"/>
                <a:gd name="connsiteY1" fmla="*/ 82201 h 139198"/>
                <a:gd name="connsiteX2" fmla="*/ 76739 w 89087"/>
                <a:gd name="connsiteY2" fmla="*/ 116092 h 139198"/>
                <a:gd name="connsiteX3" fmla="*/ 78417 w 89087"/>
                <a:gd name="connsiteY3" fmla="*/ 94581 h 139198"/>
                <a:gd name="connsiteX4" fmla="*/ 71422 w 89087"/>
                <a:gd name="connsiteY4" fmla="*/ 88029 h 139198"/>
                <a:gd name="connsiteX5" fmla="*/ 60466 w 89087"/>
                <a:gd name="connsiteY5" fmla="*/ 94024 h 139198"/>
                <a:gd name="connsiteX6" fmla="*/ 52584 w 89087"/>
                <a:gd name="connsiteY6" fmla="*/ 113994 h 139198"/>
                <a:gd name="connsiteX7" fmla="*/ 39195 w 89087"/>
                <a:gd name="connsiteY7" fmla="*/ 131422 h 139198"/>
                <a:gd name="connsiteX8" fmla="*/ 20507 w 89087"/>
                <a:gd name="connsiteY8" fmla="*/ 136953 h 139198"/>
                <a:gd name="connsiteX9" fmla="*/ 2784 w 89087"/>
                <a:gd name="connsiteY9" fmla="*/ 105754 h 139198"/>
                <a:gd name="connsiteX10" fmla="*/ 15739 w 89087"/>
                <a:gd name="connsiteY10" fmla="*/ 90943 h 139198"/>
                <a:gd name="connsiteX11" fmla="*/ 18944 w 89087"/>
                <a:gd name="connsiteY11" fmla="*/ 105735 h 139198"/>
                <a:gd name="connsiteX12" fmla="*/ 33614 w 89087"/>
                <a:gd name="connsiteY12" fmla="*/ 101708 h 139198"/>
                <a:gd name="connsiteX13" fmla="*/ 26563 w 89087"/>
                <a:gd name="connsiteY13" fmla="*/ 84113 h 139198"/>
                <a:gd name="connsiteX14" fmla="*/ 55377 w 89087"/>
                <a:gd name="connsiteY14" fmla="*/ 72717 h 139198"/>
                <a:gd name="connsiteX15" fmla="*/ 61468 w 89087"/>
                <a:gd name="connsiteY15" fmla="*/ 52190 h 139198"/>
                <a:gd name="connsiteX16" fmla="*/ 50984 w 89087"/>
                <a:gd name="connsiteY16" fmla="*/ 50464 h 139198"/>
                <a:gd name="connsiteX17" fmla="*/ 45158 w 89087"/>
                <a:gd name="connsiteY17" fmla="*/ 35226 h 139198"/>
                <a:gd name="connsiteX18" fmla="*/ 36483 w 89087"/>
                <a:gd name="connsiteY18" fmla="*/ 50223 h 139198"/>
                <a:gd name="connsiteX19" fmla="*/ 14536 w 89087"/>
                <a:gd name="connsiteY19" fmla="*/ 29900 h 139198"/>
                <a:gd name="connsiteX20" fmla="*/ 8523 w 89087"/>
                <a:gd name="connsiteY20" fmla="*/ 2784 h 139198"/>
                <a:gd name="connsiteX21" fmla="*/ 21644 w 89087"/>
                <a:gd name="connsiteY21" fmla="*/ 21121 h 139198"/>
                <a:gd name="connsiteX22" fmla="*/ 35806 w 89087"/>
                <a:gd name="connsiteY22" fmla="*/ 29918 h 139198"/>
                <a:gd name="connsiteX23" fmla="*/ 59132 w 89087"/>
                <a:gd name="connsiteY23" fmla="*/ 32164 h 139198"/>
                <a:gd name="connsiteX24" fmla="*/ 68237 w 89087"/>
                <a:gd name="connsiteY24" fmla="*/ 51967 h 139198"/>
                <a:gd name="connsiteX25" fmla="*/ 81700 w 89087"/>
                <a:gd name="connsiteY25" fmla="*/ 61730 h 139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9087" h="139198">
                  <a:moveTo>
                    <a:pt x="81700" y="61730"/>
                  </a:moveTo>
                  <a:lnTo>
                    <a:pt x="86660" y="82201"/>
                  </a:lnTo>
                  <a:lnTo>
                    <a:pt x="76739" y="116092"/>
                  </a:lnTo>
                  <a:lnTo>
                    <a:pt x="78417" y="94581"/>
                  </a:lnTo>
                  <a:lnTo>
                    <a:pt x="71422" y="88029"/>
                  </a:lnTo>
                  <a:lnTo>
                    <a:pt x="60466" y="94024"/>
                  </a:lnTo>
                  <a:lnTo>
                    <a:pt x="52584" y="113994"/>
                  </a:lnTo>
                  <a:lnTo>
                    <a:pt x="39195" y="131422"/>
                  </a:lnTo>
                  <a:lnTo>
                    <a:pt x="20507" y="136953"/>
                  </a:lnTo>
                  <a:lnTo>
                    <a:pt x="2784" y="105754"/>
                  </a:lnTo>
                  <a:lnTo>
                    <a:pt x="15739" y="90943"/>
                  </a:lnTo>
                  <a:lnTo>
                    <a:pt x="18944" y="105735"/>
                  </a:lnTo>
                  <a:lnTo>
                    <a:pt x="33614" y="101708"/>
                  </a:lnTo>
                  <a:lnTo>
                    <a:pt x="26563" y="84113"/>
                  </a:lnTo>
                  <a:lnTo>
                    <a:pt x="55377" y="72717"/>
                  </a:lnTo>
                  <a:lnTo>
                    <a:pt x="61468" y="52190"/>
                  </a:lnTo>
                  <a:lnTo>
                    <a:pt x="50984" y="50464"/>
                  </a:lnTo>
                  <a:lnTo>
                    <a:pt x="45158" y="35226"/>
                  </a:lnTo>
                  <a:lnTo>
                    <a:pt x="36483" y="50223"/>
                  </a:lnTo>
                  <a:lnTo>
                    <a:pt x="14536" y="29900"/>
                  </a:lnTo>
                  <a:lnTo>
                    <a:pt x="8523" y="2784"/>
                  </a:lnTo>
                  <a:lnTo>
                    <a:pt x="21644" y="21121"/>
                  </a:lnTo>
                  <a:lnTo>
                    <a:pt x="35806" y="29918"/>
                  </a:lnTo>
                  <a:lnTo>
                    <a:pt x="59132" y="32164"/>
                  </a:lnTo>
                  <a:lnTo>
                    <a:pt x="68237" y="51967"/>
                  </a:lnTo>
                  <a:lnTo>
                    <a:pt x="81700" y="6173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01725482-4185-40A2-816C-5E9177FC1CC9}"/>
                </a:ext>
              </a:extLst>
            </p:cNvPr>
            <p:cNvSpPr/>
            <p:nvPr/>
          </p:nvSpPr>
          <p:spPr>
            <a:xfrm>
              <a:off x="1550528" y="5312502"/>
              <a:ext cx="183742" cy="133630"/>
            </a:xfrm>
            <a:custGeom>
              <a:avLst/>
              <a:gdLst>
                <a:gd name="connsiteX0" fmla="*/ 181389 w 183742"/>
                <a:gd name="connsiteY0" fmla="*/ 75631 h 133630"/>
                <a:gd name="connsiteX1" fmla="*/ 180881 w 183742"/>
                <a:gd name="connsiteY1" fmla="*/ 88456 h 133630"/>
                <a:gd name="connsiteX2" fmla="*/ 176957 w 183742"/>
                <a:gd name="connsiteY2" fmla="*/ 95898 h 133630"/>
                <a:gd name="connsiteX3" fmla="*/ 174695 w 183742"/>
                <a:gd name="connsiteY3" fmla="*/ 103044 h 133630"/>
                <a:gd name="connsiteX4" fmla="*/ 172996 w 183742"/>
                <a:gd name="connsiteY4" fmla="*/ 108426 h 133630"/>
                <a:gd name="connsiteX5" fmla="*/ 150821 w 183742"/>
                <a:gd name="connsiteY5" fmla="*/ 118764 h 133630"/>
                <a:gd name="connsiteX6" fmla="*/ 146220 w 183742"/>
                <a:gd name="connsiteY6" fmla="*/ 105883 h 133630"/>
                <a:gd name="connsiteX7" fmla="*/ 140431 w 183742"/>
                <a:gd name="connsiteY7" fmla="*/ 122959 h 133630"/>
                <a:gd name="connsiteX8" fmla="*/ 131569 w 183742"/>
                <a:gd name="connsiteY8" fmla="*/ 126076 h 133630"/>
                <a:gd name="connsiteX9" fmla="*/ 117313 w 183742"/>
                <a:gd name="connsiteY9" fmla="*/ 111340 h 133630"/>
                <a:gd name="connsiteX10" fmla="*/ 99004 w 183742"/>
                <a:gd name="connsiteY10" fmla="*/ 103192 h 133630"/>
                <a:gd name="connsiteX11" fmla="*/ 97400 w 183742"/>
                <a:gd name="connsiteY11" fmla="*/ 114495 h 133630"/>
                <a:gd name="connsiteX12" fmla="*/ 75565 w 183742"/>
                <a:gd name="connsiteY12" fmla="*/ 116277 h 133630"/>
                <a:gd name="connsiteX13" fmla="*/ 66060 w 183742"/>
                <a:gd name="connsiteY13" fmla="*/ 131385 h 133630"/>
                <a:gd name="connsiteX14" fmla="*/ 37266 w 183742"/>
                <a:gd name="connsiteY14" fmla="*/ 121511 h 133630"/>
                <a:gd name="connsiteX15" fmla="*/ 26047 w 183742"/>
                <a:gd name="connsiteY15" fmla="*/ 125854 h 133630"/>
                <a:gd name="connsiteX16" fmla="*/ 18523 w 183742"/>
                <a:gd name="connsiteY16" fmla="*/ 115999 h 133630"/>
                <a:gd name="connsiteX17" fmla="*/ 19957 w 183742"/>
                <a:gd name="connsiteY17" fmla="*/ 108964 h 133630"/>
                <a:gd name="connsiteX18" fmla="*/ 3950 w 183742"/>
                <a:gd name="connsiteY18" fmla="*/ 88549 h 133630"/>
                <a:gd name="connsiteX19" fmla="*/ 14640 w 183742"/>
                <a:gd name="connsiteY19" fmla="*/ 80883 h 133630"/>
                <a:gd name="connsiteX20" fmla="*/ 18848 w 183742"/>
                <a:gd name="connsiteY20" fmla="*/ 53861 h 133630"/>
                <a:gd name="connsiteX21" fmla="*/ 6780 w 183742"/>
                <a:gd name="connsiteY21" fmla="*/ 42168 h 133630"/>
                <a:gd name="connsiteX22" fmla="*/ 2784 w 183742"/>
                <a:gd name="connsiteY22" fmla="*/ 22402 h 133630"/>
                <a:gd name="connsiteX23" fmla="*/ 40498 w 183742"/>
                <a:gd name="connsiteY23" fmla="*/ 2784 h 133630"/>
                <a:gd name="connsiteX24" fmla="*/ 51999 w 183742"/>
                <a:gd name="connsiteY24" fmla="*/ 16277 h 133630"/>
                <a:gd name="connsiteX25" fmla="*/ 52584 w 183742"/>
                <a:gd name="connsiteY25" fmla="*/ 30642 h 133630"/>
                <a:gd name="connsiteX26" fmla="*/ 69742 w 183742"/>
                <a:gd name="connsiteY26" fmla="*/ 26206 h 133630"/>
                <a:gd name="connsiteX27" fmla="*/ 90540 w 183742"/>
                <a:gd name="connsiteY27" fmla="*/ 33946 h 133630"/>
                <a:gd name="connsiteX28" fmla="*/ 130669 w 183742"/>
                <a:gd name="connsiteY28" fmla="*/ 24165 h 133630"/>
                <a:gd name="connsiteX29" fmla="*/ 139889 w 183742"/>
                <a:gd name="connsiteY29" fmla="*/ 28656 h 133630"/>
                <a:gd name="connsiteX30" fmla="*/ 156953 w 183742"/>
                <a:gd name="connsiteY30" fmla="*/ 55698 h 133630"/>
                <a:gd name="connsiteX31" fmla="*/ 170493 w 183742"/>
                <a:gd name="connsiteY31" fmla="*/ 55253 h 133630"/>
                <a:gd name="connsiteX32" fmla="*/ 181389 w 183742"/>
                <a:gd name="connsiteY32" fmla="*/ 75631 h 13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83742" h="133630">
                  <a:moveTo>
                    <a:pt x="181389" y="75631"/>
                  </a:moveTo>
                  <a:lnTo>
                    <a:pt x="180881" y="88456"/>
                  </a:lnTo>
                  <a:lnTo>
                    <a:pt x="176957" y="95898"/>
                  </a:lnTo>
                  <a:lnTo>
                    <a:pt x="174695" y="103044"/>
                  </a:lnTo>
                  <a:lnTo>
                    <a:pt x="172996" y="108426"/>
                  </a:lnTo>
                  <a:lnTo>
                    <a:pt x="150821" y="118764"/>
                  </a:lnTo>
                  <a:lnTo>
                    <a:pt x="146220" y="105883"/>
                  </a:lnTo>
                  <a:lnTo>
                    <a:pt x="140431" y="122959"/>
                  </a:lnTo>
                  <a:lnTo>
                    <a:pt x="131569" y="126076"/>
                  </a:lnTo>
                  <a:lnTo>
                    <a:pt x="117313" y="111340"/>
                  </a:lnTo>
                  <a:lnTo>
                    <a:pt x="99004" y="103192"/>
                  </a:lnTo>
                  <a:lnTo>
                    <a:pt x="97400" y="114495"/>
                  </a:lnTo>
                  <a:lnTo>
                    <a:pt x="75565" y="116277"/>
                  </a:lnTo>
                  <a:lnTo>
                    <a:pt x="66060" y="131385"/>
                  </a:lnTo>
                  <a:lnTo>
                    <a:pt x="37266" y="121511"/>
                  </a:lnTo>
                  <a:lnTo>
                    <a:pt x="26047" y="125854"/>
                  </a:lnTo>
                  <a:lnTo>
                    <a:pt x="18523" y="115999"/>
                  </a:lnTo>
                  <a:lnTo>
                    <a:pt x="19957" y="108964"/>
                  </a:lnTo>
                  <a:lnTo>
                    <a:pt x="3950" y="88549"/>
                  </a:lnTo>
                  <a:lnTo>
                    <a:pt x="14640" y="80883"/>
                  </a:lnTo>
                  <a:lnTo>
                    <a:pt x="18848" y="53861"/>
                  </a:lnTo>
                  <a:lnTo>
                    <a:pt x="6780" y="42168"/>
                  </a:lnTo>
                  <a:lnTo>
                    <a:pt x="2784" y="22402"/>
                  </a:lnTo>
                  <a:lnTo>
                    <a:pt x="40498" y="2784"/>
                  </a:lnTo>
                  <a:lnTo>
                    <a:pt x="51999" y="16277"/>
                  </a:lnTo>
                  <a:lnTo>
                    <a:pt x="52584" y="30642"/>
                  </a:lnTo>
                  <a:lnTo>
                    <a:pt x="69742" y="26206"/>
                  </a:lnTo>
                  <a:lnTo>
                    <a:pt x="90540" y="33946"/>
                  </a:lnTo>
                  <a:lnTo>
                    <a:pt x="130669" y="24165"/>
                  </a:lnTo>
                  <a:lnTo>
                    <a:pt x="139889" y="28656"/>
                  </a:lnTo>
                  <a:lnTo>
                    <a:pt x="156953" y="55698"/>
                  </a:lnTo>
                  <a:lnTo>
                    <a:pt x="170493" y="55253"/>
                  </a:lnTo>
                  <a:lnTo>
                    <a:pt x="181389" y="75631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FF66327-1D54-4AB6-8503-8939C52026A9}"/>
                </a:ext>
              </a:extLst>
            </p:cNvPr>
            <p:cNvSpPr/>
            <p:nvPr/>
          </p:nvSpPr>
          <p:spPr>
            <a:xfrm>
              <a:off x="1386436" y="5295798"/>
              <a:ext cx="185598" cy="183742"/>
            </a:xfrm>
            <a:custGeom>
              <a:avLst/>
              <a:gdLst>
                <a:gd name="connsiteX0" fmla="*/ 166875 w 185598"/>
                <a:gd name="connsiteY0" fmla="*/ 39105 h 183741"/>
                <a:gd name="connsiteX1" fmla="*/ 170873 w 185598"/>
                <a:gd name="connsiteY1" fmla="*/ 58872 h 183741"/>
                <a:gd name="connsiteX2" fmla="*/ 182941 w 185598"/>
                <a:gd name="connsiteY2" fmla="*/ 70564 h 183741"/>
                <a:gd name="connsiteX3" fmla="*/ 178733 w 185598"/>
                <a:gd name="connsiteY3" fmla="*/ 97587 h 183741"/>
                <a:gd name="connsiteX4" fmla="*/ 168041 w 185598"/>
                <a:gd name="connsiteY4" fmla="*/ 105252 h 183741"/>
                <a:gd name="connsiteX5" fmla="*/ 184049 w 185598"/>
                <a:gd name="connsiteY5" fmla="*/ 125668 h 183741"/>
                <a:gd name="connsiteX6" fmla="*/ 182616 w 185598"/>
                <a:gd name="connsiteY6" fmla="*/ 132702 h 183741"/>
                <a:gd name="connsiteX7" fmla="*/ 173715 w 185598"/>
                <a:gd name="connsiteY7" fmla="*/ 140906 h 183741"/>
                <a:gd name="connsiteX8" fmla="*/ 176525 w 185598"/>
                <a:gd name="connsiteY8" fmla="*/ 153229 h 183741"/>
                <a:gd name="connsiteX9" fmla="*/ 147994 w 185598"/>
                <a:gd name="connsiteY9" fmla="*/ 145008 h 183741"/>
                <a:gd name="connsiteX10" fmla="*/ 149370 w 185598"/>
                <a:gd name="connsiteY10" fmla="*/ 164347 h 183741"/>
                <a:gd name="connsiteX11" fmla="*/ 123742 w 185598"/>
                <a:gd name="connsiteY11" fmla="*/ 174369 h 183741"/>
                <a:gd name="connsiteX12" fmla="*/ 100210 w 185598"/>
                <a:gd name="connsiteY12" fmla="*/ 181515 h 183741"/>
                <a:gd name="connsiteX13" fmla="*/ 81335 w 185598"/>
                <a:gd name="connsiteY13" fmla="*/ 175167 h 183741"/>
                <a:gd name="connsiteX14" fmla="*/ 77411 w 185598"/>
                <a:gd name="connsiteY14" fmla="*/ 182591 h 183741"/>
                <a:gd name="connsiteX15" fmla="*/ 73811 w 185598"/>
                <a:gd name="connsiteY15" fmla="*/ 165312 h 183741"/>
                <a:gd name="connsiteX16" fmla="*/ 84674 w 185598"/>
                <a:gd name="connsiteY16" fmla="*/ 153378 h 183741"/>
                <a:gd name="connsiteX17" fmla="*/ 85919 w 185598"/>
                <a:gd name="connsiteY17" fmla="*/ 134466 h 183741"/>
                <a:gd name="connsiteX18" fmla="*/ 72851 w 185598"/>
                <a:gd name="connsiteY18" fmla="*/ 127190 h 183741"/>
                <a:gd name="connsiteX19" fmla="*/ 65932 w 185598"/>
                <a:gd name="connsiteY19" fmla="*/ 110431 h 183741"/>
                <a:gd name="connsiteX20" fmla="*/ 50074 w 185598"/>
                <a:gd name="connsiteY20" fmla="*/ 107016 h 183741"/>
                <a:gd name="connsiteX21" fmla="*/ 34104 w 185598"/>
                <a:gd name="connsiteY21" fmla="*/ 81477 h 183741"/>
                <a:gd name="connsiteX22" fmla="*/ 17340 w 185598"/>
                <a:gd name="connsiteY22" fmla="*/ 88400 h 183741"/>
                <a:gd name="connsiteX23" fmla="*/ 2784 w 185598"/>
                <a:gd name="connsiteY23" fmla="*/ 77116 h 183741"/>
                <a:gd name="connsiteX24" fmla="*/ 7253 w 185598"/>
                <a:gd name="connsiteY24" fmla="*/ 51745 h 183741"/>
                <a:gd name="connsiteX25" fmla="*/ 35917 w 185598"/>
                <a:gd name="connsiteY25" fmla="*/ 23367 h 183741"/>
                <a:gd name="connsiteX26" fmla="*/ 37294 w 185598"/>
                <a:gd name="connsiteY26" fmla="*/ 5289 h 183741"/>
                <a:gd name="connsiteX27" fmla="*/ 53059 w 185598"/>
                <a:gd name="connsiteY27" fmla="*/ 2784 h 183741"/>
                <a:gd name="connsiteX28" fmla="*/ 62638 w 185598"/>
                <a:gd name="connsiteY28" fmla="*/ 14866 h 183741"/>
                <a:gd name="connsiteX29" fmla="*/ 68161 w 185598"/>
                <a:gd name="connsiteY29" fmla="*/ 33537 h 183741"/>
                <a:gd name="connsiteX30" fmla="*/ 84547 w 185598"/>
                <a:gd name="connsiteY30" fmla="*/ 40293 h 183741"/>
                <a:gd name="connsiteX31" fmla="*/ 108308 w 185598"/>
                <a:gd name="connsiteY31" fmla="*/ 39922 h 183741"/>
                <a:gd name="connsiteX32" fmla="*/ 149319 w 185598"/>
                <a:gd name="connsiteY32" fmla="*/ 41036 h 183741"/>
                <a:gd name="connsiteX33" fmla="*/ 154902 w 185598"/>
                <a:gd name="connsiteY33" fmla="*/ 33352 h 183741"/>
                <a:gd name="connsiteX34" fmla="*/ 166875 w 185598"/>
                <a:gd name="connsiteY34" fmla="*/ 39105 h 1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85598" h="183741">
                  <a:moveTo>
                    <a:pt x="166875" y="39105"/>
                  </a:moveTo>
                  <a:lnTo>
                    <a:pt x="170873" y="58872"/>
                  </a:lnTo>
                  <a:lnTo>
                    <a:pt x="182941" y="70564"/>
                  </a:lnTo>
                  <a:lnTo>
                    <a:pt x="178733" y="97587"/>
                  </a:lnTo>
                  <a:lnTo>
                    <a:pt x="168041" y="105252"/>
                  </a:lnTo>
                  <a:lnTo>
                    <a:pt x="184049" y="125668"/>
                  </a:lnTo>
                  <a:lnTo>
                    <a:pt x="182616" y="132702"/>
                  </a:lnTo>
                  <a:lnTo>
                    <a:pt x="173715" y="140906"/>
                  </a:lnTo>
                  <a:lnTo>
                    <a:pt x="176525" y="153229"/>
                  </a:lnTo>
                  <a:lnTo>
                    <a:pt x="147994" y="145008"/>
                  </a:lnTo>
                  <a:lnTo>
                    <a:pt x="149370" y="164347"/>
                  </a:lnTo>
                  <a:lnTo>
                    <a:pt x="123742" y="174369"/>
                  </a:lnTo>
                  <a:lnTo>
                    <a:pt x="100210" y="181515"/>
                  </a:lnTo>
                  <a:lnTo>
                    <a:pt x="81335" y="175167"/>
                  </a:lnTo>
                  <a:lnTo>
                    <a:pt x="77411" y="182591"/>
                  </a:lnTo>
                  <a:lnTo>
                    <a:pt x="73811" y="165312"/>
                  </a:lnTo>
                  <a:lnTo>
                    <a:pt x="84674" y="153378"/>
                  </a:lnTo>
                  <a:lnTo>
                    <a:pt x="85919" y="134466"/>
                  </a:lnTo>
                  <a:lnTo>
                    <a:pt x="72851" y="127190"/>
                  </a:lnTo>
                  <a:lnTo>
                    <a:pt x="65932" y="110431"/>
                  </a:lnTo>
                  <a:lnTo>
                    <a:pt x="50074" y="107016"/>
                  </a:lnTo>
                  <a:lnTo>
                    <a:pt x="34104" y="81477"/>
                  </a:lnTo>
                  <a:lnTo>
                    <a:pt x="17340" y="88400"/>
                  </a:lnTo>
                  <a:lnTo>
                    <a:pt x="2784" y="77116"/>
                  </a:lnTo>
                  <a:lnTo>
                    <a:pt x="7253" y="51745"/>
                  </a:lnTo>
                  <a:lnTo>
                    <a:pt x="35917" y="23367"/>
                  </a:lnTo>
                  <a:lnTo>
                    <a:pt x="37294" y="5289"/>
                  </a:lnTo>
                  <a:lnTo>
                    <a:pt x="53059" y="2784"/>
                  </a:lnTo>
                  <a:lnTo>
                    <a:pt x="62638" y="14866"/>
                  </a:lnTo>
                  <a:lnTo>
                    <a:pt x="68161" y="33537"/>
                  </a:lnTo>
                  <a:lnTo>
                    <a:pt x="84547" y="40293"/>
                  </a:lnTo>
                  <a:lnTo>
                    <a:pt x="108308" y="39922"/>
                  </a:lnTo>
                  <a:lnTo>
                    <a:pt x="149319" y="41036"/>
                  </a:lnTo>
                  <a:lnTo>
                    <a:pt x="154902" y="33352"/>
                  </a:lnTo>
                  <a:lnTo>
                    <a:pt x="166875" y="39105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F6E5DC-F41A-4574-879A-4A0789C7CDFD}"/>
                </a:ext>
              </a:extLst>
            </p:cNvPr>
            <p:cNvSpPr/>
            <p:nvPr/>
          </p:nvSpPr>
          <p:spPr>
            <a:xfrm>
              <a:off x="1825022" y="5351737"/>
              <a:ext cx="167039" cy="196734"/>
            </a:xfrm>
            <a:custGeom>
              <a:avLst/>
              <a:gdLst>
                <a:gd name="connsiteX0" fmla="*/ 32561 w 167038"/>
                <a:gd name="connsiteY0" fmla="*/ 2784 h 196733"/>
                <a:gd name="connsiteX1" fmla="*/ 30655 w 167038"/>
                <a:gd name="connsiteY1" fmla="*/ 17557 h 196733"/>
                <a:gd name="connsiteX2" fmla="*/ 43326 w 167038"/>
                <a:gd name="connsiteY2" fmla="*/ 22346 h 196733"/>
                <a:gd name="connsiteX3" fmla="*/ 54527 w 167038"/>
                <a:gd name="connsiteY3" fmla="*/ 39272 h 196733"/>
                <a:gd name="connsiteX4" fmla="*/ 70895 w 167038"/>
                <a:gd name="connsiteY4" fmla="*/ 29863 h 196733"/>
                <a:gd name="connsiteX5" fmla="*/ 86544 w 167038"/>
                <a:gd name="connsiteY5" fmla="*/ 42669 h 196733"/>
                <a:gd name="connsiteX6" fmla="*/ 77643 w 167038"/>
                <a:gd name="connsiteY6" fmla="*/ 50891 h 196733"/>
                <a:gd name="connsiteX7" fmla="*/ 79152 w 167038"/>
                <a:gd name="connsiteY7" fmla="*/ 71065 h 196733"/>
                <a:gd name="connsiteX8" fmla="*/ 99856 w 167038"/>
                <a:gd name="connsiteY8" fmla="*/ 72866 h 196733"/>
                <a:gd name="connsiteX9" fmla="*/ 112677 w 167038"/>
                <a:gd name="connsiteY9" fmla="*/ 94655 h 196733"/>
                <a:gd name="connsiteX10" fmla="*/ 145374 w 167038"/>
                <a:gd name="connsiteY10" fmla="*/ 118356 h 196733"/>
                <a:gd name="connsiteX11" fmla="*/ 143072 w 167038"/>
                <a:gd name="connsiteY11" fmla="*/ 130624 h 196733"/>
                <a:gd name="connsiteX12" fmla="*/ 155914 w 167038"/>
                <a:gd name="connsiteY12" fmla="*/ 131143 h 196733"/>
                <a:gd name="connsiteX13" fmla="*/ 164529 w 167038"/>
                <a:gd name="connsiteY13" fmla="*/ 142520 h 196733"/>
                <a:gd name="connsiteX14" fmla="*/ 163379 w 167038"/>
                <a:gd name="connsiteY14" fmla="*/ 167372 h 196733"/>
                <a:gd name="connsiteX15" fmla="*/ 154158 w 167038"/>
                <a:gd name="connsiteY15" fmla="*/ 162881 h 196733"/>
                <a:gd name="connsiteX16" fmla="*/ 126305 w 167038"/>
                <a:gd name="connsiteY16" fmla="*/ 174963 h 196733"/>
                <a:gd name="connsiteX17" fmla="*/ 106695 w 167038"/>
                <a:gd name="connsiteY17" fmla="*/ 174685 h 196733"/>
                <a:gd name="connsiteX18" fmla="*/ 100245 w 167038"/>
                <a:gd name="connsiteY18" fmla="*/ 187621 h 196733"/>
                <a:gd name="connsiteX19" fmla="*/ 73393 w 167038"/>
                <a:gd name="connsiteY19" fmla="*/ 195286 h 196733"/>
                <a:gd name="connsiteX20" fmla="*/ 61457 w 167038"/>
                <a:gd name="connsiteY20" fmla="*/ 184429 h 196733"/>
                <a:gd name="connsiteX21" fmla="*/ 51257 w 167038"/>
                <a:gd name="connsiteY21" fmla="*/ 163103 h 196733"/>
                <a:gd name="connsiteX22" fmla="*/ 35570 w 167038"/>
                <a:gd name="connsiteY22" fmla="*/ 155382 h 196733"/>
                <a:gd name="connsiteX23" fmla="*/ 38267 w 167038"/>
                <a:gd name="connsiteY23" fmla="*/ 145601 h 196733"/>
                <a:gd name="connsiteX24" fmla="*/ 25896 w 167038"/>
                <a:gd name="connsiteY24" fmla="*/ 137361 h 196733"/>
                <a:gd name="connsiteX25" fmla="*/ 36967 w 167038"/>
                <a:gd name="connsiteY25" fmla="*/ 116054 h 196733"/>
                <a:gd name="connsiteX26" fmla="*/ 37949 w 167038"/>
                <a:gd name="connsiteY26" fmla="*/ 95471 h 196733"/>
                <a:gd name="connsiteX27" fmla="*/ 18413 w 167038"/>
                <a:gd name="connsiteY27" fmla="*/ 84985 h 196733"/>
                <a:gd name="connsiteX28" fmla="*/ 15247 w 167038"/>
                <a:gd name="connsiteY28" fmla="*/ 65070 h 196733"/>
                <a:gd name="connsiteX29" fmla="*/ 2784 w 167038"/>
                <a:gd name="connsiteY29" fmla="*/ 50891 h 196733"/>
                <a:gd name="connsiteX30" fmla="*/ 20473 w 167038"/>
                <a:gd name="connsiteY30" fmla="*/ 12361 h 196733"/>
                <a:gd name="connsiteX31" fmla="*/ 32561 w 167038"/>
                <a:gd name="connsiteY31" fmla="*/ 2784 h 19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67038" h="196733">
                  <a:moveTo>
                    <a:pt x="32561" y="2784"/>
                  </a:moveTo>
                  <a:lnTo>
                    <a:pt x="30655" y="17557"/>
                  </a:lnTo>
                  <a:lnTo>
                    <a:pt x="43326" y="22346"/>
                  </a:lnTo>
                  <a:lnTo>
                    <a:pt x="54527" y="39272"/>
                  </a:lnTo>
                  <a:lnTo>
                    <a:pt x="70895" y="29863"/>
                  </a:lnTo>
                  <a:lnTo>
                    <a:pt x="86544" y="42669"/>
                  </a:lnTo>
                  <a:lnTo>
                    <a:pt x="77643" y="50891"/>
                  </a:lnTo>
                  <a:lnTo>
                    <a:pt x="79152" y="71065"/>
                  </a:lnTo>
                  <a:lnTo>
                    <a:pt x="99856" y="72866"/>
                  </a:lnTo>
                  <a:lnTo>
                    <a:pt x="112677" y="94655"/>
                  </a:lnTo>
                  <a:lnTo>
                    <a:pt x="145374" y="118356"/>
                  </a:lnTo>
                  <a:lnTo>
                    <a:pt x="143072" y="130624"/>
                  </a:lnTo>
                  <a:lnTo>
                    <a:pt x="155914" y="131143"/>
                  </a:lnTo>
                  <a:lnTo>
                    <a:pt x="164529" y="142520"/>
                  </a:lnTo>
                  <a:lnTo>
                    <a:pt x="163379" y="167372"/>
                  </a:lnTo>
                  <a:lnTo>
                    <a:pt x="154158" y="162881"/>
                  </a:lnTo>
                  <a:lnTo>
                    <a:pt x="126305" y="174963"/>
                  </a:lnTo>
                  <a:lnTo>
                    <a:pt x="106695" y="174685"/>
                  </a:lnTo>
                  <a:lnTo>
                    <a:pt x="100245" y="187621"/>
                  </a:lnTo>
                  <a:lnTo>
                    <a:pt x="73393" y="195286"/>
                  </a:lnTo>
                  <a:lnTo>
                    <a:pt x="61457" y="184429"/>
                  </a:lnTo>
                  <a:lnTo>
                    <a:pt x="51257" y="163103"/>
                  </a:lnTo>
                  <a:lnTo>
                    <a:pt x="35570" y="155382"/>
                  </a:lnTo>
                  <a:lnTo>
                    <a:pt x="38267" y="145601"/>
                  </a:lnTo>
                  <a:lnTo>
                    <a:pt x="25896" y="137361"/>
                  </a:lnTo>
                  <a:lnTo>
                    <a:pt x="36967" y="116054"/>
                  </a:lnTo>
                  <a:lnTo>
                    <a:pt x="37949" y="95471"/>
                  </a:lnTo>
                  <a:lnTo>
                    <a:pt x="18413" y="84985"/>
                  </a:lnTo>
                  <a:lnTo>
                    <a:pt x="15247" y="65070"/>
                  </a:lnTo>
                  <a:lnTo>
                    <a:pt x="2784" y="50891"/>
                  </a:lnTo>
                  <a:lnTo>
                    <a:pt x="20473" y="12361"/>
                  </a:lnTo>
                  <a:lnTo>
                    <a:pt x="32561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E4D82E0-7F11-4887-94AB-7A2C0E12D598}"/>
                </a:ext>
              </a:extLst>
            </p:cNvPr>
            <p:cNvSpPr/>
            <p:nvPr/>
          </p:nvSpPr>
          <p:spPr>
            <a:xfrm>
              <a:off x="1427511" y="5554354"/>
              <a:ext cx="161471" cy="207870"/>
            </a:xfrm>
            <a:custGeom>
              <a:avLst/>
              <a:gdLst>
                <a:gd name="connsiteX0" fmla="*/ 152877 w 161470"/>
                <a:gd name="connsiteY0" fmla="*/ 95137 h 207869"/>
                <a:gd name="connsiteX1" fmla="*/ 145995 w 161470"/>
                <a:gd name="connsiteY1" fmla="*/ 110691 h 207869"/>
                <a:gd name="connsiteX2" fmla="*/ 159024 w 161470"/>
                <a:gd name="connsiteY2" fmla="*/ 123089 h 207869"/>
                <a:gd name="connsiteX3" fmla="*/ 156025 w 161470"/>
                <a:gd name="connsiteY3" fmla="*/ 136322 h 207869"/>
                <a:gd name="connsiteX4" fmla="*/ 144409 w 161470"/>
                <a:gd name="connsiteY4" fmla="*/ 138159 h 207869"/>
                <a:gd name="connsiteX5" fmla="*/ 150197 w 161470"/>
                <a:gd name="connsiteY5" fmla="*/ 158501 h 207869"/>
                <a:gd name="connsiteX6" fmla="*/ 137016 w 161470"/>
                <a:gd name="connsiteY6" fmla="*/ 166555 h 207869"/>
                <a:gd name="connsiteX7" fmla="*/ 128226 w 161470"/>
                <a:gd name="connsiteY7" fmla="*/ 196864 h 207869"/>
                <a:gd name="connsiteX8" fmla="*/ 116838 w 161470"/>
                <a:gd name="connsiteY8" fmla="*/ 205475 h 207869"/>
                <a:gd name="connsiteX9" fmla="*/ 104034 w 161470"/>
                <a:gd name="connsiteY9" fmla="*/ 199870 h 207869"/>
                <a:gd name="connsiteX10" fmla="*/ 86255 w 161470"/>
                <a:gd name="connsiteY10" fmla="*/ 157628 h 207869"/>
                <a:gd name="connsiteX11" fmla="*/ 71320 w 161470"/>
                <a:gd name="connsiteY11" fmla="*/ 160004 h 207869"/>
                <a:gd name="connsiteX12" fmla="*/ 69945 w 161470"/>
                <a:gd name="connsiteY12" fmla="*/ 140665 h 207869"/>
                <a:gd name="connsiteX13" fmla="*/ 76244 w 161470"/>
                <a:gd name="connsiteY13" fmla="*/ 110746 h 207869"/>
                <a:gd name="connsiteX14" fmla="*/ 51769 w 161470"/>
                <a:gd name="connsiteY14" fmla="*/ 95917 h 207869"/>
                <a:gd name="connsiteX15" fmla="*/ 32328 w 161470"/>
                <a:gd name="connsiteY15" fmla="*/ 91370 h 207869"/>
                <a:gd name="connsiteX16" fmla="*/ 23749 w 161470"/>
                <a:gd name="connsiteY16" fmla="*/ 74870 h 207869"/>
                <a:gd name="connsiteX17" fmla="*/ 25089 w 161470"/>
                <a:gd name="connsiteY17" fmla="*/ 61897 h 207869"/>
                <a:gd name="connsiteX18" fmla="*/ 5421 w 161470"/>
                <a:gd name="connsiteY18" fmla="*/ 50575 h 207869"/>
                <a:gd name="connsiteX19" fmla="*/ 2784 w 161470"/>
                <a:gd name="connsiteY19" fmla="*/ 33983 h 207869"/>
                <a:gd name="connsiteX20" fmla="*/ 14041 w 161470"/>
                <a:gd name="connsiteY20" fmla="*/ 24536 h 207869"/>
                <a:gd name="connsiteX21" fmla="*/ 22491 w 161470"/>
                <a:gd name="connsiteY21" fmla="*/ 2784 h 207869"/>
                <a:gd name="connsiteX22" fmla="*/ 40290 w 161470"/>
                <a:gd name="connsiteY22" fmla="*/ 23757 h 207869"/>
                <a:gd name="connsiteX23" fmla="*/ 58146 w 161470"/>
                <a:gd name="connsiteY23" fmla="*/ 18374 h 207869"/>
                <a:gd name="connsiteX24" fmla="*/ 78662 w 161470"/>
                <a:gd name="connsiteY24" fmla="*/ 45731 h 207869"/>
                <a:gd name="connsiteX25" fmla="*/ 105795 w 161470"/>
                <a:gd name="connsiteY25" fmla="*/ 55865 h 207869"/>
                <a:gd name="connsiteX26" fmla="*/ 111905 w 161470"/>
                <a:gd name="connsiteY26" fmla="*/ 51485 h 207869"/>
                <a:gd name="connsiteX27" fmla="*/ 141452 w 161470"/>
                <a:gd name="connsiteY27" fmla="*/ 71455 h 207869"/>
                <a:gd name="connsiteX28" fmla="*/ 152877 w 161470"/>
                <a:gd name="connsiteY28" fmla="*/ 95137 h 20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61470" h="207869">
                  <a:moveTo>
                    <a:pt x="152877" y="95137"/>
                  </a:moveTo>
                  <a:lnTo>
                    <a:pt x="145995" y="110691"/>
                  </a:lnTo>
                  <a:lnTo>
                    <a:pt x="159024" y="123089"/>
                  </a:lnTo>
                  <a:lnTo>
                    <a:pt x="156025" y="136322"/>
                  </a:lnTo>
                  <a:lnTo>
                    <a:pt x="144409" y="138159"/>
                  </a:lnTo>
                  <a:lnTo>
                    <a:pt x="150197" y="158501"/>
                  </a:lnTo>
                  <a:lnTo>
                    <a:pt x="137016" y="166555"/>
                  </a:lnTo>
                  <a:lnTo>
                    <a:pt x="128226" y="196864"/>
                  </a:lnTo>
                  <a:lnTo>
                    <a:pt x="116838" y="205475"/>
                  </a:lnTo>
                  <a:lnTo>
                    <a:pt x="104034" y="199870"/>
                  </a:lnTo>
                  <a:lnTo>
                    <a:pt x="86255" y="157628"/>
                  </a:lnTo>
                  <a:lnTo>
                    <a:pt x="71320" y="160004"/>
                  </a:lnTo>
                  <a:lnTo>
                    <a:pt x="69945" y="140665"/>
                  </a:lnTo>
                  <a:lnTo>
                    <a:pt x="76244" y="110746"/>
                  </a:lnTo>
                  <a:lnTo>
                    <a:pt x="51769" y="95917"/>
                  </a:lnTo>
                  <a:lnTo>
                    <a:pt x="32328" y="91370"/>
                  </a:lnTo>
                  <a:lnTo>
                    <a:pt x="23749" y="74870"/>
                  </a:lnTo>
                  <a:lnTo>
                    <a:pt x="25089" y="61897"/>
                  </a:lnTo>
                  <a:lnTo>
                    <a:pt x="5421" y="50575"/>
                  </a:lnTo>
                  <a:lnTo>
                    <a:pt x="2784" y="33983"/>
                  </a:lnTo>
                  <a:lnTo>
                    <a:pt x="14041" y="24536"/>
                  </a:lnTo>
                  <a:lnTo>
                    <a:pt x="22491" y="2784"/>
                  </a:lnTo>
                  <a:lnTo>
                    <a:pt x="40290" y="23757"/>
                  </a:lnTo>
                  <a:lnTo>
                    <a:pt x="58146" y="18374"/>
                  </a:lnTo>
                  <a:lnTo>
                    <a:pt x="78662" y="45731"/>
                  </a:lnTo>
                  <a:lnTo>
                    <a:pt x="105795" y="55865"/>
                  </a:lnTo>
                  <a:lnTo>
                    <a:pt x="111905" y="51485"/>
                  </a:lnTo>
                  <a:lnTo>
                    <a:pt x="141452" y="71455"/>
                  </a:lnTo>
                  <a:lnTo>
                    <a:pt x="152877" y="9513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4465236-7B4F-44B2-BA14-58D341BACEA5}"/>
                </a:ext>
              </a:extLst>
            </p:cNvPr>
            <p:cNvSpPr/>
            <p:nvPr/>
          </p:nvSpPr>
          <p:spPr>
            <a:xfrm>
              <a:off x="1613804" y="5412910"/>
              <a:ext cx="144767" cy="152190"/>
            </a:xfrm>
            <a:custGeom>
              <a:avLst/>
              <a:gdLst>
                <a:gd name="connsiteX0" fmla="*/ 129158 w 144766"/>
                <a:gd name="connsiteY0" fmla="*/ 87417 h 152190"/>
                <a:gd name="connsiteX1" fmla="*/ 120010 w 144766"/>
                <a:gd name="connsiteY1" fmla="*/ 110134 h 152190"/>
                <a:gd name="connsiteX2" fmla="*/ 103133 w 144766"/>
                <a:gd name="connsiteY2" fmla="*/ 132368 h 152190"/>
                <a:gd name="connsiteX3" fmla="*/ 89555 w 144766"/>
                <a:gd name="connsiteY3" fmla="*/ 137936 h 152190"/>
                <a:gd name="connsiteX4" fmla="*/ 75093 w 144766"/>
                <a:gd name="connsiteY4" fmla="*/ 132591 h 152190"/>
                <a:gd name="connsiteX5" fmla="*/ 65984 w 144766"/>
                <a:gd name="connsiteY5" fmla="*/ 150186 h 152190"/>
                <a:gd name="connsiteX6" fmla="*/ 52615 w 144766"/>
                <a:gd name="connsiteY6" fmla="*/ 146362 h 152190"/>
                <a:gd name="connsiteX7" fmla="*/ 42547 w 144766"/>
                <a:gd name="connsiteY7" fmla="*/ 125854 h 152190"/>
                <a:gd name="connsiteX8" fmla="*/ 36739 w 144766"/>
                <a:gd name="connsiteY8" fmla="*/ 126782 h 152190"/>
                <a:gd name="connsiteX9" fmla="*/ 34798 w 144766"/>
                <a:gd name="connsiteY9" fmla="*/ 109224 h 152190"/>
                <a:gd name="connsiteX10" fmla="*/ 41342 w 144766"/>
                <a:gd name="connsiteY10" fmla="*/ 102227 h 152190"/>
                <a:gd name="connsiteX11" fmla="*/ 26088 w 144766"/>
                <a:gd name="connsiteY11" fmla="*/ 91908 h 152190"/>
                <a:gd name="connsiteX12" fmla="*/ 14189 w 144766"/>
                <a:gd name="connsiteY12" fmla="*/ 75947 h 152190"/>
                <a:gd name="connsiteX13" fmla="*/ 2784 w 144766"/>
                <a:gd name="connsiteY13" fmla="*/ 30976 h 152190"/>
                <a:gd name="connsiteX14" fmla="*/ 12288 w 144766"/>
                <a:gd name="connsiteY14" fmla="*/ 15869 h 152190"/>
                <a:gd name="connsiteX15" fmla="*/ 34124 w 144766"/>
                <a:gd name="connsiteY15" fmla="*/ 14087 h 152190"/>
                <a:gd name="connsiteX16" fmla="*/ 35728 w 144766"/>
                <a:gd name="connsiteY16" fmla="*/ 2784 h 152190"/>
                <a:gd name="connsiteX17" fmla="*/ 54037 w 144766"/>
                <a:gd name="connsiteY17" fmla="*/ 10932 h 152190"/>
                <a:gd name="connsiteX18" fmla="*/ 68291 w 144766"/>
                <a:gd name="connsiteY18" fmla="*/ 25668 h 152190"/>
                <a:gd name="connsiteX19" fmla="*/ 77155 w 144766"/>
                <a:gd name="connsiteY19" fmla="*/ 22550 h 152190"/>
                <a:gd name="connsiteX20" fmla="*/ 82944 w 144766"/>
                <a:gd name="connsiteY20" fmla="*/ 5475 h 152190"/>
                <a:gd name="connsiteX21" fmla="*/ 87545 w 144766"/>
                <a:gd name="connsiteY21" fmla="*/ 18356 h 152190"/>
                <a:gd name="connsiteX22" fmla="*/ 109720 w 144766"/>
                <a:gd name="connsiteY22" fmla="*/ 8018 h 152190"/>
                <a:gd name="connsiteX23" fmla="*/ 115678 w 144766"/>
                <a:gd name="connsiteY23" fmla="*/ 24072 h 152190"/>
                <a:gd name="connsiteX24" fmla="*/ 133724 w 144766"/>
                <a:gd name="connsiteY24" fmla="*/ 30568 h 152190"/>
                <a:gd name="connsiteX25" fmla="*/ 131027 w 144766"/>
                <a:gd name="connsiteY25" fmla="*/ 40349 h 152190"/>
                <a:gd name="connsiteX26" fmla="*/ 142491 w 144766"/>
                <a:gd name="connsiteY26" fmla="*/ 58927 h 152190"/>
                <a:gd name="connsiteX27" fmla="*/ 132798 w 144766"/>
                <a:gd name="connsiteY27" fmla="*/ 62175 h 152190"/>
                <a:gd name="connsiteX28" fmla="*/ 129158 w 144766"/>
                <a:gd name="connsiteY28" fmla="*/ 87417 h 15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44766" h="152190">
                  <a:moveTo>
                    <a:pt x="129158" y="87417"/>
                  </a:moveTo>
                  <a:lnTo>
                    <a:pt x="120010" y="110134"/>
                  </a:lnTo>
                  <a:lnTo>
                    <a:pt x="103133" y="132368"/>
                  </a:lnTo>
                  <a:lnTo>
                    <a:pt x="89555" y="137936"/>
                  </a:lnTo>
                  <a:lnTo>
                    <a:pt x="75093" y="132591"/>
                  </a:lnTo>
                  <a:lnTo>
                    <a:pt x="65984" y="150186"/>
                  </a:lnTo>
                  <a:lnTo>
                    <a:pt x="52615" y="146362"/>
                  </a:lnTo>
                  <a:lnTo>
                    <a:pt x="42547" y="125854"/>
                  </a:lnTo>
                  <a:lnTo>
                    <a:pt x="36739" y="126782"/>
                  </a:lnTo>
                  <a:lnTo>
                    <a:pt x="34798" y="109224"/>
                  </a:lnTo>
                  <a:lnTo>
                    <a:pt x="41342" y="102227"/>
                  </a:lnTo>
                  <a:lnTo>
                    <a:pt x="26088" y="91908"/>
                  </a:lnTo>
                  <a:lnTo>
                    <a:pt x="14189" y="75947"/>
                  </a:lnTo>
                  <a:lnTo>
                    <a:pt x="2784" y="30976"/>
                  </a:lnTo>
                  <a:lnTo>
                    <a:pt x="12288" y="15869"/>
                  </a:lnTo>
                  <a:lnTo>
                    <a:pt x="34124" y="14087"/>
                  </a:lnTo>
                  <a:lnTo>
                    <a:pt x="35728" y="2784"/>
                  </a:lnTo>
                  <a:lnTo>
                    <a:pt x="54037" y="10932"/>
                  </a:lnTo>
                  <a:lnTo>
                    <a:pt x="68291" y="25668"/>
                  </a:lnTo>
                  <a:lnTo>
                    <a:pt x="77155" y="22550"/>
                  </a:lnTo>
                  <a:lnTo>
                    <a:pt x="82944" y="5475"/>
                  </a:lnTo>
                  <a:lnTo>
                    <a:pt x="87545" y="18356"/>
                  </a:lnTo>
                  <a:lnTo>
                    <a:pt x="109720" y="8018"/>
                  </a:lnTo>
                  <a:lnTo>
                    <a:pt x="115678" y="24072"/>
                  </a:lnTo>
                  <a:lnTo>
                    <a:pt x="133724" y="30568"/>
                  </a:lnTo>
                  <a:lnTo>
                    <a:pt x="131027" y="40349"/>
                  </a:lnTo>
                  <a:lnTo>
                    <a:pt x="142491" y="58927"/>
                  </a:lnTo>
                  <a:lnTo>
                    <a:pt x="132798" y="62175"/>
                  </a:lnTo>
                  <a:lnTo>
                    <a:pt x="129158" y="87417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B110419-C113-4862-BFE9-C66052524E01}"/>
                </a:ext>
              </a:extLst>
            </p:cNvPr>
            <p:cNvSpPr/>
            <p:nvPr/>
          </p:nvSpPr>
          <p:spPr>
            <a:xfrm>
              <a:off x="2048783" y="5808085"/>
              <a:ext cx="248702" cy="198590"/>
            </a:xfrm>
            <a:custGeom>
              <a:avLst/>
              <a:gdLst>
                <a:gd name="connsiteX0" fmla="*/ 198078 w 248701"/>
                <a:gd name="connsiteY0" fmla="*/ 132535 h 198589"/>
                <a:gd name="connsiteX1" fmla="*/ 196023 w 248701"/>
                <a:gd name="connsiteY1" fmla="*/ 130308 h 198589"/>
                <a:gd name="connsiteX2" fmla="*/ 198249 w 248701"/>
                <a:gd name="connsiteY2" fmla="*/ 128267 h 198589"/>
                <a:gd name="connsiteX3" fmla="*/ 199474 w 248701"/>
                <a:gd name="connsiteY3" fmla="*/ 130605 h 198589"/>
                <a:gd name="connsiteX4" fmla="*/ 198078 w 248701"/>
                <a:gd name="connsiteY4" fmla="*/ 132535 h 198589"/>
                <a:gd name="connsiteX5" fmla="*/ 147662 w 248701"/>
                <a:gd name="connsiteY5" fmla="*/ 2784 h 198589"/>
                <a:gd name="connsiteX6" fmla="*/ 159466 w 248701"/>
                <a:gd name="connsiteY6" fmla="*/ 12825 h 198589"/>
                <a:gd name="connsiteX7" fmla="*/ 158958 w 248701"/>
                <a:gd name="connsiteY7" fmla="*/ 25650 h 198589"/>
                <a:gd name="connsiteX8" fmla="*/ 169743 w 248701"/>
                <a:gd name="connsiteY8" fmla="*/ 23942 h 198589"/>
                <a:gd name="connsiteX9" fmla="*/ 175739 w 248701"/>
                <a:gd name="connsiteY9" fmla="*/ 34892 h 198589"/>
                <a:gd name="connsiteX10" fmla="*/ 186732 w 248701"/>
                <a:gd name="connsiteY10" fmla="*/ 23794 h 198589"/>
                <a:gd name="connsiteX11" fmla="*/ 208002 w 248701"/>
                <a:gd name="connsiteY11" fmla="*/ 23812 h 198589"/>
                <a:gd name="connsiteX12" fmla="*/ 225237 w 248701"/>
                <a:gd name="connsiteY12" fmla="*/ 46585 h 198589"/>
                <a:gd name="connsiteX13" fmla="*/ 224990 w 248701"/>
                <a:gd name="connsiteY13" fmla="*/ 61080 h 198589"/>
                <a:gd name="connsiteX14" fmla="*/ 246657 w 248701"/>
                <a:gd name="connsiteY14" fmla="*/ 63586 h 198589"/>
                <a:gd name="connsiteX15" fmla="*/ 245224 w 248701"/>
                <a:gd name="connsiteY15" fmla="*/ 70601 h 198589"/>
                <a:gd name="connsiteX16" fmla="*/ 232817 w 248701"/>
                <a:gd name="connsiteY16" fmla="*/ 67483 h 198589"/>
                <a:gd name="connsiteX17" fmla="*/ 225801 w 248701"/>
                <a:gd name="connsiteY17" fmla="*/ 82201 h 198589"/>
                <a:gd name="connsiteX18" fmla="*/ 230571 w 248701"/>
                <a:gd name="connsiteY18" fmla="*/ 90794 h 198589"/>
                <a:gd name="connsiteX19" fmla="*/ 207488 w 248701"/>
                <a:gd name="connsiteY19" fmla="*/ 111489 h 198589"/>
                <a:gd name="connsiteX20" fmla="*/ 194873 w 248701"/>
                <a:gd name="connsiteY20" fmla="*/ 117743 h 198589"/>
                <a:gd name="connsiteX21" fmla="*/ 194929 w 248701"/>
                <a:gd name="connsiteY21" fmla="*/ 128786 h 198589"/>
                <a:gd name="connsiteX22" fmla="*/ 175298 w 248701"/>
                <a:gd name="connsiteY22" fmla="*/ 149759 h 198589"/>
                <a:gd name="connsiteX23" fmla="*/ 154292 w 248701"/>
                <a:gd name="connsiteY23" fmla="*/ 151411 h 198589"/>
                <a:gd name="connsiteX24" fmla="*/ 149370 w 248701"/>
                <a:gd name="connsiteY24" fmla="*/ 163252 h 198589"/>
                <a:gd name="connsiteX25" fmla="*/ 141677 w 248701"/>
                <a:gd name="connsiteY25" fmla="*/ 157665 h 198589"/>
                <a:gd name="connsiteX26" fmla="*/ 133963 w 248701"/>
                <a:gd name="connsiteY26" fmla="*/ 173348 h 198589"/>
                <a:gd name="connsiteX27" fmla="*/ 123310 w 248701"/>
                <a:gd name="connsiteY27" fmla="*/ 175891 h 198589"/>
                <a:gd name="connsiteX28" fmla="*/ 113937 w 248701"/>
                <a:gd name="connsiteY28" fmla="*/ 191852 h 198589"/>
                <a:gd name="connsiteX29" fmla="*/ 73150 w 248701"/>
                <a:gd name="connsiteY29" fmla="*/ 197476 h 198589"/>
                <a:gd name="connsiteX30" fmla="*/ 76545 w 248701"/>
                <a:gd name="connsiteY30" fmla="*/ 186730 h 198589"/>
                <a:gd name="connsiteX31" fmla="*/ 62931 w 248701"/>
                <a:gd name="connsiteY31" fmla="*/ 159985 h 198589"/>
                <a:gd name="connsiteX32" fmla="*/ 46886 w 248701"/>
                <a:gd name="connsiteY32" fmla="*/ 144692 h 198589"/>
                <a:gd name="connsiteX33" fmla="*/ 45208 w 248701"/>
                <a:gd name="connsiteY33" fmla="*/ 128786 h 198589"/>
                <a:gd name="connsiteX34" fmla="*/ 32651 w 248701"/>
                <a:gd name="connsiteY34" fmla="*/ 108686 h 198589"/>
                <a:gd name="connsiteX35" fmla="*/ 15266 w 248701"/>
                <a:gd name="connsiteY35" fmla="*/ 106347 h 198589"/>
                <a:gd name="connsiteX36" fmla="*/ 16379 w 248701"/>
                <a:gd name="connsiteY36" fmla="*/ 86600 h 198589"/>
                <a:gd name="connsiteX37" fmla="*/ 2784 w 248701"/>
                <a:gd name="connsiteY37" fmla="*/ 76021 h 198589"/>
                <a:gd name="connsiteX38" fmla="*/ 10553 w 248701"/>
                <a:gd name="connsiteY38" fmla="*/ 71381 h 198589"/>
                <a:gd name="connsiteX39" fmla="*/ 23300 w 248701"/>
                <a:gd name="connsiteY39" fmla="*/ 65943 h 198589"/>
                <a:gd name="connsiteX40" fmla="*/ 10837 w 248701"/>
                <a:gd name="connsiteY40" fmla="*/ 51763 h 198589"/>
                <a:gd name="connsiteX41" fmla="*/ 15193 w 248701"/>
                <a:gd name="connsiteY41" fmla="*/ 41722 h 198589"/>
                <a:gd name="connsiteX42" fmla="*/ 14384 w 248701"/>
                <a:gd name="connsiteY42" fmla="*/ 20583 h 198589"/>
                <a:gd name="connsiteX43" fmla="*/ 23115 w 248701"/>
                <a:gd name="connsiteY43" fmla="*/ 16648 h 198589"/>
                <a:gd name="connsiteX44" fmla="*/ 35616 w 248701"/>
                <a:gd name="connsiteY44" fmla="*/ 25724 h 198589"/>
                <a:gd name="connsiteX45" fmla="*/ 52719 w 248701"/>
                <a:gd name="connsiteY45" fmla="*/ 10245 h 198589"/>
                <a:gd name="connsiteX46" fmla="*/ 66710 w 248701"/>
                <a:gd name="connsiteY46" fmla="*/ 23330 h 198589"/>
                <a:gd name="connsiteX47" fmla="*/ 78761 w 248701"/>
                <a:gd name="connsiteY47" fmla="*/ 18857 h 198589"/>
                <a:gd name="connsiteX48" fmla="*/ 101010 w 248701"/>
                <a:gd name="connsiteY48" fmla="*/ 35728 h 198589"/>
                <a:gd name="connsiteX49" fmla="*/ 121940 w 248701"/>
                <a:gd name="connsiteY49" fmla="*/ 44302 h 198589"/>
                <a:gd name="connsiteX50" fmla="*/ 147115 w 248701"/>
                <a:gd name="connsiteY50" fmla="*/ 20731 h 198589"/>
                <a:gd name="connsiteX51" fmla="*/ 147662 w 248701"/>
                <a:gd name="connsiteY51" fmla="*/ 2784 h 19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48701" h="198589">
                  <a:moveTo>
                    <a:pt x="198078" y="132535"/>
                  </a:moveTo>
                  <a:lnTo>
                    <a:pt x="196023" y="130308"/>
                  </a:lnTo>
                  <a:lnTo>
                    <a:pt x="198249" y="128267"/>
                  </a:lnTo>
                  <a:lnTo>
                    <a:pt x="199474" y="130605"/>
                  </a:lnTo>
                  <a:lnTo>
                    <a:pt x="198078" y="132535"/>
                  </a:lnTo>
                  <a:close/>
                  <a:moveTo>
                    <a:pt x="147662" y="2784"/>
                  </a:moveTo>
                  <a:lnTo>
                    <a:pt x="159466" y="12825"/>
                  </a:lnTo>
                  <a:lnTo>
                    <a:pt x="158958" y="25650"/>
                  </a:lnTo>
                  <a:lnTo>
                    <a:pt x="169743" y="23942"/>
                  </a:lnTo>
                  <a:lnTo>
                    <a:pt x="175739" y="34892"/>
                  </a:lnTo>
                  <a:lnTo>
                    <a:pt x="186732" y="23794"/>
                  </a:lnTo>
                  <a:lnTo>
                    <a:pt x="208002" y="23812"/>
                  </a:lnTo>
                  <a:lnTo>
                    <a:pt x="225237" y="46585"/>
                  </a:lnTo>
                  <a:lnTo>
                    <a:pt x="224990" y="61080"/>
                  </a:lnTo>
                  <a:lnTo>
                    <a:pt x="246657" y="63586"/>
                  </a:lnTo>
                  <a:lnTo>
                    <a:pt x="245224" y="70601"/>
                  </a:lnTo>
                  <a:lnTo>
                    <a:pt x="232817" y="67483"/>
                  </a:lnTo>
                  <a:lnTo>
                    <a:pt x="225801" y="82201"/>
                  </a:lnTo>
                  <a:lnTo>
                    <a:pt x="230571" y="90794"/>
                  </a:lnTo>
                  <a:lnTo>
                    <a:pt x="207488" y="111489"/>
                  </a:lnTo>
                  <a:lnTo>
                    <a:pt x="194873" y="117743"/>
                  </a:lnTo>
                  <a:lnTo>
                    <a:pt x="194929" y="128786"/>
                  </a:lnTo>
                  <a:lnTo>
                    <a:pt x="175298" y="149759"/>
                  </a:lnTo>
                  <a:lnTo>
                    <a:pt x="154292" y="151411"/>
                  </a:lnTo>
                  <a:lnTo>
                    <a:pt x="149370" y="163252"/>
                  </a:lnTo>
                  <a:lnTo>
                    <a:pt x="141677" y="157665"/>
                  </a:lnTo>
                  <a:lnTo>
                    <a:pt x="133963" y="173348"/>
                  </a:lnTo>
                  <a:lnTo>
                    <a:pt x="123310" y="175891"/>
                  </a:lnTo>
                  <a:lnTo>
                    <a:pt x="113937" y="191852"/>
                  </a:lnTo>
                  <a:lnTo>
                    <a:pt x="73150" y="197476"/>
                  </a:lnTo>
                  <a:lnTo>
                    <a:pt x="76545" y="186730"/>
                  </a:lnTo>
                  <a:lnTo>
                    <a:pt x="62931" y="159985"/>
                  </a:lnTo>
                  <a:lnTo>
                    <a:pt x="46886" y="144692"/>
                  </a:lnTo>
                  <a:lnTo>
                    <a:pt x="45208" y="128786"/>
                  </a:lnTo>
                  <a:lnTo>
                    <a:pt x="32651" y="108686"/>
                  </a:lnTo>
                  <a:lnTo>
                    <a:pt x="15266" y="106347"/>
                  </a:lnTo>
                  <a:lnTo>
                    <a:pt x="16379" y="86600"/>
                  </a:lnTo>
                  <a:lnTo>
                    <a:pt x="2784" y="76021"/>
                  </a:lnTo>
                  <a:lnTo>
                    <a:pt x="10553" y="71381"/>
                  </a:lnTo>
                  <a:lnTo>
                    <a:pt x="23300" y="65943"/>
                  </a:lnTo>
                  <a:lnTo>
                    <a:pt x="10837" y="51763"/>
                  </a:lnTo>
                  <a:lnTo>
                    <a:pt x="15193" y="41722"/>
                  </a:lnTo>
                  <a:lnTo>
                    <a:pt x="14384" y="20583"/>
                  </a:lnTo>
                  <a:lnTo>
                    <a:pt x="23115" y="16648"/>
                  </a:lnTo>
                  <a:lnTo>
                    <a:pt x="35616" y="25724"/>
                  </a:lnTo>
                  <a:lnTo>
                    <a:pt x="52719" y="10245"/>
                  </a:lnTo>
                  <a:lnTo>
                    <a:pt x="66710" y="23330"/>
                  </a:lnTo>
                  <a:lnTo>
                    <a:pt x="78761" y="18857"/>
                  </a:lnTo>
                  <a:lnTo>
                    <a:pt x="101010" y="35728"/>
                  </a:lnTo>
                  <a:lnTo>
                    <a:pt x="121940" y="44302"/>
                  </a:lnTo>
                  <a:lnTo>
                    <a:pt x="147115" y="20731"/>
                  </a:lnTo>
                  <a:lnTo>
                    <a:pt x="147662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17A2916-B0D5-4711-8AC6-02A2DAE9FAA1}"/>
                </a:ext>
              </a:extLst>
            </p:cNvPr>
            <p:cNvSpPr/>
            <p:nvPr/>
          </p:nvSpPr>
          <p:spPr>
            <a:xfrm>
              <a:off x="1982090" y="5697877"/>
              <a:ext cx="215294" cy="183742"/>
            </a:xfrm>
            <a:custGeom>
              <a:avLst/>
              <a:gdLst>
                <a:gd name="connsiteX0" fmla="*/ 149757 w 215294"/>
                <a:gd name="connsiteY0" fmla="*/ 33129 h 183741"/>
                <a:gd name="connsiteX1" fmla="*/ 152946 w 215294"/>
                <a:gd name="connsiteY1" fmla="*/ 31774 h 183741"/>
                <a:gd name="connsiteX2" fmla="*/ 153907 w 215294"/>
                <a:gd name="connsiteY2" fmla="*/ 32461 h 183741"/>
                <a:gd name="connsiteX3" fmla="*/ 150721 w 215294"/>
                <a:gd name="connsiteY3" fmla="*/ 33834 h 183741"/>
                <a:gd name="connsiteX4" fmla="*/ 149757 w 215294"/>
                <a:gd name="connsiteY4" fmla="*/ 33129 h 183741"/>
                <a:gd name="connsiteX5" fmla="*/ 19516 w 215294"/>
                <a:gd name="connsiteY5" fmla="*/ 32591 h 183741"/>
                <a:gd name="connsiteX6" fmla="*/ 36544 w 215294"/>
                <a:gd name="connsiteY6" fmla="*/ 27320 h 183741"/>
                <a:gd name="connsiteX7" fmla="*/ 70579 w 215294"/>
                <a:gd name="connsiteY7" fmla="*/ 38066 h 183741"/>
                <a:gd name="connsiteX8" fmla="*/ 67808 w 215294"/>
                <a:gd name="connsiteY8" fmla="*/ 20657 h 183741"/>
                <a:gd name="connsiteX9" fmla="*/ 78577 w 215294"/>
                <a:gd name="connsiteY9" fmla="*/ 2784 h 183741"/>
                <a:gd name="connsiteX10" fmla="*/ 89475 w 215294"/>
                <a:gd name="connsiteY10" fmla="*/ 23163 h 183741"/>
                <a:gd name="connsiteX11" fmla="*/ 105860 w 215294"/>
                <a:gd name="connsiteY11" fmla="*/ 29900 h 183741"/>
                <a:gd name="connsiteX12" fmla="*/ 105049 w 215294"/>
                <a:gd name="connsiteY12" fmla="*/ 46195 h 183741"/>
                <a:gd name="connsiteX13" fmla="*/ 128846 w 215294"/>
                <a:gd name="connsiteY13" fmla="*/ 40701 h 183741"/>
                <a:gd name="connsiteX14" fmla="*/ 150569 w 215294"/>
                <a:gd name="connsiteY14" fmla="*/ 54269 h 183741"/>
                <a:gd name="connsiteX15" fmla="*/ 153113 w 215294"/>
                <a:gd name="connsiteY15" fmla="*/ 64904 h 183741"/>
                <a:gd name="connsiteX16" fmla="*/ 168104 w 215294"/>
                <a:gd name="connsiteY16" fmla="*/ 73589 h 183741"/>
                <a:gd name="connsiteX17" fmla="*/ 196445 w 215294"/>
                <a:gd name="connsiteY17" fmla="*/ 69915 h 183741"/>
                <a:gd name="connsiteX18" fmla="*/ 196783 w 215294"/>
                <a:gd name="connsiteY18" fmla="*/ 98775 h 183741"/>
                <a:gd name="connsiteX19" fmla="*/ 214357 w 215294"/>
                <a:gd name="connsiteY19" fmla="*/ 112992 h 183741"/>
                <a:gd name="connsiteX20" fmla="*/ 213809 w 215294"/>
                <a:gd name="connsiteY20" fmla="*/ 130939 h 183741"/>
                <a:gd name="connsiteX21" fmla="*/ 188633 w 215294"/>
                <a:gd name="connsiteY21" fmla="*/ 154510 h 183741"/>
                <a:gd name="connsiteX22" fmla="*/ 167703 w 215294"/>
                <a:gd name="connsiteY22" fmla="*/ 145936 h 183741"/>
                <a:gd name="connsiteX23" fmla="*/ 145453 w 215294"/>
                <a:gd name="connsiteY23" fmla="*/ 129065 h 183741"/>
                <a:gd name="connsiteX24" fmla="*/ 133404 w 215294"/>
                <a:gd name="connsiteY24" fmla="*/ 133538 h 183741"/>
                <a:gd name="connsiteX25" fmla="*/ 119414 w 215294"/>
                <a:gd name="connsiteY25" fmla="*/ 120453 h 183741"/>
                <a:gd name="connsiteX26" fmla="*/ 102309 w 215294"/>
                <a:gd name="connsiteY26" fmla="*/ 135932 h 183741"/>
                <a:gd name="connsiteX27" fmla="*/ 89807 w 215294"/>
                <a:gd name="connsiteY27" fmla="*/ 126856 h 183741"/>
                <a:gd name="connsiteX28" fmla="*/ 81077 w 215294"/>
                <a:gd name="connsiteY28" fmla="*/ 130791 h 183741"/>
                <a:gd name="connsiteX29" fmla="*/ 81886 w 215294"/>
                <a:gd name="connsiteY29" fmla="*/ 151930 h 183741"/>
                <a:gd name="connsiteX30" fmla="*/ 77530 w 215294"/>
                <a:gd name="connsiteY30" fmla="*/ 161971 h 183741"/>
                <a:gd name="connsiteX31" fmla="*/ 89993 w 215294"/>
                <a:gd name="connsiteY31" fmla="*/ 176151 h 183741"/>
                <a:gd name="connsiteX32" fmla="*/ 77246 w 215294"/>
                <a:gd name="connsiteY32" fmla="*/ 181589 h 183741"/>
                <a:gd name="connsiteX33" fmla="*/ 45568 w 215294"/>
                <a:gd name="connsiteY33" fmla="*/ 169618 h 183741"/>
                <a:gd name="connsiteX34" fmla="*/ 38497 w 215294"/>
                <a:gd name="connsiteY34" fmla="*/ 173293 h 183741"/>
                <a:gd name="connsiteX35" fmla="*/ 11136 w 215294"/>
                <a:gd name="connsiteY35" fmla="*/ 156385 h 183741"/>
                <a:gd name="connsiteX36" fmla="*/ 2784 w 215294"/>
                <a:gd name="connsiteY36" fmla="*/ 146659 h 183741"/>
                <a:gd name="connsiteX37" fmla="*/ 15663 w 215294"/>
                <a:gd name="connsiteY37" fmla="*/ 142056 h 183741"/>
                <a:gd name="connsiteX38" fmla="*/ 36106 w 215294"/>
                <a:gd name="connsiteY38" fmla="*/ 104788 h 183741"/>
                <a:gd name="connsiteX39" fmla="*/ 26604 w 215294"/>
                <a:gd name="connsiteY39" fmla="*/ 82480 h 183741"/>
                <a:gd name="connsiteX40" fmla="*/ 32507 w 215294"/>
                <a:gd name="connsiteY40" fmla="*/ 50074 h 183741"/>
                <a:gd name="connsiteX41" fmla="*/ 19516 w 215294"/>
                <a:gd name="connsiteY41" fmla="*/ 32591 h 1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294" h="183741">
                  <a:moveTo>
                    <a:pt x="149757" y="33129"/>
                  </a:moveTo>
                  <a:lnTo>
                    <a:pt x="152946" y="31774"/>
                  </a:lnTo>
                  <a:lnTo>
                    <a:pt x="153907" y="32461"/>
                  </a:lnTo>
                  <a:lnTo>
                    <a:pt x="150721" y="33834"/>
                  </a:lnTo>
                  <a:lnTo>
                    <a:pt x="149757" y="33129"/>
                  </a:lnTo>
                  <a:close/>
                  <a:moveTo>
                    <a:pt x="19516" y="32591"/>
                  </a:moveTo>
                  <a:lnTo>
                    <a:pt x="36544" y="27320"/>
                  </a:lnTo>
                  <a:lnTo>
                    <a:pt x="70579" y="38066"/>
                  </a:lnTo>
                  <a:lnTo>
                    <a:pt x="67808" y="20657"/>
                  </a:lnTo>
                  <a:lnTo>
                    <a:pt x="78577" y="2784"/>
                  </a:lnTo>
                  <a:lnTo>
                    <a:pt x="89475" y="23163"/>
                  </a:lnTo>
                  <a:lnTo>
                    <a:pt x="105860" y="29900"/>
                  </a:lnTo>
                  <a:lnTo>
                    <a:pt x="105049" y="46195"/>
                  </a:lnTo>
                  <a:lnTo>
                    <a:pt x="128846" y="40701"/>
                  </a:lnTo>
                  <a:lnTo>
                    <a:pt x="150569" y="54269"/>
                  </a:lnTo>
                  <a:lnTo>
                    <a:pt x="153113" y="64904"/>
                  </a:lnTo>
                  <a:lnTo>
                    <a:pt x="168104" y="73589"/>
                  </a:lnTo>
                  <a:lnTo>
                    <a:pt x="196445" y="69915"/>
                  </a:lnTo>
                  <a:lnTo>
                    <a:pt x="196783" y="98775"/>
                  </a:lnTo>
                  <a:lnTo>
                    <a:pt x="214357" y="112992"/>
                  </a:lnTo>
                  <a:lnTo>
                    <a:pt x="213809" y="130939"/>
                  </a:lnTo>
                  <a:lnTo>
                    <a:pt x="188633" y="154510"/>
                  </a:lnTo>
                  <a:lnTo>
                    <a:pt x="167703" y="145936"/>
                  </a:lnTo>
                  <a:lnTo>
                    <a:pt x="145453" y="129065"/>
                  </a:lnTo>
                  <a:lnTo>
                    <a:pt x="133404" y="133538"/>
                  </a:lnTo>
                  <a:lnTo>
                    <a:pt x="119414" y="120453"/>
                  </a:lnTo>
                  <a:lnTo>
                    <a:pt x="102309" y="135932"/>
                  </a:lnTo>
                  <a:lnTo>
                    <a:pt x="89807" y="126856"/>
                  </a:lnTo>
                  <a:lnTo>
                    <a:pt x="81077" y="130791"/>
                  </a:lnTo>
                  <a:lnTo>
                    <a:pt x="81886" y="151930"/>
                  </a:lnTo>
                  <a:lnTo>
                    <a:pt x="77530" y="161971"/>
                  </a:lnTo>
                  <a:lnTo>
                    <a:pt x="89993" y="176151"/>
                  </a:lnTo>
                  <a:lnTo>
                    <a:pt x="77246" y="181589"/>
                  </a:lnTo>
                  <a:lnTo>
                    <a:pt x="45568" y="169618"/>
                  </a:lnTo>
                  <a:lnTo>
                    <a:pt x="38497" y="173293"/>
                  </a:lnTo>
                  <a:lnTo>
                    <a:pt x="11136" y="156385"/>
                  </a:lnTo>
                  <a:lnTo>
                    <a:pt x="2784" y="146659"/>
                  </a:lnTo>
                  <a:lnTo>
                    <a:pt x="15663" y="142056"/>
                  </a:lnTo>
                  <a:lnTo>
                    <a:pt x="36106" y="104788"/>
                  </a:lnTo>
                  <a:lnTo>
                    <a:pt x="26604" y="82480"/>
                  </a:lnTo>
                  <a:lnTo>
                    <a:pt x="32507" y="50074"/>
                  </a:lnTo>
                  <a:lnTo>
                    <a:pt x="19516" y="32591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2FFB8BE-CEBC-413E-A896-50B0077F8345}"/>
                </a:ext>
              </a:extLst>
            </p:cNvPr>
            <p:cNvSpPr/>
            <p:nvPr/>
          </p:nvSpPr>
          <p:spPr>
            <a:xfrm>
              <a:off x="1819289" y="5631025"/>
              <a:ext cx="200446" cy="215293"/>
            </a:xfrm>
            <a:custGeom>
              <a:avLst/>
              <a:gdLst>
                <a:gd name="connsiteX0" fmla="*/ 30830 w 200446"/>
                <a:gd name="connsiteY0" fmla="*/ 2784 h 215293"/>
                <a:gd name="connsiteX1" fmla="*/ 34544 w 200446"/>
                <a:gd name="connsiteY1" fmla="*/ 4733 h 215293"/>
                <a:gd name="connsiteX2" fmla="*/ 39089 w 200446"/>
                <a:gd name="connsiteY2" fmla="*/ 6570 h 215293"/>
                <a:gd name="connsiteX3" fmla="*/ 41897 w 200446"/>
                <a:gd name="connsiteY3" fmla="*/ 18875 h 215293"/>
                <a:gd name="connsiteX4" fmla="*/ 55963 w 200446"/>
                <a:gd name="connsiteY4" fmla="*/ 21733 h 215293"/>
                <a:gd name="connsiteX5" fmla="*/ 70520 w 200446"/>
                <a:gd name="connsiteY5" fmla="*/ 33036 h 215293"/>
                <a:gd name="connsiteX6" fmla="*/ 80119 w 200446"/>
                <a:gd name="connsiteY6" fmla="*/ 23849 h 215293"/>
                <a:gd name="connsiteX7" fmla="*/ 100143 w 200446"/>
                <a:gd name="connsiteY7" fmla="*/ 42780 h 215293"/>
                <a:gd name="connsiteX8" fmla="*/ 97975 w 200446"/>
                <a:gd name="connsiteY8" fmla="*/ 55883 h 215293"/>
                <a:gd name="connsiteX9" fmla="*/ 117660 w 200446"/>
                <a:gd name="connsiteY9" fmla="*/ 83370 h 215293"/>
                <a:gd name="connsiteX10" fmla="*/ 127447 w 200446"/>
                <a:gd name="connsiteY10" fmla="*/ 86062 h 215293"/>
                <a:gd name="connsiteX11" fmla="*/ 131274 w 200446"/>
                <a:gd name="connsiteY11" fmla="*/ 72699 h 215293"/>
                <a:gd name="connsiteX12" fmla="*/ 156749 w 200446"/>
                <a:gd name="connsiteY12" fmla="*/ 83092 h 215293"/>
                <a:gd name="connsiteX13" fmla="*/ 159294 w 200446"/>
                <a:gd name="connsiteY13" fmla="*/ 93745 h 215293"/>
                <a:gd name="connsiteX14" fmla="*/ 182317 w 200446"/>
                <a:gd name="connsiteY14" fmla="*/ 99443 h 215293"/>
                <a:gd name="connsiteX15" fmla="*/ 195309 w 200446"/>
                <a:gd name="connsiteY15" fmla="*/ 116927 h 215293"/>
                <a:gd name="connsiteX16" fmla="*/ 189405 w 200446"/>
                <a:gd name="connsiteY16" fmla="*/ 149332 h 215293"/>
                <a:gd name="connsiteX17" fmla="*/ 198908 w 200446"/>
                <a:gd name="connsiteY17" fmla="*/ 171641 h 215293"/>
                <a:gd name="connsiteX18" fmla="*/ 178464 w 200446"/>
                <a:gd name="connsiteY18" fmla="*/ 208909 h 215293"/>
                <a:gd name="connsiteX19" fmla="*/ 165585 w 200446"/>
                <a:gd name="connsiteY19" fmla="*/ 213512 h 215293"/>
                <a:gd name="connsiteX20" fmla="*/ 145561 w 200446"/>
                <a:gd name="connsiteY20" fmla="*/ 194581 h 215293"/>
                <a:gd name="connsiteX21" fmla="*/ 121198 w 200446"/>
                <a:gd name="connsiteY21" fmla="*/ 201856 h 215293"/>
                <a:gd name="connsiteX22" fmla="*/ 105717 w 200446"/>
                <a:gd name="connsiteY22" fmla="*/ 184762 h 215293"/>
                <a:gd name="connsiteX23" fmla="*/ 87408 w 200446"/>
                <a:gd name="connsiteY23" fmla="*/ 176615 h 215293"/>
                <a:gd name="connsiteX24" fmla="*/ 78545 w 200446"/>
                <a:gd name="connsiteY24" fmla="*/ 179733 h 215293"/>
                <a:gd name="connsiteX25" fmla="*/ 68816 w 200446"/>
                <a:gd name="connsiteY25" fmla="*/ 150668 h 215293"/>
                <a:gd name="connsiteX26" fmla="*/ 50525 w 200446"/>
                <a:gd name="connsiteY26" fmla="*/ 158668 h 215293"/>
                <a:gd name="connsiteX27" fmla="*/ 31236 w 200446"/>
                <a:gd name="connsiteY27" fmla="*/ 133686 h 215293"/>
                <a:gd name="connsiteX28" fmla="*/ 2784 w 200446"/>
                <a:gd name="connsiteY28" fmla="*/ 115238 h 215293"/>
                <a:gd name="connsiteX29" fmla="*/ 3953 w 200446"/>
                <a:gd name="connsiteY29" fmla="*/ 106552 h 215293"/>
                <a:gd name="connsiteX30" fmla="*/ 20679 w 200446"/>
                <a:gd name="connsiteY30" fmla="*/ 104751 h 215293"/>
                <a:gd name="connsiteX31" fmla="*/ 17044 w 200446"/>
                <a:gd name="connsiteY31" fmla="*/ 17724 h 215293"/>
                <a:gd name="connsiteX32" fmla="*/ 30830 w 200446"/>
                <a:gd name="connsiteY32" fmla="*/ 2784 h 215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446" h="215293">
                  <a:moveTo>
                    <a:pt x="30830" y="2784"/>
                  </a:moveTo>
                  <a:lnTo>
                    <a:pt x="34544" y="4733"/>
                  </a:lnTo>
                  <a:lnTo>
                    <a:pt x="39089" y="6570"/>
                  </a:lnTo>
                  <a:lnTo>
                    <a:pt x="41897" y="18875"/>
                  </a:lnTo>
                  <a:lnTo>
                    <a:pt x="55963" y="21733"/>
                  </a:lnTo>
                  <a:lnTo>
                    <a:pt x="70520" y="33036"/>
                  </a:lnTo>
                  <a:lnTo>
                    <a:pt x="80119" y="23849"/>
                  </a:lnTo>
                  <a:lnTo>
                    <a:pt x="100143" y="42780"/>
                  </a:lnTo>
                  <a:lnTo>
                    <a:pt x="97975" y="55883"/>
                  </a:lnTo>
                  <a:lnTo>
                    <a:pt x="117660" y="83370"/>
                  </a:lnTo>
                  <a:lnTo>
                    <a:pt x="127447" y="86062"/>
                  </a:lnTo>
                  <a:lnTo>
                    <a:pt x="131274" y="72699"/>
                  </a:lnTo>
                  <a:lnTo>
                    <a:pt x="156749" y="83092"/>
                  </a:lnTo>
                  <a:lnTo>
                    <a:pt x="159294" y="93745"/>
                  </a:lnTo>
                  <a:lnTo>
                    <a:pt x="182317" y="99443"/>
                  </a:lnTo>
                  <a:lnTo>
                    <a:pt x="195309" y="116927"/>
                  </a:lnTo>
                  <a:lnTo>
                    <a:pt x="189405" y="149332"/>
                  </a:lnTo>
                  <a:lnTo>
                    <a:pt x="198908" y="171641"/>
                  </a:lnTo>
                  <a:lnTo>
                    <a:pt x="178464" y="208909"/>
                  </a:lnTo>
                  <a:lnTo>
                    <a:pt x="165585" y="213512"/>
                  </a:lnTo>
                  <a:lnTo>
                    <a:pt x="145561" y="194581"/>
                  </a:lnTo>
                  <a:lnTo>
                    <a:pt x="121198" y="201856"/>
                  </a:lnTo>
                  <a:lnTo>
                    <a:pt x="105717" y="184762"/>
                  </a:lnTo>
                  <a:lnTo>
                    <a:pt x="87408" y="176615"/>
                  </a:lnTo>
                  <a:lnTo>
                    <a:pt x="78545" y="179733"/>
                  </a:lnTo>
                  <a:lnTo>
                    <a:pt x="68816" y="150668"/>
                  </a:lnTo>
                  <a:lnTo>
                    <a:pt x="50525" y="158668"/>
                  </a:lnTo>
                  <a:lnTo>
                    <a:pt x="31236" y="133686"/>
                  </a:lnTo>
                  <a:lnTo>
                    <a:pt x="2784" y="115238"/>
                  </a:lnTo>
                  <a:lnTo>
                    <a:pt x="3953" y="106552"/>
                  </a:lnTo>
                  <a:lnTo>
                    <a:pt x="20679" y="104751"/>
                  </a:lnTo>
                  <a:lnTo>
                    <a:pt x="17044" y="17724"/>
                  </a:lnTo>
                  <a:lnTo>
                    <a:pt x="30830" y="278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48A400D-AD9B-4F3D-ABAC-C9FC69629F84}"/>
                </a:ext>
              </a:extLst>
            </p:cNvPr>
            <p:cNvSpPr/>
            <p:nvPr/>
          </p:nvSpPr>
          <p:spPr>
            <a:xfrm>
              <a:off x="2557234" y="5480932"/>
              <a:ext cx="421308" cy="463995"/>
            </a:xfrm>
            <a:custGeom>
              <a:avLst/>
              <a:gdLst>
                <a:gd name="connsiteX0" fmla="*/ 238583 w 421308"/>
                <a:gd name="connsiteY0" fmla="*/ 22828 h 463994"/>
                <a:gd name="connsiteX1" fmla="*/ 243371 w 421308"/>
                <a:gd name="connsiteY1" fmla="*/ 10171 h 463994"/>
                <a:gd name="connsiteX2" fmla="*/ 252410 w 421308"/>
                <a:gd name="connsiteY2" fmla="*/ 2784 h 463994"/>
                <a:gd name="connsiteX3" fmla="*/ 267240 w 421308"/>
                <a:gd name="connsiteY3" fmla="*/ 15720 h 463994"/>
                <a:gd name="connsiteX4" fmla="*/ 265198 w 421308"/>
                <a:gd name="connsiteY4" fmla="*/ 29658 h 463994"/>
                <a:gd name="connsiteX5" fmla="*/ 303728 w 421308"/>
                <a:gd name="connsiteY5" fmla="*/ 47346 h 463994"/>
                <a:gd name="connsiteX6" fmla="*/ 340421 w 421308"/>
                <a:gd name="connsiteY6" fmla="*/ 90831 h 463994"/>
                <a:gd name="connsiteX7" fmla="*/ 349886 w 421308"/>
                <a:gd name="connsiteY7" fmla="*/ 118244 h 463994"/>
                <a:gd name="connsiteX8" fmla="*/ 342778 w 421308"/>
                <a:gd name="connsiteY8" fmla="*/ 127023 h 463994"/>
                <a:gd name="connsiteX9" fmla="*/ 346713 w 421308"/>
                <a:gd name="connsiteY9" fmla="*/ 173163 h 463994"/>
                <a:gd name="connsiteX10" fmla="*/ 357663 w 421308"/>
                <a:gd name="connsiteY10" fmla="*/ 188438 h 463994"/>
                <a:gd name="connsiteX11" fmla="*/ 357997 w 421308"/>
                <a:gd name="connsiteY11" fmla="*/ 217298 h 463994"/>
                <a:gd name="connsiteX12" fmla="*/ 352299 w 421308"/>
                <a:gd name="connsiteY12" fmla="*/ 240312 h 463994"/>
                <a:gd name="connsiteX13" fmla="*/ 396175 w 421308"/>
                <a:gd name="connsiteY13" fmla="*/ 264792 h 463994"/>
                <a:gd name="connsiteX14" fmla="*/ 409426 w 421308"/>
                <a:gd name="connsiteY14" fmla="*/ 321363 h 463994"/>
                <a:gd name="connsiteX15" fmla="*/ 419040 w 421308"/>
                <a:gd name="connsiteY15" fmla="*/ 328341 h 463994"/>
                <a:gd name="connsiteX16" fmla="*/ 415978 w 421308"/>
                <a:gd name="connsiteY16" fmla="*/ 351801 h 463994"/>
                <a:gd name="connsiteX17" fmla="*/ 418576 w 421308"/>
                <a:gd name="connsiteY17" fmla="*/ 373497 h 463994"/>
                <a:gd name="connsiteX18" fmla="*/ 353431 w 421308"/>
                <a:gd name="connsiteY18" fmla="*/ 386415 h 463994"/>
                <a:gd name="connsiteX19" fmla="*/ 347845 w 421308"/>
                <a:gd name="connsiteY19" fmla="*/ 431515 h 463994"/>
                <a:gd name="connsiteX20" fmla="*/ 350443 w 421308"/>
                <a:gd name="connsiteY20" fmla="*/ 453211 h 463994"/>
                <a:gd name="connsiteX21" fmla="*/ 342444 w 421308"/>
                <a:gd name="connsiteY21" fmla="*/ 451077 h 463994"/>
                <a:gd name="connsiteX22" fmla="*/ 336282 w 421308"/>
                <a:gd name="connsiteY22" fmla="*/ 444414 h 463994"/>
                <a:gd name="connsiteX23" fmla="*/ 313342 w 421308"/>
                <a:gd name="connsiteY23" fmla="*/ 444655 h 463994"/>
                <a:gd name="connsiteX24" fmla="*/ 300090 w 421308"/>
                <a:gd name="connsiteY24" fmla="*/ 462918 h 463994"/>
                <a:gd name="connsiteX25" fmla="*/ 270283 w 421308"/>
                <a:gd name="connsiteY25" fmla="*/ 441296 h 463994"/>
                <a:gd name="connsiteX26" fmla="*/ 232458 w 421308"/>
                <a:gd name="connsiteY26" fmla="*/ 438809 h 463994"/>
                <a:gd name="connsiteX27" fmla="*/ 232235 w 421308"/>
                <a:gd name="connsiteY27" fmla="*/ 432053 h 463994"/>
                <a:gd name="connsiteX28" fmla="*/ 204767 w 421308"/>
                <a:gd name="connsiteY28" fmla="*/ 446623 h 463994"/>
                <a:gd name="connsiteX29" fmla="*/ 200554 w 421308"/>
                <a:gd name="connsiteY29" fmla="*/ 457499 h 463994"/>
                <a:gd name="connsiteX30" fmla="*/ 187154 w 421308"/>
                <a:gd name="connsiteY30" fmla="*/ 437510 h 463994"/>
                <a:gd name="connsiteX31" fmla="*/ 162779 w 421308"/>
                <a:gd name="connsiteY31" fmla="*/ 428638 h 463994"/>
                <a:gd name="connsiteX32" fmla="*/ 163269 w 421308"/>
                <a:gd name="connsiteY32" fmla="*/ 437064 h 463994"/>
                <a:gd name="connsiteX33" fmla="*/ 123727 w 421308"/>
                <a:gd name="connsiteY33" fmla="*/ 423794 h 463994"/>
                <a:gd name="connsiteX34" fmla="*/ 103269 w 421308"/>
                <a:gd name="connsiteY34" fmla="*/ 407498 h 463994"/>
                <a:gd name="connsiteX35" fmla="*/ 78625 w 421308"/>
                <a:gd name="connsiteY35" fmla="*/ 396957 h 463994"/>
                <a:gd name="connsiteX36" fmla="*/ 70685 w 421308"/>
                <a:gd name="connsiteY36" fmla="*/ 405865 h 463994"/>
                <a:gd name="connsiteX37" fmla="*/ 55752 w 421308"/>
                <a:gd name="connsiteY37" fmla="*/ 408241 h 463994"/>
                <a:gd name="connsiteX38" fmla="*/ 2784 w 421308"/>
                <a:gd name="connsiteY38" fmla="*/ 380104 h 463994"/>
                <a:gd name="connsiteX39" fmla="*/ 7443 w 421308"/>
                <a:gd name="connsiteY39" fmla="*/ 366611 h 463994"/>
                <a:gd name="connsiteX40" fmla="*/ 15232 w 421308"/>
                <a:gd name="connsiteY40" fmla="*/ 340702 h 463994"/>
                <a:gd name="connsiteX41" fmla="*/ 14647 w 421308"/>
                <a:gd name="connsiteY41" fmla="*/ 326337 h 463994"/>
                <a:gd name="connsiteX42" fmla="*/ 29809 w 421308"/>
                <a:gd name="connsiteY42" fmla="*/ 330735 h 463994"/>
                <a:gd name="connsiteX43" fmla="*/ 55793 w 421308"/>
                <a:gd name="connsiteY43" fmla="*/ 328304 h 463994"/>
                <a:gd name="connsiteX44" fmla="*/ 66279 w 421308"/>
                <a:gd name="connsiteY44" fmla="*/ 292613 h 463994"/>
                <a:gd name="connsiteX45" fmla="*/ 78762 w 421308"/>
                <a:gd name="connsiteY45" fmla="*/ 285524 h 463994"/>
                <a:gd name="connsiteX46" fmla="*/ 92755 w 421308"/>
                <a:gd name="connsiteY46" fmla="*/ 298608 h 463994"/>
                <a:gd name="connsiteX47" fmla="*/ 106463 w 421308"/>
                <a:gd name="connsiteY47" fmla="*/ 293876 h 463994"/>
                <a:gd name="connsiteX48" fmla="*/ 105388 w 421308"/>
                <a:gd name="connsiteY48" fmla="*/ 271084 h 463994"/>
                <a:gd name="connsiteX49" fmla="*/ 153059 w 421308"/>
                <a:gd name="connsiteY49" fmla="*/ 249908 h 463994"/>
                <a:gd name="connsiteX50" fmla="*/ 156493 w 421308"/>
                <a:gd name="connsiteY50" fmla="*/ 234039 h 463994"/>
                <a:gd name="connsiteX51" fmla="*/ 146480 w 421308"/>
                <a:gd name="connsiteY51" fmla="*/ 224573 h 463994"/>
                <a:gd name="connsiteX52" fmla="*/ 160342 w 421308"/>
                <a:gd name="connsiteY52" fmla="*/ 199425 h 463994"/>
                <a:gd name="connsiteX53" fmla="*/ 136715 w 421308"/>
                <a:gd name="connsiteY53" fmla="*/ 163196 h 463994"/>
                <a:gd name="connsiteX54" fmla="*/ 148842 w 421308"/>
                <a:gd name="connsiteY54" fmla="*/ 148515 h 463994"/>
                <a:gd name="connsiteX55" fmla="*/ 176562 w 421308"/>
                <a:gd name="connsiteY55" fmla="*/ 135598 h 463994"/>
                <a:gd name="connsiteX56" fmla="*/ 208590 w 421308"/>
                <a:gd name="connsiteY56" fmla="*/ 101596 h 463994"/>
                <a:gd name="connsiteX57" fmla="*/ 218093 w 421308"/>
                <a:gd name="connsiteY57" fmla="*/ 86470 h 463994"/>
                <a:gd name="connsiteX58" fmla="*/ 222325 w 421308"/>
                <a:gd name="connsiteY58" fmla="*/ 54343 h 463994"/>
                <a:gd name="connsiteX59" fmla="*/ 236411 w 421308"/>
                <a:gd name="connsiteY59" fmla="*/ 35932 h 463994"/>
                <a:gd name="connsiteX60" fmla="*/ 238583 w 421308"/>
                <a:gd name="connsiteY60" fmla="*/ 22828 h 46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21308" h="463994">
                  <a:moveTo>
                    <a:pt x="238583" y="22828"/>
                  </a:moveTo>
                  <a:lnTo>
                    <a:pt x="243371" y="10171"/>
                  </a:lnTo>
                  <a:lnTo>
                    <a:pt x="252410" y="2784"/>
                  </a:lnTo>
                  <a:lnTo>
                    <a:pt x="267240" y="15720"/>
                  </a:lnTo>
                  <a:lnTo>
                    <a:pt x="265198" y="29658"/>
                  </a:lnTo>
                  <a:lnTo>
                    <a:pt x="303728" y="47346"/>
                  </a:lnTo>
                  <a:lnTo>
                    <a:pt x="340421" y="90831"/>
                  </a:lnTo>
                  <a:lnTo>
                    <a:pt x="349886" y="118244"/>
                  </a:lnTo>
                  <a:lnTo>
                    <a:pt x="342778" y="127023"/>
                  </a:lnTo>
                  <a:lnTo>
                    <a:pt x="346713" y="173163"/>
                  </a:lnTo>
                  <a:lnTo>
                    <a:pt x="357663" y="188438"/>
                  </a:lnTo>
                  <a:lnTo>
                    <a:pt x="357997" y="217298"/>
                  </a:lnTo>
                  <a:lnTo>
                    <a:pt x="352299" y="240312"/>
                  </a:lnTo>
                  <a:lnTo>
                    <a:pt x="396175" y="264792"/>
                  </a:lnTo>
                  <a:lnTo>
                    <a:pt x="409426" y="321363"/>
                  </a:lnTo>
                  <a:lnTo>
                    <a:pt x="419040" y="328341"/>
                  </a:lnTo>
                  <a:lnTo>
                    <a:pt x="415978" y="351801"/>
                  </a:lnTo>
                  <a:lnTo>
                    <a:pt x="418576" y="373497"/>
                  </a:lnTo>
                  <a:lnTo>
                    <a:pt x="353431" y="386415"/>
                  </a:lnTo>
                  <a:lnTo>
                    <a:pt x="347845" y="431515"/>
                  </a:lnTo>
                  <a:lnTo>
                    <a:pt x="350443" y="453211"/>
                  </a:lnTo>
                  <a:lnTo>
                    <a:pt x="342444" y="451077"/>
                  </a:lnTo>
                  <a:lnTo>
                    <a:pt x="336282" y="444414"/>
                  </a:lnTo>
                  <a:lnTo>
                    <a:pt x="313342" y="444655"/>
                  </a:lnTo>
                  <a:lnTo>
                    <a:pt x="300090" y="462918"/>
                  </a:lnTo>
                  <a:lnTo>
                    <a:pt x="270283" y="441296"/>
                  </a:lnTo>
                  <a:lnTo>
                    <a:pt x="232458" y="438809"/>
                  </a:lnTo>
                  <a:lnTo>
                    <a:pt x="232235" y="432053"/>
                  </a:lnTo>
                  <a:lnTo>
                    <a:pt x="204767" y="446623"/>
                  </a:lnTo>
                  <a:lnTo>
                    <a:pt x="200554" y="457499"/>
                  </a:lnTo>
                  <a:lnTo>
                    <a:pt x="187154" y="437510"/>
                  </a:lnTo>
                  <a:lnTo>
                    <a:pt x="162779" y="428638"/>
                  </a:lnTo>
                  <a:lnTo>
                    <a:pt x="163269" y="437064"/>
                  </a:lnTo>
                  <a:lnTo>
                    <a:pt x="123727" y="423794"/>
                  </a:lnTo>
                  <a:lnTo>
                    <a:pt x="103269" y="407498"/>
                  </a:lnTo>
                  <a:lnTo>
                    <a:pt x="78625" y="396957"/>
                  </a:lnTo>
                  <a:lnTo>
                    <a:pt x="70685" y="405865"/>
                  </a:lnTo>
                  <a:lnTo>
                    <a:pt x="55752" y="408241"/>
                  </a:lnTo>
                  <a:lnTo>
                    <a:pt x="2784" y="380104"/>
                  </a:lnTo>
                  <a:lnTo>
                    <a:pt x="7443" y="366611"/>
                  </a:lnTo>
                  <a:lnTo>
                    <a:pt x="15232" y="340702"/>
                  </a:lnTo>
                  <a:lnTo>
                    <a:pt x="14647" y="326337"/>
                  </a:lnTo>
                  <a:lnTo>
                    <a:pt x="29809" y="330735"/>
                  </a:lnTo>
                  <a:lnTo>
                    <a:pt x="55793" y="328304"/>
                  </a:lnTo>
                  <a:lnTo>
                    <a:pt x="66279" y="292613"/>
                  </a:lnTo>
                  <a:lnTo>
                    <a:pt x="78762" y="285524"/>
                  </a:lnTo>
                  <a:lnTo>
                    <a:pt x="92755" y="298608"/>
                  </a:lnTo>
                  <a:lnTo>
                    <a:pt x="106463" y="293876"/>
                  </a:lnTo>
                  <a:lnTo>
                    <a:pt x="105388" y="271084"/>
                  </a:lnTo>
                  <a:lnTo>
                    <a:pt x="153059" y="249908"/>
                  </a:lnTo>
                  <a:lnTo>
                    <a:pt x="156493" y="234039"/>
                  </a:lnTo>
                  <a:lnTo>
                    <a:pt x="146480" y="224573"/>
                  </a:lnTo>
                  <a:lnTo>
                    <a:pt x="160342" y="199425"/>
                  </a:lnTo>
                  <a:lnTo>
                    <a:pt x="136715" y="163196"/>
                  </a:lnTo>
                  <a:lnTo>
                    <a:pt x="148842" y="148515"/>
                  </a:lnTo>
                  <a:lnTo>
                    <a:pt x="176562" y="135598"/>
                  </a:lnTo>
                  <a:lnTo>
                    <a:pt x="208590" y="101596"/>
                  </a:lnTo>
                  <a:lnTo>
                    <a:pt x="218093" y="86470"/>
                  </a:lnTo>
                  <a:lnTo>
                    <a:pt x="222325" y="54343"/>
                  </a:lnTo>
                  <a:lnTo>
                    <a:pt x="236411" y="35932"/>
                  </a:lnTo>
                  <a:lnTo>
                    <a:pt x="238583" y="22828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94BB5D9-9F8C-440D-A5F8-2315B010C49B}"/>
                </a:ext>
              </a:extLst>
            </p:cNvPr>
            <p:cNvSpPr/>
            <p:nvPr/>
          </p:nvSpPr>
          <p:spPr>
            <a:xfrm>
              <a:off x="2505352" y="5875104"/>
              <a:ext cx="270974" cy="322940"/>
            </a:xfrm>
            <a:custGeom>
              <a:avLst/>
              <a:gdLst>
                <a:gd name="connsiteX0" fmla="*/ 122566 w 270973"/>
                <a:gd name="connsiteY0" fmla="*/ 11693 h 322940"/>
                <a:gd name="connsiteX1" fmla="*/ 130504 w 270973"/>
                <a:gd name="connsiteY1" fmla="*/ 2784 h 322940"/>
                <a:gd name="connsiteX2" fmla="*/ 155149 w 270973"/>
                <a:gd name="connsiteY2" fmla="*/ 13326 h 322940"/>
                <a:gd name="connsiteX3" fmla="*/ 175608 w 270973"/>
                <a:gd name="connsiteY3" fmla="*/ 29621 h 322940"/>
                <a:gd name="connsiteX4" fmla="*/ 215150 w 270973"/>
                <a:gd name="connsiteY4" fmla="*/ 42892 h 322940"/>
                <a:gd name="connsiteX5" fmla="*/ 214659 w 270973"/>
                <a:gd name="connsiteY5" fmla="*/ 34465 h 322940"/>
                <a:gd name="connsiteX6" fmla="*/ 239036 w 270973"/>
                <a:gd name="connsiteY6" fmla="*/ 43356 h 322940"/>
                <a:gd name="connsiteX7" fmla="*/ 252436 w 270973"/>
                <a:gd name="connsiteY7" fmla="*/ 63326 h 322940"/>
                <a:gd name="connsiteX8" fmla="*/ 253494 w 270973"/>
                <a:gd name="connsiteY8" fmla="*/ 86117 h 322940"/>
                <a:gd name="connsiteX9" fmla="*/ 260231 w 270973"/>
                <a:gd name="connsiteY9" fmla="*/ 90998 h 322940"/>
                <a:gd name="connsiteX10" fmla="*/ 260732 w 270973"/>
                <a:gd name="connsiteY10" fmla="*/ 115590 h 322940"/>
                <a:gd name="connsiteX11" fmla="*/ 239593 w 270973"/>
                <a:gd name="connsiteY11" fmla="*/ 116388 h 322940"/>
                <a:gd name="connsiteX12" fmla="*/ 229739 w 270973"/>
                <a:gd name="connsiteY12" fmla="*/ 123924 h 322940"/>
                <a:gd name="connsiteX13" fmla="*/ 236994 w 270973"/>
                <a:gd name="connsiteY13" fmla="*/ 132108 h 322940"/>
                <a:gd name="connsiteX14" fmla="*/ 230680 w 270973"/>
                <a:gd name="connsiteY14" fmla="*/ 145880 h 322940"/>
                <a:gd name="connsiteX15" fmla="*/ 222158 w 270973"/>
                <a:gd name="connsiteY15" fmla="*/ 140423 h 322940"/>
                <a:gd name="connsiteX16" fmla="*/ 220138 w 270973"/>
                <a:gd name="connsiteY16" fmla="*/ 170509 h 322940"/>
                <a:gd name="connsiteX17" fmla="*/ 240576 w 270973"/>
                <a:gd name="connsiteY17" fmla="*/ 170657 h 322940"/>
                <a:gd name="connsiteX18" fmla="*/ 238312 w 270973"/>
                <a:gd name="connsiteY18" fmla="*/ 177821 h 322940"/>
                <a:gd name="connsiteX19" fmla="*/ 268101 w 270973"/>
                <a:gd name="connsiteY19" fmla="*/ 183296 h 322940"/>
                <a:gd name="connsiteX20" fmla="*/ 269251 w 270973"/>
                <a:gd name="connsiteY20" fmla="*/ 195861 h 322940"/>
                <a:gd name="connsiteX21" fmla="*/ 255907 w 270973"/>
                <a:gd name="connsiteY21" fmla="*/ 208204 h 322940"/>
                <a:gd name="connsiteX22" fmla="*/ 262440 w 270973"/>
                <a:gd name="connsiteY22" fmla="*/ 222458 h 322940"/>
                <a:gd name="connsiteX23" fmla="*/ 223776 w 270973"/>
                <a:gd name="connsiteY23" fmla="*/ 220119 h 322940"/>
                <a:gd name="connsiteX24" fmla="*/ 177993 w 270973"/>
                <a:gd name="connsiteY24" fmla="*/ 210394 h 322940"/>
                <a:gd name="connsiteX25" fmla="*/ 160945 w 270973"/>
                <a:gd name="connsiteY25" fmla="*/ 199499 h 322940"/>
                <a:gd name="connsiteX26" fmla="*/ 156289 w 270973"/>
                <a:gd name="connsiteY26" fmla="*/ 212992 h 322940"/>
                <a:gd name="connsiteX27" fmla="*/ 142541 w 270973"/>
                <a:gd name="connsiteY27" fmla="*/ 222829 h 322940"/>
                <a:gd name="connsiteX28" fmla="*/ 154609 w 270973"/>
                <a:gd name="connsiteY28" fmla="*/ 234521 h 322940"/>
                <a:gd name="connsiteX29" fmla="*/ 142879 w 270973"/>
                <a:gd name="connsiteY29" fmla="*/ 251689 h 322940"/>
                <a:gd name="connsiteX30" fmla="*/ 178329 w 270973"/>
                <a:gd name="connsiteY30" fmla="*/ 276671 h 322940"/>
                <a:gd name="connsiteX31" fmla="*/ 177289 w 270973"/>
                <a:gd name="connsiteY31" fmla="*/ 286192 h 322940"/>
                <a:gd name="connsiteX32" fmla="*/ 153568 w 270973"/>
                <a:gd name="connsiteY32" fmla="*/ 281459 h 322940"/>
                <a:gd name="connsiteX33" fmla="*/ 149062 w 270973"/>
                <a:gd name="connsiteY33" fmla="*/ 274518 h 322940"/>
                <a:gd name="connsiteX34" fmla="*/ 126831 w 270973"/>
                <a:gd name="connsiteY34" fmla="*/ 273794 h 322940"/>
                <a:gd name="connsiteX35" fmla="*/ 102298 w 270973"/>
                <a:gd name="connsiteY35" fmla="*/ 285357 h 322940"/>
                <a:gd name="connsiteX36" fmla="*/ 111196 w 270973"/>
                <a:gd name="connsiteY36" fmla="*/ 314551 h 322940"/>
                <a:gd name="connsiteX37" fmla="*/ 88492 w 270973"/>
                <a:gd name="connsiteY37" fmla="*/ 321567 h 322940"/>
                <a:gd name="connsiteX38" fmla="*/ 53419 w 270973"/>
                <a:gd name="connsiteY38" fmla="*/ 320342 h 322940"/>
                <a:gd name="connsiteX39" fmla="*/ 51138 w 270973"/>
                <a:gd name="connsiteY39" fmla="*/ 311359 h 322940"/>
                <a:gd name="connsiteX40" fmla="*/ 66110 w 270973"/>
                <a:gd name="connsiteY40" fmla="*/ 303879 h 322940"/>
                <a:gd name="connsiteX41" fmla="*/ 70334 w 270973"/>
                <a:gd name="connsiteY41" fmla="*/ 293003 h 322940"/>
                <a:gd name="connsiteX42" fmla="*/ 54948 w 270973"/>
                <a:gd name="connsiteY42" fmla="*/ 281830 h 322940"/>
                <a:gd name="connsiteX43" fmla="*/ 29607 w 270973"/>
                <a:gd name="connsiteY43" fmla="*/ 272253 h 322940"/>
                <a:gd name="connsiteX44" fmla="*/ 20535 w 270973"/>
                <a:gd name="connsiteY44" fmla="*/ 284763 h 322940"/>
                <a:gd name="connsiteX45" fmla="*/ 8506 w 270973"/>
                <a:gd name="connsiteY45" fmla="*/ 267966 h 322940"/>
                <a:gd name="connsiteX46" fmla="*/ 10015 w 270973"/>
                <a:gd name="connsiteY46" fmla="*/ 250724 h 322940"/>
                <a:gd name="connsiteX47" fmla="*/ 29816 w 270973"/>
                <a:gd name="connsiteY47" fmla="*/ 225464 h 322940"/>
                <a:gd name="connsiteX48" fmla="*/ 29761 w 270973"/>
                <a:gd name="connsiteY48" fmla="*/ 214403 h 322940"/>
                <a:gd name="connsiteX49" fmla="*/ 54427 w 270973"/>
                <a:gd name="connsiteY49" fmla="*/ 166258 h 322940"/>
                <a:gd name="connsiteX50" fmla="*/ 67966 w 270973"/>
                <a:gd name="connsiteY50" fmla="*/ 165813 h 322940"/>
                <a:gd name="connsiteX51" fmla="*/ 80884 w 270973"/>
                <a:gd name="connsiteY51" fmla="*/ 156106 h 322940"/>
                <a:gd name="connsiteX52" fmla="*/ 95177 w 270973"/>
                <a:gd name="connsiteY52" fmla="*/ 165739 h 322940"/>
                <a:gd name="connsiteX53" fmla="*/ 103644 w 270973"/>
                <a:gd name="connsiteY53" fmla="*/ 160134 h 322940"/>
                <a:gd name="connsiteX54" fmla="*/ 104626 w 270973"/>
                <a:gd name="connsiteY54" fmla="*/ 139569 h 322940"/>
                <a:gd name="connsiteX55" fmla="*/ 125877 w 270973"/>
                <a:gd name="connsiteY55" fmla="*/ 123423 h 322940"/>
                <a:gd name="connsiteX56" fmla="*/ 113545 w 270973"/>
                <a:gd name="connsiteY56" fmla="*/ 110078 h 322940"/>
                <a:gd name="connsiteX57" fmla="*/ 87749 w 270973"/>
                <a:gd name="connsiteY57" fmla="*/ 124388 h 322940"/>
                <a:gd name="connsiteX58" fmla="*/ 81017 w 270973"/>
                <a:gd name="connsiteY58" fmla="*/ 119506 h 322940"/>
                <a:gd name="connsiteX59" fmla="*/ 56825 w 270973"/>
                <a:gd name="connsiteY59" fmla="*/ 122513 h 322940"/>
                <a:gd name="connsiteX60" fmla="*/ 47641 w 270973"/>
                <a:gd name="connsiteY60" fmla="*/ 112918 h 322940"/>
                <a:gd name="connsiteX61" fmla="*/ 26899 w 270973"/>
                <a:gd name="connsiteY61" fmla="*/ 116221 h 322940"/>
                <a:gd name="connsiteX62" fmla="*/ 16737 w 270973"/>
                <a:gd name="connsiteY62" fmla="*/ 89774 h 322940"/>
                <a:gd name="connsiteX63" fmla="*/ 2784 w 270973"/>
                <a:gd name="connsiteY63" fmla="*/ 71585 h 322940"/>
                <a:gd name="connsiteX64" fmla="*/ 9970 w 270973"/>
                <a:gd name="connsiteY64" fmla="*/ 52580 h 322940"/>
                <a:gd name="connsiteX65" fmla="*/ 33937 w 270973"/>
                <a:gd name="connsiteY65" fmla="*/ 42817 h 322940"/>
                <a:gd name="connsiteX66" fmla="*/ 54000 w 270973"/>
                <a:gd name="connsiteY66" fmla="*/ 56626 h 322940"/>
                <a:gd name="connsiteX67" fmla="*/ 41401 w 270973"/>
                <a:gd name="connsiteY67" fmla="*/ 79046 h 322940"/>
                <a:gd name="connsiteX68" fmla="*/ 61786 w 270973"/>
                <a:gd name="connsiteY68" fmla="*/ 68151 h 322940"/>
                <a:gd name="connsiteX69" fmla="*/ 70327 w 270973"/>
                <a:gd name="connsiteY69" fmla="*/ 89755 h 322940"/>
                <a:gd name="connsiteX70" fmla="*/ 81114 w 270973"/>
                <a:gd name="connsiteY70" fmla="*/ 88029 h 322940"/>
                <a:gd name="connsiteX71" fmla="*/ 84980 w 270973"/>
                <a:gd name="connsiteY71" fmla="*/ 69562 h 322940"/>
                <a:gd name="connsiteX72" fmla="*/ 104987 w 270973"/>
                <a:gd name="connsiteY72" fmla="*/ 72327 h 322940"/>
                <a:gd name="connsiteX73" fmla="*/ 109739 w 270973"/>
                <a:gd name="connsiteY73" fmla="*/ 64774 h 322940"/>
                <a:gd name="connsiteX74" fmla="*/ 127257 w 270973"/>
                <a:gd name="connsiteY74" fmla="*/ 67929 h 322940"/>
                <a:gd name="connsiteX75" fmla="*/ 117792 w 270973"/>
                <a:gd name="connsiteY75" fmla="*/ 40516 h 322940"/>
                <a:gd name="connsiteX76" fmla="*/ 133143 w 270973"/>
                <a:gd name="connsiteY76" fmla="*/ 19376 h 322940"/>
                <a:gd name="connsiteX77" fmla="*/ 122566 w 270973"/>
                <a:gd name="connsiteY77" fmla="*/ 11693 h 32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70973" h="322940">
                  <a:moveTo>
                    <a:pt x="122566" y="11693"/>
                  </a:moveTo>
                  <a:lnTo>
                    <a:pt x="130504" y="2784"/>
                  </a:lnTo>
                  <a:lnTo>
                    <a:pt x="155149" y="13326"/>
                  </a:lnTo>
                  <a:lnTo>
                    <a:pt x="175608" y="29621"/>
                  </a:lnTo>
                  <a:lnTo>
                    <a:pt x="215150" y="42892"/>
                  </a:lnTo>
                  <a:lnTo>
                    <a:pt x="214659" y="34465"/>
                  </a:lnTo>
                  <a:lnTo>
                    <a:pt x="239036" y="43356"/>
                  </a:lnTo>
                  <a:lnTo>
                    <a:pt x="252436" y="63326"/>
                  </a:lnTo>
                  <a:lnTo>
                    <a:pt x="253494" y="86117"/>
                  </a:lnTo>
                  <a:lnTo>
                    <a:pt x="260231" y="90998"/>
                  </a:lnTo>
                  <a:lnTo>
                    <a:pt x="260732" y="115590"/>
                  </a:lnTo>
                  <a:lnTo>
                    <a:pt x="239593" y="116388"/>
                  </a:lnTo>
                  <a:lnTo>
                    <a:pt x="229739" y="123924"/>
                  </a:lnTo>
                  <a:lnTo>
                    <a:pt x="236994" y="132108"/>
                  </a:lnTo>
                  <a:lnTo>
                    <a:pt x="230680" y="145880"/>
                  </a:lnTo>
                  <a:lnTo>
                    <a:pt x="222158" y="140423"/>
                  </a:lnTo>
                  <a:lnTo>
                    <a:pt x="220138" y="170509"/>
                  </a:lnTo>
                  <a:lnTo>
                    <a:pt x="240576" y="170657"/>
                  </a:lnTo>
                  <a:lnTo>
                    <a:pt x="238312" y="177821"/>
                  </a:lnTo>
                  <a:lnTo>
                    <a:pt x="268101" y="183296"/>
                  </a:lnTo>
                  <a:lnTo>
                    <a:pt x="269251" y="195861"/>
                  </a:lnTo>
                  <a:lnTo>
                    <a:pt x="255907" y="208204"/>
                  </a:lnTo>
                  <a:lnTo>
                    <a:pt x="262440" y="222458"/>
                  </a:lnTo>
                  <a:lnTo>
                    <a:pt x="223776" y="220119"/>
                  </a:lnTo>
                  <a:lnTo>
                    <a:pt x="177993" y="210394"/>
                  </a:lnTo>
                  <a:lnTo>
                    <a:pt x="160945" y="199499"/>
                  </a:lnTo>
                  <a:lnTo>
                    <a:pt x="156289" y="212992"/>
                  </a:lnTo>
                  <a:lnTo>
                    <a:pt x="142541" y="222829"/>
                  </a:lnTo>
                  <a:lnTo>
                    <a:pt x="154609" y="234521"/>
                  </a:lnTo>
                  <a:lnTo>
                    <a:pt x="142879" y="251689"/>
                  </a:lnTo>
                  <a:lnTo>
                    <a:pt x="178329" y="276671"/>
                  </a:lnTo>
                  <a:lnTo>
                    <a:pt x="177289" y="286192"/>
                  </a:lnTo>
                  <a:lnTo>
                    <a:pt x="153568" y="281459"/>
                  </a:lnTo>
                  <a:lnTo>
                    <a:pt x="149062" y="274518"/>
                  </a:lnTo>
                  <a:lnTo>
                    <a:pt x="126831" y="273794"/>
                  </a:lnTo>
                  <a:lnTo>
                    <a:pt x="102298" y="285357"/>
                  </a:lnTo>
                  <a:lnTo>
                    <a:pt x="111196" y="314551"/>
                  </a:lnTo>
                  <a:lnTo>
                    <a:pt x="88492" y="321567"/>
                  </a:lnTo>
                  <a:lnTo>
                    <a:pt x="53419" y="320342"/>
                  </a:lnTo>
                  <a:lnTo>
                    <a:pt x="51138" y="311359"/>
                  </a:lnTo>
                  <a:lnTo>
                    <a:pt x="66110" y="303879"/>
                  </a:lnTo>
                  <a:lnTo>
                    <a:pt x="70334" y="293003"/>
                  </a:lnTo>
                  <a:lnTo>
                    <a:pt x="54948" y="281830"/>
                  </a:lnTo>
                  <a:lnTo>
                    <a:pt x="29607" y="272253"/>
                  </a:lnTo>
                  <a:lnTo>
                    <a:pt x="20535" y="284763"/>
                  </a:lnTo>
                  <a:lnTo>
                    <a:pt x="8506" y="267966"/>
                  </a:lnTo>
                  <a:lnTo>
                    <a:pt x="10015" y="250724"/>
                  </a:lnTo>
                  <a:lnTo>
                    <a:pt x="29816" y="225464"/>
                  </a:lnTo>
                  <a:lnTo>
                    <a:pt x="29761" y="214403"/>
                  </a:lnTo>
                  <a:lnTo>
                    <a:pt x="54427" y="166258"/>
                  </a:lnTo>
                  <a:lnTo>
                    <a:pt x="67966" y="165813"/>
                  </a:lnTo>
                  <a:lnTo>
                    <a:pt x="80884" y="156106"/>
                  </a:lnTo>
                  <a:lnTo>
                    <a:pt x="95177" y="165739"/>
                  </a:lnTo>
                  <a:lnTo>
                    <a:pt x="103644" y="160134"/>
                  </a:lnTo>
                  <a:lnTo>
                    <a:pt x="104626" y="139569"/>
                  </a:lnTo>
                  <a:lnTo>
                    <a:pt x="125877" y="123423"/>
                  </a:lnTo>
                  <a:lnTo>
                    <a:pt x="113545" y="110078"/>
                  </a:lnTo>
                  <a:lnTo>
                    <a:pt x="87749" y="124388"/>
                  </a:lnTo>
                  <a:lnTo>
                    <a:pt x="81017" y="119506"/>
                  </a:lnTo>
                  <a:lnTo>
                    <a:pt x="56825" y="122513"/>
                  </a:lnTo>
                  <a:lnTo>
                    <a:pt x="47641" y="112918"/>
                  </a:lnTo>
                  <a:lnTo>
                    <a:pt x="26899" y="116221"/>
                  </a:lnTo>
                  <a:lnTo>
                    <a:pt x="16737" y="89774"/>
                  </a:lnTo>
                  <a:lnTo>
                    <a:pt x="2784" y="71585"/>
                  </a:lnTo>
                  <a:lnTo>
                    <a:pt x="9970" y="52580"/>
                  </a:lnTo>
                  <a:lnTo>
                    <a:pt x="33937" y="42817"/>
                  </a:lnTo>
                  <a:lnTo>
                    <a:pt x="54000" y="56626"/>
                  </a:lnTo>
                  <a:lnTo>
                    <a:pt x="41401" y="79046"/>
                  </a:lnTo>
                  <a:lnTo>
                    <a:pt x="61786" y="68151"/>
                  </a:lnTo>
                  <a:lnTo>
                    <a:pt x="70327" y="89755"/>
                  </a:lnTo>
                  <a:lnTo>
                    <a:pt x="81114" y="88029"/>
                  </a:lnTo>
                  <a:lnTo>
                    <a:pt x="84980" y="69562"/>
                  </a:lnTo>
                  <a:lnTo>
                    <a:pt x="104987" y="72327"/>
                  </a:lnTo>
                  <a:lnTo>
                    <a:pt x="109739" y="64774"/>
                  </a:lnTo>
                  <a:lnTo>
                    <a:pt x="127257" y="67929"/>
                  </a:lnTo>
                  <a:lnTo>
                    <a:pt x="117792" y="40516"/>
                  </a:lnTo>
                  <a:lnTo>
                    <a:pt x="133143" y="19376"/>
                  </a:lnTo>
                  <a:lnTo>
                    <a:pt x="122566" y="1169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7BECA92-2A2C-4FCB-AE48-ED89FA9D92C1}"/>
                </a:ext>
              </a:extLst>
            </p:cNvPr>
            <p:cNvSpPr/>
            <p:nvPr/>
          </p:nvSpPr>
          <p:spPr>
            <a:xfrm>
              <a:off x="3957199" y="6105394"/>
              <a:ext cx="193022" cy="311804"/>
            </a:xfrm>
            <a:custGeom>
              <a:avLst/>
              <a:gdLst>
                <a:gd name="connsiteX0" fmla="*/ 55587 w 193022"/>
                <a:gd name="connsiteY0" fmla="*/ 289069 h 311804"/>
                <a:gd name="connsiteX1" fmla="*/ 46882 w 193022"/>
                <a:gd name="connsiteY1" fmla="*/ 309150 h 311804"/>
                <a:gd name="connsiteX2" fmla="*/ 39291 w 193022"/>
                <a:gd name="connsiteY2" fmla="*/ 309522 h 311804"/>
                <a:gd name="connsiteX3" fmla="*/ 10783 w 193022"/>
                <a:gd name="connsiteY3" fmla="*/ 296196 h 311804"/>
                <a:gd name="connsiteX4" fmla="*/ 21381 w 193022"/>
                <a:gd name="connsiteY4" fmla="*/ 282591 h 311804"/>
                <a:gd name="connsiteX5" fmla="*/ 7758 w 193022"/>
                <a:gd name="connsiteY5" fmla="*/ 277116 h 311804"/>
                <a:gd name="connsiteX6" fmla="*/ 19395 w 193022"/>
                <a:gd name="connsiteY6" fmla="*/ 253991 h 311804"/>
                <a:gd name="connsiteX7" fmla="*/ 31051 w 193022"/>
                <a:gd name="connsiteY7" fmla="*/ 247049 h 311804"/>
                <a:gd name="connsiteX8" fmla="*/ 46715 w 193022"/>
                <a:gd name="connsiteY8" fmla="*/ 238605 h 311804"/>
                <a:gd name="connsiteX9" fmla="*/ 44692 w 193022"/>
                <a:gd name="connsiteY9" fmla="*/ 231255 h 311804"/>
                <a:gd name="connsiteX10" fmla="*/ 63939 w 193022"/>
                <a:gd name="connsiteY10" fmla="*/ 207795 h 311804"/>
                <a:gd name="connsiteX11" fmla="*/ 68467 w 193022"/>
                <a:gd name="connsiteY11" fmla="*/ 193467 h 311804"/>
                <a:gd name="connsiteX12" fmla="*/ 49759 w 193022"/>
                <a:gd name="connsiteY12" fmla="*/ 182832 h 311804"/>
                <a:gd name="connsiteX13" fmla="*/ 54195 w 193022"/>
                <a:gd name="connsiteY13" fmla="*/ 162565 h 311804"/>
                <a:gd name="connsiteX14" fmla="*/ 40275 w 193022"/>
                <a:gd name="connsiteY14" fmla="*/ 139273 h 311804"/>
                <a:gd name="connsiteX15" fmla="*/ 58816 w 193022"/>
                <a:gd name="connsiteY15" fmla="*/ 116760 h 311804"/>
                <a:gd name="connsiteX16" fmla="*/ 42057 w 193022"/>
                <a:gd name="connsiteY16" fmla="*/ 102413 h 311804"/>
                <a:gd name="connsiteX17" fmla="*/ 51095 w 193022"/>
                <a:gd name="connsiteY17" fmla="*/ 95026 h 311804"/>
                <a:gd name="connsiteX18" fmla="*/ 46233 w 193022"/>
                <a:gd name="connsiteY18" fmla="*/ 80494 h 311804"/>
                <a:gd name="connsiteX19" fmla="*/ 29807 w 193022"/>
                <a:gd name="connsiteY19" fmla="*/ 78860 h 311804"/>
                <a:gd name="connsiteX20" fmla="*/ 20342 w 193022"/>
                <a:gd name="connsiteY20" fmla="*/ 88864 h 311804"/>
                <a:gd name="connsiteX21" fmla="*/ 16277 w 193022"/>
                <a:gd name="connsiteY21" fmla="*/ 79306 h 311804"/>
                <a:gd name="connsiteX22" fmla="*/ 24239 w 193022"/>
                <a:gd name="connsiteY22" fmla="*/ 49128 h 311804"/>
                <a:gd name="connsiteX23" fmla="*/ 2784 w 193022"/>
                <a:gd name="connsiteY23" fmla="*/ 15961 h 311804"/>
                <a:gd name="connsiteX24" fmla="*/ 10895 w 193022"/>
                <a:gd name="connsiteY24" fmla="*/ 2784 h 311804"/>
                <a:gd name="connsiteX25" fmla="*/ 28508 w 193022"/>
                <a:gd name="connsiteY25" fmla="*/ 11878 h 311804"/>
                <a:gd name="connsiteX26" fmla="*/ 42855 w 193022"/>
                <a:gd name="connsiteY26" fmla="*/ 32554 h 311804"/>
                <a:gd name="connsiteX27" fmla="*/ 64310 w 193022"/>
                <a:gd name="connsiteY27" fmla="*/ 28304 h 311804"/>
                <a:gd name="connsiteX28" fmla="*/ 87473 w 193022"/>
                <a:gd name="connsiteY28" fmla="*/ 13549 h 311804"/>
                <a:gd name="connsiteX29" fmla="*/ 103230 w 193022"/>
                <a:gd name="connsiteY29" fmla="*/ 32313 h 311804"/>
                <a:gd name="connsiteX30" fmla="*/ 125724 w 193022"/>
                <a:gd name="connsiteY30" fmla="*/ 34688 h 311804"/>
                <a:gd name="connsiteX31" fmla="*/ 125075 w 193022"/>
                <a:gd name="connsiteY31" fmla="*/ 46696 h 311804"/>
                <a:gd name="connsiteX32" fmla="*/ 141593 w 193022"/>
                <a:gd name="connsiteY32" fmla="*/ 54269 h 311804"/>
                <a:gd name="connsiteX33" fmla="*/ 161545 w 193022"/>
                <a:gd name="connsiteY33" fmla="*/ 83408 h 311804"/>
                <a:gd name="connsiteX34" fmla="*/ 158631 w 193022"/>
                <a:gd name="connsiteY34" fmla="*/ 102580 h 311804"/>
                <a:gd name="connsiteX35" fmla="*/ 169674 w 193022"/>
                <a:gd name="connsiteY35" fmla="*/ 123794 h 311804"/>
                <a:gd name="connsiteX36" fmla="*/ 183594 w 193022"/>
                <a:gd name="connsiteY36" fmla="*/ 125817 h 311804"/>
                <a:gd name="connsiteX37" fmla="*/ 190424 w 193022"/>
                <a:gd name="connsiteY37" fmla="*/ 136637 h 311804"/>
                <a:gd name="connsiteX38" fmla="*/ 169841 w 193022"/>
                <a:gd name="connsiteY38" fmla="*/ 156923 h 311804"/>
                <a:gd name="connsiteX39" fmla="*/ 174704 w 193022"/>
                <a:gd name="connsiteY39" fmla="*/ 171455 h 311804"/>
                <a:gd name="connsiteX40" fmla="*/ 145565 w 193022"/>
                <a:gd name="connsiteY40" fmla="*/ 207573 h 311804"/>
                <a:gd name="connsiteX41" fmla="*/ 137250 w 193022"/>
                <a:gd name="connsiteY41" fmla="*/ 230141 h 311804"/>
                <a:gd name="connsiteX42" fmla="*/ 120491 w 193022"/>
                <a:gd name="connsiteY42" fmla="*/ 237064 h 311804"/>
                <a:gd name="connsiteX43" fmla="*/ 117224 w 193022"/>
                <a:gd name="connsiteY43" fmla="*/ 248645 h 311804"/>
                <a:gd name="connsiteX44" fmla="*/ 123868 w 193022"/>
                <a:gd name="connsiteY44" fmla="*/ 263734 h 311804"/>
                <a:gd name="connsiteX45" fmla="*/ 106905 w 193022"/>
                <a:gd name="connsiteY45" fmla="*/ 280049 h 311804"/>
                <a:gd name="connsiteX46" fmla="*/ 80624 w 193022"/>
                <a:gd name="connsiteY46" fmla="*/ 285932 h 311804"/>
                <a:gd name="connsiteX47" fmla="*/ 78601 w 193022"/>
                <a:gd name="connsiteY47" fmla="*/ 278601 h 311804"/>
                <a:gd name="connsiteX48" fmla="*/ 55587 w 193022"/>
                <a:gd name="connsiteY48" fmla="*/ 289069 h 31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3022" h="311804">
                  <a:moveTo>
                    <a:pt x="55587" y="289069"/>
                  </a:moveTo>
                  <a:lnTo>
                    <a:pt x="46882" y="309150"/>
                  </a:lnTo>
                  <a:lnTo>
                    <a:pt x="39291" y="309522"/>
                  </a:lnTo>
                  <a:lnTo>
                    <a:pt x="10783" y="296196"/>
                  </a:lnTo>
                  <a:lnTo>
                    <a:pt x="21381" y="282591"/>
                  </a:lnTo>
                  <a:lnTo>
                    <a:pt x="7758" y="277116"/>
                  </a:lnTo>
                  <a:lnTo>
                    <a:pt x="19395" y="253991"/>
                  </a:lnTo>
                  <a:lnTo>
                    <a:pt x="31051" y="247049"/>
                  </a:lnTo>
                  <a:lnTo>
                    <a:pt x="46715" y="238605"/>
                  </a:lnTo>
                  <a:lnTo>
                    <a:pt x="44692" y="231255"/>
                  </a:lnTo>
                  <a:lnTo>
                    <a:pt x="63939" y="207795"/>
                  </a:lnTo>
                  <a:lnTo>
                    <a:pt x="68467" y="193467"/>
                  </a:lnTo>
                  <a:lnTo>
                    <a:pt x="49759" y="182832"/>
                  </a:lnTo>
                  <a:lnTo>
                    <a:pt x="54195" y="162565"/>
                  </a:lnTo>
                  <a:lnTo>
                    <a:pt x="40275" y="139273"/>
                  </a:lnTo>
                  <a:lnTo>
                    <a:pt x="58816" y="116760"/>
                  </a:lnTo>
                  <a:lnTo>
                    <a:pt x="42057" y="102413"/>
                  </a:lnTo>
                  <a:lnTo>
                    <a:pt x="51095" y="95026"/>
                  </a:lnTo>
                  <a:lnTo>
                    <a:pt x="46233" y="80494"/>
                  </a:lnTo>
                  <a:lnTo>
                    <a:pt x="29807" y="78860"/>
                  </a:lnTo>
                  <a:lnTo>
                    <a:pt x="20342" y="88864"/>
                  </a:lnTo>
                  <a:lnTo>
                    <a:pt x="16277" y="79306"/>
                  </a:lnTo>
                  <a:lnTo>
                    <a:pt x="24239" y="49128"/>
                  </a:lnTo>
                  <a:lnTo>
                    <a:pt x="2784" y="15961"/>
                  </a:lnTo>
                  <a:lnTo>
                    <a:pt x="10895" y="2784"/>
                  </a:lnTo>
                  <a:lnTo>
                    <a:pt x="28508" y="11878"/>
                  </a:lnTo>
                  <a:lnTo>
                    <a:pt x="42855" y="32554"/>
                  </a:lnTo>
                  <a:lnTo>
                    <a:pt x="64310" y="28304"/>
                  </a:lnTo>
                  <a:lnTo>
                    <a:pt x="87473" y="13549"/>
                  </a:lnTo>
                  <a:lnTo>
                    <a:pt x="103230" y="32313"/>
                  </a:lnTo>
                  <a:lnTo>
                    <a:pt x="125724" y="34688"/>
                  </a:lnTo>
                  <a:lnTo>
                    <a:pt x="125075" y="46696"/>
                  </a:lnTo>
                  <a:lnTo>
                    <a:pt x="141593" y="54269"/>
                  </a:lnTo>
                  <a:lnTo>
                    <a:pt x="161545" y="83408"/>
                  </a:lnTo>
                  <a:lnTo>
                    <a:pt x="158631" y="102580"/>
                  </a:lnTo>
                  <a:lnTo>
                    <a:pt x="169674" y="123794"/>
                  </a:lnTo>
                  <a:lnTo>
                    <a:pt x="183594" y="125817"/>
                  </a:lnTo>
                  <a:lnTo>
                    <a:pt x="190424" y="136637"/>
                  </a:lnTo>
                  <a:lnTo>
                    <a:pt x="169841" y="156923"/>
                  </a:lnTo>
                  <a:lnTo>
                    <a:pt x="174704" y="171455"/>
                  </a:lnTo>
                  <a:lnTo>
                    <a:pt x="145565" y="207573"/>
                  </a:lnTo>
                  <a:lnTo>
                    <a:pt x="137250" y="230141"/>
                  </a:lnTo>
                  <a:lnTo>
                    <a:pt x="120491" y="237064"/>
                  </a:lnTo>
                  <a:lnTo>
                    <a:pt x="117224" y="248645"/>
                  </a:lnTo>
                  <a:lnTo>
                    <a:pt x="123868" y="263734"/>
                  </a:lnTo>
                  <a:lnTo>
                    <a:pt x="106905" y="280049"/>
                  </a:lnTo>
                  <a:lnTo>
                    <a:pt x="80624" y="285932"/>
                  </a:lnTo>
                  <a:lnTo>
                    <a:pt x="78601" y="278601"/>
                  </a:lnTo>
                  <a:lnTo>
                    <a:pt x="55587" y="28906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3DB887A-7C26-405B-B2A3-9EDB3225824F}"/>
                </a:ext>
              </a:extLst>
            </p:cNvPr>
            <p:cNvSpPr/>
            <p:nvPr/>
          </p:nvSpPr>
          <p:spPr>
            <a:xfrm>
              <a:off x="2340614" y="5019703"/>
              <a:ext cx="827769" cy="488122"/>
            </a:xfrm>
            <a:custGeom>
              <a:avLst/>
              <a:gdLst>
                <a:gd name="connsiteX0" fmla="*/ 469030 w 827768"/>
                <a:gd name="connsiteY0" fmla="*/ 464013 h 488122"/>
                <a:gd name="connsiteX1" fmla="*/ 459991 w 827768"/>
                <a:gd name="connsiteY1" fmla="*/ 471400 h 488122"/>
                <a:gd name="connsiteX2" fmla="*/ 455202 w 827768"/>
                <a:gd name="connsiteY2" fmla="*/ 484058 h 488122"/>
                <a:gd name="connsiteX3" fmla="*/ 426732 w 827768"/>
                <a:gd name="connsiteY3" fmla="*/ 486897 h 488122"/>
                <a:gd name="connsiteX4" fmla="*/ 356117 w 827768"/>
                <a:gd name="connsiteY4" fmla="*/ 454752 h 488122"/>
                <a:gd name="connsiteX5" fmla="*/ 342011 w 827768"/>
                <a:gd name="connsiteY5" fmla="*/ 456997 h 488122"/>
                <a:gd name="connsiteX6" fmla="*/ 330452 w 827768"/>
                <a:gd name="connsiteY6" fmla="*/ 469896 h 488122"/>
                <a:gd name="connsiteX7" fmla="*/ 316989 w 827768"/>
                <a:gd name="connsiteY7" fmla="*/ 460134 h 488122"/>
                <a:gd name="connsiteX8" fmla="*/ 306429 w 827768"/>
                <a:gd name="connsiteY8" fmla="*/ 468616 h 488122"/>
                <a:gd name="connsiteX9" fmla="*/ 294060 w 827768"/>
                <a:gd name="connsiteY9" fmla="*/ 460375 h 488122"/>
                <a:gd name="connsiteX10" fmla="*/ 273806 w 827768"/>
                <a:gd name="connsiteY10" fmla="*/ 472105 h 488122"/>
                <a:gd name="connsiteX11" fmla="*/ 237829 w 827768"/>
                <a:gd name="connsiteY11" fmla="*/ 443801 h 488122"/>
                <a:gd name="connsiteX12" fmla="*/ 230589 w 827768"/>
                <a:gd name="connsiteY12" fmla="*/ 451764 h 488122"/>
                <a:gd name="connsiteX13" fmla="*/ 216994 w 827768"/>
                <a:gd name="connsiteY13" fmla="*/ 441166 h 488122"/>
                <a:gd name="connsiteX14" fmla="*/ 222180 w 827768"/>
                <a:gd name="connsiteY14" fmla="*/ 430995 h 488122"/>
                <a:gd name="connsiteX15" fmla="*/ 207492 w 827768"/>
                <a:gd name="connsiteY15" fmla="*/ 418876 h 488122"/>
                <a:gd name="connsiteX16" fmla="*/ 199420 w 827768"/>
                <a:gd name="connsiteY16" fmla="*/ 426968 h 488122"/>
                <a:gd name="connsiteX17" fmla="*/ 187879 w 827768"/>
                <a:gd name="connsiteY17" fmla="*/ 418597 h 488122"/>
                <a:gd name="connsiteX18" fmla="*/ 180507 w 827768"/>
                <a:gd name="connsiteY18" fmla="*/ 425724 h 488122"/>
                <a:gd name="connsiteX19" fmla="*/ 165121 w 827768"/>
                <a:gd name="connsiteY19" fmla="*/ 414551 h 488122"/>
                <a:gd name="connsiteX20" fmla="*/ 151467 w 827768"/>
                <a:gd name="connsiteY20" fmla="*/ 430327 h 488122"/>
                <a:gd name="connsiteX21" fmla="*/ 164288 w 827768"/>
                <a:gd name="connsiteY21" fmla="*/ 452116 h 488122"/>
                <a:gd name="connsiteX22" fmla="*/ 156047 w 827768"/>
                <a:gd name="connsiteY22" fmla="*/ 464477 h 488122"/>
                <a:gd name="connsiteX23" fmla="*/ 150316 w 827768"/>
                <a:gd name="connsiteY23" fmla="*/ 455179 h 488122"/>
                <a:gd name="connsiteX24" fmla="*/ 117617 w 827768"/>
                <a:gd name="connsiteY24" fmla="*/ 468894 h 488122"/>
                <a:gd name="connsiteX25" fmla="*/ 105721 w 827768"/>
                <a:gd name="connsiteY25" fmla="*/ 452914 h 488122"/>
                <a:gd name="connsiteX26" fmla="*/ 89785 w 827768"/>
                <a:gd name="connsiteY26" fmla="*/ 459707 h 488122"/>
                <a:gd name="connsiteX27" fmla="*/ 73400 w 827768"/>
                <a:gd name="connsiteY27" fmla="*/ 452951 h 488122"/>
                <a:gd name="connsiteX28" fmla="*/ 45492 w 827768"/>
                <a:gd name="connsiteY28" fmla="*/ 453991 h 488122"/>
                <a:gd name="connsiteX29" fmla="*/ 28313 w 827768"/>
                <a:gd name="connsiteY29" fmla="*/ 479696 h 488122"/>
                <a:gd name="connsiteX30" fmla="*/ 18827 w 827768"/>
                <a:gd name="connsiteY30" fmla="*/ 473553 h 488122"/>
                <a:gd name="connsiteX31" fmla="*/ 25806 w 827768"/>
                <a:gd name="connsiteY31" fmla="*/ 463939 h 488122"/>
                <a:gd name="connsiteX32" fmla="*/ 11852 w 827768"/>
                <a:gd name="connsiteY32" fmla="*/ 445750 h 488122"/>
                <a:gd name="connsiteX33" fmla="*/ 19792 w 827768"/>
                <a:gd name="connsiteY33" fmla="*/ 436823 h 488122"/>
                <a:gd name="connsiteX34" fmla="*/ 2784 w 827768"/>
                <a:gd name="connsiteY34" fmla="*/ 420824 h 488122"/>
                <a:gd name="connsiteX35" fmla="*/ 20568 w 827768"/>
                <a:gd name="connsiteY35" fmla="*/ 388233 h 488122"/>
                <a:gd name="connsiteX36" fmla="*/ 37029 w 827768"/>
                <a:gd name="connsiteY36" fmla="*/ 384763 h 488122"/>
                <a:gd name="connsiteX37" fmla="*/ 46026 w 827768"/>
                <a:gd name="connsiteY37" fmla="*/ 345063 h 488122"/>
                <a:gd name="connsiteX38" fmla="*/ 57151 w 827768"/>
                <a:gd name="connsiteY38" fmla="*/ 334781 h 488122"/>
                <a:gd name="connsiteX39" fmla="*/ 88302 w 827768"/>
                <a:gd name="connsiteY39" fmla="*/ 343430 h 488122"/>
                <a:gd name="connsiteX40" fmla="*/ 110026 w 827768"/>
                <a:gd name="connsiteY40" fmla="*/ 319562 h 488122"/>
                <a:gd name="connsiteX41" fmla="*/ 100882 w 827768"/>
                <a:gd name="connsiteY41" fmla="*/ 304863 h 488122"/>
                <a:gd name="connsiteX42" fmla="*/ 122738 w 827768"/>
                <a:gd name="connsiteY42" fmla="*/ 281830 h 488122"/>
                <a:gd name="connsiteX43" fmla="*/ 129509 w 827768"/>
                <a:gd name="connsiteY43" fmla="*/ 281608 h 488122"/>
                <a:gd name="connsiteX44" fmla="*/ 162094 w 827768"/>
                <a:gd name="connsiteY44" fmla="*/ 245806 h 488122"/>
                <a:gd name="connsiteX45" fmla="*/ 141240 w 827768"/>
                <a:gd name="connsiteY45" fmla="*/ 227005 h 488122"/>
                <a:gd name="connsiteX46" fmla="*/ 121101 w 827768"/>
                <a:gd name="connsiteY46" fmla="*/ 223404 h 488122"/>
                <a:gd name="connsiteX47" fmla="*/ 102129 w 827768"/>
                <a:gd name="connsiteY47" fmla="*/ 248534 h 488122"/>
                <a:gd name="connsiteX48" fmla="*/ 85084 w 827768"/>
                <a:gd name="connsiteY48" fmla="*/ 237640 h 488122"/>
                <a:gd name="connsiteX49" fmla="*/ 69056 w 827768"/>
                <a:gd name="connsiteY49" fmla="*/ 238493 h 488122"/>
                <a:gd name="connsiteX50" fmla="*/ 70264 w 827768"/>
                <a:gd name="connsiteY50" fmla="*/ 224703 h 488122"/>
                <a:gd name="connsiteX51" fmla="*/ 81862 w 827768"/>
                <a:gd name="connsiteY51" fmla="*/ 206700 h 488122"/>
                <a:gd name="connsiteX52" fmla="*/ 86123 w 827768"/>
                <a:gd name="connsiteY52" fmla="*/ 190702 h 488122"/>
                <a:gd name="connsiteX53" fmla="*/ 100360 w 827768"/>
                <a:gd name="connsiteY53" fmla="*/ 189291 h 488122"/>
                <a:gd name="connsiteX54" fmla="*/ 113410 w 827768"/>
                <a:gd name="connsiteY54" fmla="*/ 180420 h 488122"/>
                <a:gd name="connsiteX55" fmla="*/ 103380 w 827768"/>
                <a:gd name="connsiteY55" fmla="*/ 154789 h 488122"/>
                <a:gd name="connsiteX56" fmla="*/ 113807 w 827768"/>
                <a:gd name="connsiteY56" fmla="*/ 145490 h 488122"/>
                <a:gd name="connsiteX57" fmla="*/ 116845 w 827768"/>
                <a:gd name="connsiteY57" fmla="*/ 127135 h 488122"/>
                <a:gd name="connsiteX58" fmla="*/ 111717 w 827768"/>
                <a:gd name="connsiteY58" fmla="*/ 110950 h 488122"/>
                <a:gd name="connsiteX59" fmla="*/ 98989 w 827768"/>
                <a:gd name="connsiteY59" fmla="*/ 95119 h 488122"/>
                <a:gd name="connsiteX60" fmla="*/ 96125 w 827768"/>
                <a:gd name="connsiteY60" fmla="*/ 71752 h 488122"/>
                <a:gd name="connsiteX61" fmla="*/ 111719 w 827768"/>
                <a:gd name="connsiteY61" fmla="*/ 73534 h 488122"/>
                <a:gd name="connsiteX62" fmla="*/ 181164 w 827768"/>
                <a:gd name="connsiteY62" fmla="*/ 114365 h 488122"/>
                <a:gd name="connsiteX63" fmla="*/ 184106 w 827768"/>
                <a:gd name="connsiteY63" fmla="*/ 127487 h 488122"/>
                <a:gd name="connsiteX64" fmla="*/ 211090 w 827768"/>
                <a:gd name="connsiteY64" fmla="*/ 120657 h 488122"/>
                <a:gd name="connsiteX65" fmla="*/ 224817 w 827768"/>
                <a:gd name="connsiteY65" fmla="*/ 132071 h 488122"/>
                <a:gd name="connsiteX66" fmla="*/ 235773 w 827768"/>
                <a:gd name="connsiteY66" fmla="*/ 126076 h 488122"/>
                <a:gd name="connsiteX67" fmla="*/ 252083 w 827768"/>
                <a:gd name="connsiteY67" fmla="*/ 143040 h 488122"/>
                <a:gd name="connsiteX68" fmla="*/ 268357 w 827768"/>
                <a:gd name="connsiteY68" fmla="*/ 127691 h 488122"/>
                <a:gd name="connsiteX69" fmla="*/ 260307 w 827768"/>
                <a:gd name="connsiteY69" fmla="*/ 114514 h 488122"/>
                <a:gd name="connsiteX70" fmla="*/ 261534 w 827768"/>
                <a:gd name="connsiteY70" fmla="*/ 79454 h 488122"/>
                <a:gd name="connsiteX71" fmla="*/ 243923 w 827768"/>
                <a:gd name="connsiteY71" fmla="*/ 70360 h 488122"/>
                <a:gd name="connsiteX72" fmla="*/ 279415 w 827768"/>
                <a:gd name="connsiteY72" fmla="*/ 15386 h 488122"/>
                <a:gd name="connsiteX73" fmla="*/ 375016 w 827768"/>
                <a:gd name="connsiteY73" fmla="*/ 12082 h 488122"/>
                <a:gd name="connsiteX74" fmla="*/ 379638 w 827768"/>
                <a:gd name="connsiteY74" fmla="*/ 3693 h 488122"/>
                <a:gd name="connsiteX75" fmla="*/ 406724 w 827768"/>
                <a:gd name="connsiteY75" fmla="*/ 2784 h 488122"/>
                <a:gd name="connsiteX76" fmla="*/ 446145 w 827768"/>
                <a:gd name="connsiteY76" fmla="*/ 31385 h 488122"/>
                <a:gd name="connsiteX77" fmla="*/ 589427 w 827768"/>
                <a:gd name="connsiteY77" fmla="*/ 97884 h 488122"/>
                <a:gd name="connsiteX78" fmla="*/ 626751 w 827768"/>
                <a:gd name="connsiteY78" fmla="*/ 113215 h 488122"/>
                <a:gd name="connsiteX79" fmla="*/ 673318 w 827768"/>
                <a:gd name="connsiteY79" fmla="*/ 127914 h 488122"/>
                <a:gd name="connsiteX80" fmla="*/ 717639 w 827768"/>
                <a:gd name="connsiteY80" fmla="*/ 112361 h 488122"/>
                <a:gd name="connsiteX81" fmla="*/ 724079 w 827768"/>
                <a:gd name="connsiteY81" fmla="*/ 99425 h 488122"/>
                <a:gd name="connsiteX82" fmla="*/ 762034 w 827768"/>
                <a:gd name="connsiteY82" fmla="*/ 86581 h 488122"/>
                <a:gd name="connsiteX83" fmla="*/ 761978 w 827768"/>
                <a:gd name="connsiteY83" fmla="*/ 75538 h 488122"/>
                <a:gd name="connsiteX84" fmla="*/ 786329 w 827768"/>
                <a:gd name="connsiteY84" fmla="*/ 68263 h 488122"/>
                <a:gd name="connsiteX85" fmla="*/ 796926 w 827768"/>
                <a:gd name="connsiteY85" fmla="*/ 54658 h 488122"/>
                <a:gd name="connsiteX86" fmla="*/ 818029 w 827768"/>
                <a:gd name="connsiteY86" fmla="*/ 58964 h 488122"/>
                <a:gd name="connsiteX87" fmla="*/ 807561 w 827768"/>
                <a:gd name="connsiteY87" fmla="*/ 73385 h 488122"/>
                <a:gd name="connsiteX88" fmla="*/ 806150 w 827768"/>
                <a:gd name="connsiteY88" fmla="*/ 96567 h 488122"/>
                <a:gd name="connsiteX89" fmla="*/ 825453 w 827768"/>
                <a:gd name="connsiteY89" fmla="*/ 100297 h 488122"/>
                <a:gd name="connsiteX90" fmla="*/ 822112 w 827768"/>
                <a:gd name="connsiteY90" fmla="*/ 122086 h 488122"/>
                <a:gd name="connsiteX91" fmla="*/ 812461 w 827768"/>
                <a:gd name="connsiteY91" fmla="*/ 120230 h 488122"/>
                <a:gd name="connsiteX92" fmla="*/ 817194 w 827768"/>
                <a:gd name="connsiteY92" fmla="*/ 133927 h 488122"/>
                <a:gd name="connsiteX93" fmla="*/ 782672 w 827768"/>
                <a:gd name="connsiteY93" fmla="*/ 152190 h 488122"/>
                <a:gd name="connsiteX94" fmla="*/ 776046 w 827768"/>
                <a:gd name="connsiteY94" fmla="*/ 169395 h 488122"/>
                <a:gd name="connsiteX95" fmla="*/ 714743 w 827768"/>
                <a:gd name="connsiteY95" fmla="*/ 185097 h 488122"/>
                <a:gd name="connsiteX96" fmla="*/ 684416 w 827768"/>
                <a:gd name="connsiteY96" fmla="*/ 213735 h 488122"/>
                <a:gd name="connsiteX97" fmla="*/ 681855 w 827768"/>
                <a:gd name="connsiteY97" fmla="*/ 224351 h 488122"/>
                <a:gd name="connsiteX98" fmla="*/ 652419 w 827768"/>
                <a:gd name="connsiteY98" fmla="*/ 226485 h 488122"/>
                <a:gd name="connsiteX99" fmla="*/ 618288 w 827768"/>
                <a:gd name="connsiteY99" fmla="*/ 247216 h 488122"/>
                <a:gd name="connsiteX100" fmla="*/ 618956 w 827768"/>
                <a:gd name="connsiteY100" fmla="*/ 251355 h 488122"/>
                <a:gd name="connsiteX101" fmla="*/ 587998 w 827768"/>
                <a:gd name="connsiteY101" fmla="*/ 270750 h 488122"/>
                <a:gd name="connsiteX102" fmla="*/ 575711 w 827768"/>
                <a:gd name="connsiteY102" fmla="*/ 252283 h 488122"/>
                <a:gd name="connsiteX103" fmla="*/ 551714 w 827768"/>
                <a:gd name="connsiteY103" fmla="*/ 267168 h 488122"/>
                <a:gd name="connsiteX104" fmla="*/ 534843 w 827768"/>
                <a:gd name="connsiteY104" fmla="*/ 305568 h 488122"/>
                <a:gd name="connsiteX105" fmla="*/ 541283 w 827768"/>
                <a:gd name="connsiteY105" fmla="*/ 313902 h 488122"/>
                <a:gd name="connsiteX106" fmla="*/ 526268 w 827768"/>
                <a:gd name="connsiteY106" fmla="*/ 326485 h 488122"/>
                <a:gd name="connsiteX107" fmla="*/ 500024 w 827768"/>
                <a:gd name="connsiteY107" fmla="*/ 364681 h 488122"/>
                <a:gd name="connsiteX108" fmla="*/ 488907 w 827768"/>
                <a:gd name="connsiteY108" fmla="*/ 391110 h 488122"/>
                <a:gd name="connsiteX109" fmla="*/ 489037 w 827768"/>
                <a:gd name="connsiteY109" fmla="*/ 429362 h 488122"/>
                <a:gd name="connsiteX110" fmla="*/ 469234 w 827768"/>
                <a:gd name="connsiteY110" fmla="*/ 454622 h 488122"/>
                <a:gd name="connsiteX111" fmla="*/ 469030 w 827768"/>
                <a:gd name="connsiteY111" fmla="*/ 464013 h 48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827768" h="488122">
                  <a:moveTo>
                    <a:pt x="469030" y="464013"/>
                  </a:moveTo>
                  <a:lnTo>
                    <a:pt x="459991" y="471400"/>
                  </a:lnTo>
                  <a:lnTo>
                    <a:pt x="455202" y="484058"/>
                  </a:lnTo>
                  <a:lnTo>
                    <a:pt x="426732" y="486897"/>
                  </a:lnTo>
                  <a:lnTo>
                    <a:pt x="356117" y="454752"/>
                  </a:lnTo>
                  <a:lnTo>
                    <a:pt x="342011" y="456997"/>
                  </a:lnTo>
                  <a:lnTo>
                    <a:pt x="330452" y="469896"/>
                  </a:lnTo>
                  <a:lnTo>
                    <a:pt x="316989" y="460134"/>
                  </a:lnTo>
                  <a:lnTo>
                    <a:pt x="306429" y="468616"/>
                  </a:lnTo>
                  <a:lnTo>
                    <a:pt x="294060" y="460375"/>
                  </a:lnTo>
                  <a:lnTo>
                    <a:pt x="273806" y="472105"/>
                  </a:lnTo>
                  <a:lnTo>
                    <a:pt x="237829" y="443801"/>
                  </a:lnTo>
                  <a:lnTo>
                    <a:pt x="230589" y="451764"/>
                  </a:lnTo>
                  <a:lnTo>
                    <a:pt x="216994" y="441166"/>
                  </a:lnTo>
                  <a:lnTo>
                    <a:pt x="222180" y="430995"/>
                  </a:lnTo>
                  <a:lnTo>
                    <a:pt x="207492" y="418876"/>
                  </a:lnTo>
                  <a:lnTo>
                    <a:pt x="199420" y="426968"/>
                  </a:lnTo>
                  <a:lnTo>
                    <a:pt x="187879" y="418597"/>
                  </a:lnTo>
                  <a:lnTo>
                    <a:pt x="180507" y="425724"/>
                  </a:lnTo>
                  <a:lnTo>
                    <a:pt x="165121" y="414551"/>
                  </a:lnTo>
                  <a:lnTo>
                    <a:pt x="151467" y="430327"/>
                  </a:lnTo>
                  <a:lnTo>
                    <a:pt x="164288" y="452116"/>
                  </a:lnTo>
                  <a:lnTo>
                    <a:pt x="156047" y="464477"/>
                  </a:lnTo>
                  <a:lnTo>
                    <a:pt x="150316" y="455179"/>
                  </a:lnTo>
                  <a:lnTo>
                    <a:pt x="117617" y="468894"/>
                  </a:lnTo>
                  <a:lnTo>
                    <a:pt x="105721" y="452914"/>
                  </a:lnTo>
                  <a:lnTo>
                    <a:pt x="89785" y="459707"/>
                  </a:lnTo>
                  <a:lnTo>
                    <a:pt x="73400" y="452951"/>
                  </a:lnTo>
                  <a:lnTo>
                    <a:pt x="45492" y="453991"/>
                  </a:lnTo>
                  <a:lnTo>
                    <a:pt x="28313" y="479696"/>
                  </a:lnTo>
                  <a:lnTo>
                    <a:pt x="18827" y="473553"/>
                  </a:lnTo>
                  <a:lnTo>
                    <a:pt x="25806" y="463939"/>
                  </a:lnTo>
                  <a:lnTo>
                    <a:pt x="11852" y="445750"/>
                  </a:lnTo>
                  <a:lnTo>
                    <a:pt x="19792" y="436823"/>
                  </a:lnTo>
                  <a:lnTo>
                    <a:pt x="2784" y="420824"/>
                  </a:lnTo>
                  <a:lnTo>
                    <a:pt x="20568" y="388233"/>
                  </a:lnTo>
                  <a:lnTo>
                    <a:pt x="37029" y="384763"/>
                  </a:lnTo>
                  <a:lnTo>
                    <a:pt x="46026" y="345063"/>
                  </a:lnTo>
                  <a:lnTo>
                    <a:pt x="57151" y="334781"/>
                  </a:lnTo>
                  <a:lnTo>
                    <a:pt x="88302" y="343430"/>
                  </a:lnTo>
                  <a:lnTo>
                    <a:pt x="110026" y="319562"/>
                  </a:lnTo>
                  <a:lnTo>
                    <a:pt x="100882" y="304863"/>
                  </a:lnTo>
                  <a:lnTo>
                    <a:pt x="122738" y="281830"/>
                  </a:lnTo>
                  <a:lnTo>
                    <a:pt x="129509" y="281608"/>
                  </a:lnTo>
                  <a:lnTo>
                    <a:pt x="162094" y="245806"/>
                  </a:lnTo>
                  <a:lnTo>
                    <a:pt x="141240" y="227005"/>
                  </a:lnTo>
                  <a:lnTo>
                    <a:pt x="121101" y="223404"/>
                  </a:lnTo>
                  <a:lnTo>
                    <a:pt x="102129" y="248534"/>
                  </a:lnTo>
                  <a:lnTo>
                    <a:pt x="85084" y="237640"/>
                  </a:lnTo>
                  <a:lnTo>
                    <a:pt x="69056" y="238493"/>
                  </a:lnTo>
                  <a:lnTo>
                    <a:pt x="70264" y="224703"/>
                  </a:lnTo>
                  <a:lnTo>
                    <a:pt x="81862" y="206700"/>
                  </a:lnTo>
                  <a:lnTo>
                    <a:pt x="86123" y="190702"/>
                  </a:lnTo>
                  <a:lnTo>
                    <a:pt x="100360" y="189291"/>
                  </a:lnTo>
                  <a:lnTo>
                    <a:pt x="113410" y="180420"/>
                  </a:lnTo>
                  <a:lnTo>
                    <a:pt x="103380" y="154789"/>
                  </a:lnTo>
                  <a:lnTo>
                    <a:pt x="113807" y="145490"/>
                  </a:lnTo>
                  <a:lnTo>
                    <a:pt x="116845" y="127135"/>
                  </a:lnTo>
                  <a:lnTo>
                    <a:pt x="111717" y="110950"/>
                  </a:lnTo>
                  <a:lnTo>
                    <a:pt x="98989" y="95119"/>
                  </a:lnTo>
                  <a:lnTo>
                    <a:pt x="96125" y="71752"/>
                  </a:lnTo>
                  <a:lnTo>
                    <a:pt x="111719" y="73534"/>
                  </a:lnTo>
                  <a:lnTo>
                    <a:pt x="181164" y="114365"/>
                  </a:lnTo>
                  <a:lnTo>
                    <a:pt x="184106" y="127487"/>
                  </a:lnTo>
                  <a:lnTo>
                    <a:pt x="211090" y="120657"/>
                  </a:lnTo>
                  <a:lnTo>
                    <a:pt x="224817" y="132071"/>
                  </a:lnTo>
                  <a:lnTo>
                    <a:pt x="235773" y="126076"/>
                  </a:lnTo>
                  <a:lnTo>
                    <a:pt x="252083" y="143040"/>
                  </a:lnTo>
                  <a:lnTo>
                    <a:pt x="268357" y="127691"/>
                  </a:lnTo>
                  <a:lnTo>
                    <a:pt x="260307" y="114514"/>
                  </a:lnTo>
                  <a:lnTo>
                    <a:pt x="261534" y="79454"/>
                  </a:lnTo>
                  <a:lnTo>
                    <a:pt x="243923" y="70360"/>
                  </a:lnTo>
                  <a:lnTo>
                    <a:pt x="279415" y="15386"/>
                  </a:lnTo>
                  <a:lnTo>
                    <a:pt x="375016" y="12082"/>
                  </a:lnTo>
                  <a:lnTo>
                    <a:pt x="379638" y="3693"/>
                  </a:lnTo>
                  <a:lnTo>
                    <a:pt x="406724" y="2784"/>
                  </a:lnTo>
                  <a:lnTo>
                    <a:pt x="446145" y="31385"/>
                  </a:lnTo>
                  <a:lnTo>
                    <a:pt x="589427" y="97884"/>
                  </a:lnTo>
                  <a:lnTo>
                    <a:pt x="626751" y="113215"/>
                  </a:lnTo>
                  <a:lnTo>
                    <a:pt x="673318" y="127914"/>
                  </a:lnTo>
                  <a:lnTo>
                    <a:pt x="717639" y="112361"/>
                  </a:lnTo>
                  <a:lnTo>
                    <a:pt x="724079" y="99425"/>
                  </a:lnTo>
                  <a:lnTo>
                    <a:pt x="762034" y="86581"/>
                  </a:lnTo>
                  <a:lnTo>
                    <a:pt x="761978" y="75538"/>
                  </a:lnTo>
                  <a:lnTo>
                    <a:pt x="786329" y="68263"/>
                  </a:lnTo>
                  <a:lnTo>
                    <a:pt x="796926" y="54658"/>
                  </a:lnTo>
                  <a:lnTo>
                    <a:pt x="818029" y="58964"/>
                  </a:lnTo>
                  <a:lnTo>
                    <a:pt x="807561" y="73385"/>
                  </a:lnTo>
                  <a:lnTo>
                    <a:pt x="806150" y="96567"/>
                  </a:lnTo>
                  <a:lnTo>
                    <a:pt x="825453" y="100297"/>
                  </a:lnTo>
                  <a:lnTo>
                    <a:pt x="822112" y="122086"/>
                  </a:lnTo>
                  <a:lnTo>
                    <a:pt x="812461" y="120230"/>
                  </a:lnTo>
                  <a:lnTo>
                    <a:pt x="817194" y="133927"/>
                  </a:lnTo>
                  <a:lnTo>
                    <a:pt x="782672" y="152190"/>
                  </a:lnTo>
                  <a:lnTo>
                    <a:pt x="776046" y="169395"/>
                  </a:lnTo>
                  <a:lnTo>
                    <a:pt x="714743" y="185097"/>
                  </a:lnTo>
                  <a:lnTo>
                    <a:pt x="684416" y="213735"/>
                  </a:lnTo>
                  <a:lnTo>
                    <a:pt x="681855" y="224351"/>
                  </a:lnTo>
                  <a:lnTo>
                    <a:pt x="652419" y="226485"/>
                  </a:lnTo>
                  <a:lnTo>
                    <a:pt x="618288" y="247216"/>
                  </a:lnTo>
                  <a:lnTo>
                    <a:pt x="618956" y="251355"/>
                  </a:lnTo>
                  <a:lnTo>
                    <a:pt x="587998" y="270750"/>
                  </a:lnTo>
                  <a:lnTo>
                    <a:pt x="575711" y="252283"/>
                  </a:lnTo>
                  <a:lnTo>
                    <a:pt x="551714" y="267168"/>
                  </a:lnTo>
                  <a:lnTo>
                    <a:pt x="534843" y="305568"/>
                  </a:lnTo>
                  <a:lnTo>
                    <a:pt x="541283" y="313902"/>
                  </a:lnTo>
                  <a:lnTo>
                    <a:pt x="526268" y="326485"/>
                  </a:lnTo>
                  <a:lnTo>
                    <a:pt x="500024" y="364681"/>
                  </a:lnTo>
                  <a:lnTo>
                    <a:pt x="488907" y="391110"/>
                  </a:lnTo>
                  <a:lnTo>
                    <a:pt x="489037" y="429362"/>
                  </a:lnTo>
                  <a:lnTo>
                    <a:pt x="469234" y="454622"/>
                  </a:lnTo>
                  <a:lnTo>
                    <a:pt x="469030" y="46401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0BC6B50-9CA6-4D90-BAF1-CEE9CD3D8148}"/>
                </a:ext>
              </a:extLst>
            </p:cNvPr>
            <p:cNvSpPr/>
            <p:nvPr/>
          </p:nvSpPr>
          <p:spPr>
            <a:xfrm>
              <a:off x="3352037" y="4722449"/>
              <a:ext cx="200446" cy="116927"/>
            </a:xfrm>
            <a:custGeom>
              <a:avLst/>
              <a:gdLst>
                <a:gd name="connsiteX0" fmla="*/ 182165 w 200446"/>
                <a:gd name="connsiteY0" fmla="*/ 114347 h 116926"/>
                <a:gd name="connsiteX1" fmla="*/ 160895 w 200446"/>
                <a:gd name="connsiteY1" fmla="*/ 114328 h 116926"/>
                <a:gd name="connsiteX2" fmla="*/ 179733 w 200446"/>
                <a:gd name="connsiteY2" fmla="*/ 88363 h 116926"/>
                <a:gd name="connsiteX3" fmla="*/ 197885 w 200446"/>
                <a:gd name="connsiteY3" fmla="*/ 100780 h 116926"/>
                <a:gd name="connsiteX4" fmla="*/ 182165 w 200446"/>
                <a:gd name="connsiteY4" fmla="*/ 114347 h 116926"/>
                <a:gd name="connsiteX5" fmla="*/ 35227 w 200446"/>
                <a:gd name="connsiteY5" fmla="*/ 19506 h 116926"/>
                <a:gd name="connsiteX6" fmla="*/ 42558 w 200446"/>
                <a:gd name="connsiteY6" fmla="*/ 17483 h 116926"/>
                <a:gd name="connsiteX7" fmla="*/ 45694 w 200446"/>
                <a:gd name="connsiteY7" fmla="*/ 42502 h 116926"/>
                <a:gd name="connsiteX8" fmla="*/ 38604 w 200446"/>
                <a:gd name="connsiteY8" fmla="*/ 30030 h 116926"/>
                <a:gd name="connsiteX9" fmla="*/ 7461 w 200446"/>
                <a:gd name="connsiteY9" fmla="*/ 37528 h 116926"/>
                <a:gd name="connsiteX10" fmla="*/ 2784 w 200446"/>
                <a:gd name="connsiteY10" fmla="*/ 34874 h 116926"/>
                <a:gd name="connsiteX11" fmla="*/ 10319 w 200446"/>
                <a:gd name="connsiteY11" fmla="*/ 7313 h 116926"/>
                <a:gd name="connsiteX12" fmla="*/ 33408 w 200446"/>
                <a:gd name="connsiteY12" fmla="*/ 2784 h 116926"/>
                <a:gd name="connsiteX13" fmla="*/ 35227 w 200446"/>
                <a:gd name="connsiteY13" fmla="*/ 19506 h 1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446" h="116926">
                  <a:moveTo>
                    <a:pt x="182165" y="114347"/>
                  </a:moveTo>
                  <a:lnTo>
                    <a:pt x="160895" y="114328"/>
                  </a:lnTo>
                  <a:lnTo>
                    <a:pt x="179733" y="88363"/>
                  </a:lnTo>
                  <a:lnTo>
                    <a:pt x="197885" y="100780"/>
                  </a:lnTo>
                  <a:lnTo>
                    <a:pt x="182165" y="114347"/>
                  </a:lnTo>
                  <a:close/>
                  <a:moveTo>
                    <a:pt x="35227" y="19506"/>
                  </a:moveTo>
                  <a:lnTo>
                    <a:pt x="42558" y="17483"/>
                  </a:lnTo>
                  <a:lnTo>
                    <a:pt x="45694" y="42502"/>
                  </a:lnTo>
                  <a:lnTo>
                    <a:pt x="38604" y="30030"/>
                  </a:lnTo>
                  <a:lnTo>
                    <a:pt x="7461" y="37528"/>
                  </a:lnTo>
                  <a:lnTo>
                    <a:pt x="2784" y="34874"/>
                  </a:lnTo>
                  <a:lnTo>
                    <a:pt x="10319" y="7313"/>
                  </a:lnTo>
                  <a:lnTo>
                    <a:pt x="33408" y="2784"/>
                  </a:lnTo>
                  <a:lnTo>
                    <a:pt x="35227" y="1950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Graphic 241">
              <a:extLst>
                <a:ext uri="{FF2B5EF4-FFF2-40B4-BE49-F238E27FC236}">
                  <a16:creationId xmlns:a16="http://schemas.microsoft.com/office/drawing/2014/main" id="{3F31957A-2536-46CD-AD15-AC4171643B7F}"/>
                </a:ext>
              </a:extLst>
            </p:cNvPr>
            <p:cNvSpPr/>
            <p:nvPr/>
          </p:nvSpPr>
          <p:spPr>
            <a:xfrm>
              <a:off x="612358" y="4844491"/>
              <a:ext cx="541970" cy="785646"/>
            </a:xfrm>
            <a:custGeom>
              <a:avLst/>
              <a:gdLst>
                <a:gd name="connsiteX0" fmla="*/ 3787494 w 3791494"/>
                <a:gd name="connsiteY0" fmla="*/ 3814935 h 5496197"/>
                <a:gd name="connsiteX1" fmla="*/ 3781983 w 3791494"/>
                <a:gd name="connsiteY1" fmla="*/ 3809424 h 5496197"/>
                <a:gd name="connsiteX2" fmla="*/ 3771038 w 3791494"/>
                <a:gd name="connsiteY2" fmla="*/ 3809424 h 5496197"/>
                <a:gd name="connsiteX3" fmla="*/ 3732614 w 3791494"/>
                <a:gd name="connsiteY3" fmla="*/ 3798478 h 5496197"/>
                <a:gd name="connsiteX4" fmla="*/ 3727141 w 3791494"/>
                <a:gd name="connsiteY4" fmla="*/ 3798478 h 5496197"/>
                <a:gd name="connsiteX5" fmla="*/ 3710685 w 3791494"/>
                <a:gd name="connsiteY5" fmla="*/ 3787495 h 5496197"/>
                <a:gd name="connsiteX6" fmla="*/ 3710685 w 3791494"/>
                <a:gd name="connsiteY6" fmla="*/ 3782022 h 5496197"/>
                <a:gd name="connsiteX7" fmla="*/ 3699702 w 3791494"/>
                <a:gd name="connsiteY7" fmla="*/ 3776511 h 5496197"/>
                <a:gd name="connsiteX8" fmla="*/ 3688718 w 3791494"/>
                <a:gd name="connsiteY8" fmla="*/ 3760055 h 5496197"/>
                <a:gd name="connsiteX9" fmla="*/ 3677773 w 3791494"/>
                <a:gd name="connsiteY9" fmla="*/ 3743599 h 5496197"/>
                <a:gd name="connsiteX10" fmla="*/ 3655805 w 3791494"/>
                <a:gd name="connsiteY10" fmla="*/ 3727143 h 5496197"/>
                <a:gd name="connsiteX11" fmla="*/ 3655805 w 3791494"/>
                <a:gd name="connsiteY11" fmla="*/ 3721670 h 5496197"/>
                <a:gd name="connsiteX12" fmla="*/ 3650333 w 3791494"/>
                <a:gd name="connsiteY12" fmla="*/ 3710686 h 5496197"/>
                <a:gd name="connsiteX13" fmla="*/ 3644822 w 3791494"/>
                <a:gd name="connsiteY13" fmla="*/ 3705214 h 5496197"/>
                <a:gd name="connsiteX14" fmla="*/ 3644822 w 3791494"/>
                <a:gd name="connsiteY14" fmla="*/ 3677774 h 5496197"/>
                <a:gd name="connsiteX15" fmla="*/ 3639350 w 3791494"/>
                <a:gd name="connsiteY15" fmla="*/ 3672263 h 5496197"/>
                <a:gd name="connsiteX16" fmla="*/ 3633877 w 3791494"/>
                <a:gd name="connsiteY16" fmla="*/ 3661318 h 5496197"/>
                <a:gd name="connsiteX17" fmla="*/ 3551558 w 3791494"/>
                <a:gd name="connsiteY17" fmla="*/ 3578999 h 5496197"/>
                <a:gd name="connsiteX18" fmla="*/ 3535102 w 3791494"/>
                <a:gd name="connsiteY18" fmla="*/ 3573526 h 5496197"/>
                <a:gd name="connsiteX19" fmla="*/ 3524157 w 3791494"/>
                <a:gd name="connsiteY19" fmla="*/ 3568054 h 5496197"/>
                <a:gd name="connsiteX20" fmla="*/ 3507662 w 3791494"/>
                <a:gd name="connsiteY20" fmla="*/ 3573526 h 5496197"/>
                <a:gd name="connsiteX21" fmla="*/ 3507662 w 3791494"/>
                <a:gd name="connsiteY21" fmla="*/ 3568054 h 5496197"/>
                <a:gd name="connsiteX22" fmla="*/ 3502190 w 3791494"/>
                <a:gd name="connsiteY22" fmla="*/ 3568054 h 5496197"/>
                <a:gd name="connsiteX23" fmla="*/ 3491206 w 3791494"/>
                <a:gd name="connsiteY23" fmla="*/ 3562543 h 5496197"/>
                <a:gd name="connsiteX24" fmla="*/ 3491206 w 3791494"/>
                <a:gd name="connsiteY24" fmla="*/ 3557071 h 5496197"/>
                <a:gd name="connsiteX25" fmla="*/ 3480261 w 3791494"/>
                <a:gd name="connsiteY25" fmla="*/ 3540614 h 5496197"/>
                <a:gd name="connsiteX26" fmla="*/ 3474750 w 3791494"/>
                <a:gd name="connsiteY26" fmla="*/ 3535103 h 5496197"/>
                <a:gd name="connsiteX27" fmla="*/ 3463805 w 3791494"/>
                <a:gd name="connsiteY27" fmla="*/ 3529631 h 5496197"/>
                <a:gd name="connsiteX28" fmla="*/ 3436365 w 3791494"/>
                <a:gd name="connsiteY28" fmla="*/ 3529631 h 5496197"/>
                <a:gd name="connsiteX29" fmla="*/ 3430854 w 3791494"/>
                <a:gd name="connsiteY29" fmla="*/ 3524158 h 5496197"/>
                <a:gd name="connsiteX30" fmla="*/ 3425381 w 3791494"/>
                <a:gd name="connsiteY30" fmla="*/ 3518647 h 5496197"/>
                <a:gd name="connsiteX31" fmla="*/ 3414398 w 3791494"/>
                <a:gd name="connsiteY31" fmla="*/ 3507702 h 5496197"/>
                <a:gd name="connsiteX32" fmla="*/ 3408925 w 3791494"/>
                <a:gd name="connsiteY32" fmla="*/ 3496718 h 5496197"/>
                <a:gd name="connsiteX33" fmla="*/ 3386996 w 3791494"/>
                <a:gd name="connsiteY33" fmla="*/ 3485735 h 5496197"/>
                <a:gd name="connsiteX34" fmla="*/ 3381485 w 3791494"/>
                <a:gd name="connsiteY34" fmla="*/ 3485735 h 5496197"/>
                <a:gd name="connsiteX35" fmla="*/ 3365029 w 3791494"/>
                <a:gd name="connsiteY35" fmla="*/ 3469278 h 5496197"/>
                <a:gd name="connsiteX36" fmla="*/ 3359556 w 3791494"/>
                <a:gd name="connsiteY36" fmla="*/ 3447350 h 5496197"/>
                <a:gd name="connsiteX37" fmla="*/ 3343100 w 3791494"/>
                <a:gd name="connsiteY37" fmla="*/ 3386997 h 5496197"/>
                <a:gd name="connsiteX38" fmla="*/ 3337589 w 3791494"/>
                <a:gd name="connsiteY38" fmla="*/ 3376014 h 5496197"/>
                <a:gd name="connsiteX39" fmla="*/ 3332117 w 3791494"/>
                <a:gd name="connsiteY39" fmla="*/ 3365030 h 5496197"/>
                <a:gd name="connsiteX40" fmla="*/ 3332117 w 3791494"/>
                <a:gd name="connsiteY40" fmla="*/ 3326645 h 5496197"/>
                <a:gd name="connsiteX41" fmla="*/ 3326644 w 3791494"/>
                <a:gd name="connsiteY41" fmla="*/ 3321134 h 5496197"/>
                <a:gd name="connsiteX42" fmla="*/ 3332117 w 3791494"/>
                <a:gd name="connsiteY42" fmla="*/ 3315661 h 5496197"/>
                <a:gd name="connsiteX43" fmla="*/ 3326644 w 3791494"/>
                <a:gd name="connsiteY43" fmla="*/ 3299205 h 5496197"/>
                <a:gd name="connsiteX44" fmla="*/ 3326644 w 3791494"/>
                <a:gd name="connsiteY44" fmla="*/ 3266293 h 5496197"/>
                <a:gd name="connsiteX45" fmla="*/ 3321133 w 3791494"/>
                <a:gd name="connsiteY45" fmla="*/ 3249836 h 5496197"/>
                <a:gd name="connsiteX46" fmla="*/ 3315661 w 3791494"/>
                <a:gd name="connsiteY46" fmla="*/ 3249836 h 5496197"/>
                <a:gd name="connsiteX47" fmla="*/ 3310188 w 3791494"/>
                <a:gd name="connsiteY47" fmla="*/ 3244325 h 5496197"/>
                <a:gd name="connsiteX48" fmla="*/ 3293694 w 3791494"/>
                <a:gd name="connsiteY48" fmla="*/ 3238853 h 5496197"/>
                <a:gd name="connsiteX49" fmla="*/ 3282748 w 3791494"/>
                <a:gd name="connsiteY49" fmla="*/ 3227869 h 5496197"/>
                <a:gd name="connsiteX50" fmla="*/ 3277237 w 3791494"/>
                <a:gd name="connsiteY50" fmla="*/ 3227869 h 5496197"/>
                <a:gd name="connsiteX51" fmla="*/ 3260781 w 3791494"/>
                <a:gd name="connsiteY51" fmla="*/ 3211413 h 5496197"/>
                <a:gd name="connsiteX52" fmla="*/ 3260781 w 3791494"/>
                <a:gd name="connsiteY52" fmla="*/ 3205940 h 5496197"/>
                <a:gd name="connsiteX53" fmla="*/ 3255308 w 3791494"/>
                <a:gd name="connsiteY53" fmla="*/ 3189484 h 5496197"/>
                <a:gd name="connsiteX54" fmla="*/ 3249836 w 3791494"/>
                <a:gd name="connsiteY54" fmla="*/ 3183973 h 5496197"/>
                <a:gd name="connsiteX55" fmla="*/ 3249836 w 3791494"/>
                <a:gd name="connsiteY55" fmla="*/ 3173028 h 5496197"/>
                <a:gd name="connsiteX56" fmla="*/ 3244325 w 3791494"/>
                <a:gd name="connsiteY56" fmla="*/ 3156572 h 5496197"/>
                <a:gd name="connsiteX57" fmla="*/ 3244325 w 3791494"/>
                <a:gd name="connsiteY57" fmla="*/ 3145588 h 5496197"/>
                <a:gd name="connsiteX58" fmla="*/ 3249836 w 3791494"/>
                <a:gd name="connsiteY58" fmla="*/ 3123621 h 5496197"/>
                <a:gd name="connsiteX59" fmla="*/ 3244325 w 3791494"/>
                <a:gd name="connsiteY59" fmla="*/ 3112676 h 5496197"/>
                <a:gd name="connsiteX60" fmla="*/ 3222396 w 3791494"/>
                <a:gd name="connsiteY60" fmla="*/ 3085236 h 5496197"/>
                <a:gd name="connsiteX61" fmla="*/ 3211413 w 3791494"/>
                <a:gd name="connsiteY61" fmla="*/ 3052323 h 5496197"/>
                <a:gd name="connsiteX62" fmla="*/ 3216885 w 3791494"/>
                <a:gd name="connsiteY62" fmla="*/ 3035867 h 5496197"/>
                <a:gd name="connsiteX63" fmla="*/ 3216885 w 3791494"/>
                <a:gd name="connsiteY63" fmla="*/ 3024883 h 5496197"/>
                <a:gd name="connsiteX64" fmla="*/ 3222396 w 3791494"/>
                <a:gd name="connsiteY64" fmla="*/ 3019411 h 5496197"/>
                <a:gd name="connsiteX65" fmla="*/ 3227868 w 3791494"/>
                <a:gd name="connsiteY65" fmla="*/ 2997443 h 5496197"/>
                <a:gd name="connsiteX66" fmla="*/ 3238852 w 3791494"/>
                <a:gd name="connsiteY66" fmla="*/ 2959058 h 5496197"/>
                <a:gd name="connsiteX67" fmla="*/ 3238852 w 3791494"/>
                <a:gd name="connsiteY67" fmla="*/ 2915162 h 5496197"/>
                <a:gd name="connsiteX68" fmla="*/ 3249836 w 3791494"/>
                <a:gd name="connsiteY68" fmla="*/ 2898706 h 5496197"/>
                <a:gd name="connsiteX69" fmla="*/ 3255308 w 3791494"/>
                <a:gd name="connsiteY69" fmla="*/ 2893195 h 5496197"/>
                <a:gd name="connsiteX70" fmla="*/ 3255308 w 3791494"/>
                <a:gd name="connsiteY70" fmla="*/ 2816387 h 5496197"/>
                <a:gd name="connsiteX71" fmla="*/ 3266292 w 3791494"/>
                <a:gd name="connsiteY71" fmla="*/ 2799931 h 5496197"/>
                <a:gd name="connsiteX72" fmla="*/ 3288221 w 3791494"/>
                <a:gd name="connsiteY72" fmla="*/ 2794459 h 5496197"/>
                <a:gd name="connsiteX73" fmla="*/ 3299204 w 3791494"/>
                <a:gd name="connsiteY73" fmla="*/ 2788986 h 5496197"/>
                <a:gd name="connsiteX74" fmla="*/ 3332117 w 3791494"/>
                <a:gd name="connsiteY74" fmla="*/ 2783475 h 5496197"/>
                <a:gd name="connsiteX75" fmla="*/ 3354046 w 3791494"/>
                <a:gd name="connsiteY75" fmla="*/ 2783475 h 5496197"/>
                <a:gd name="connsiteX76" fmla="*/ 3359557 w 3791494"/>
                <a:gd name="connsiteY76" fmla="*/ 2778002 h 5496197"/>
                <a:gd name="connsiteX77" fmla="*/ 3359557 w 3791494"/>
                <a:gd name="connsiteY77" fmla="*/ 2772492 h 5496197"/>
                <a:gd name="connsiteX78" fmla="*/ 3365029 w 3791494"/>
                <a:gd name="connsiteY78" fmla="*/ 2756035 h 5496197"/>
                <a:gd name="connsiteX79" fmla="*/ 3370502 w 3791494"/>
                <a:gd name="connsiteY79" fmla="*/ 2750563 h 5496197"/>
                <a:gd name="connsiteX80" fmla="*/ 3381485 w 3791494"/>
                <a:gd name="connsiteY80" fmla="*/ 2734107 h 5496197"/>
                <a:gd name="connsiteX81" fmla="*/ 3397942 w 3791494"/>
                <a:gd name="connsiteY81" fmla="*/ 2728634 h 5496197"/>
                <a:gd name="connsiteX82" fmla="*/ 3430854 w 3791494"/>
                <a:gd name="connsiteY82" fmla="*/ 2728634 h 5496197"/>
                <a:gd name="connsiteX83" fmla="*/ 3436365 w 3791494"/>
                <a:gd name="connsiteY83" fmla="*/ 2723123 h 5496197"/>
                <a:gd name="connsiteX84" fmla="*/ 3447349 w 3791494"/>
                <a:gd name="connsiteY84" fmla="*/ 2706667 h 5496197"/>
                <a:gd name="connsiteX85" fmla="*/ 3447349 w 3791494"/>
                <a:gd name="connsiteY85" fmla="*/ 2701194 h 5496197"/>
                <a:gd name="connsiteX86" fmla="*/ 3441838 w 3791494"/>
                <a:gd name="connsiteY86" fmla="*/ 2679227 h 5496197"/>
                <a:gd name="connsiteX87" fmla="*/ 3436365 w 3791494"/>
                <a:gd name="connsiteY87" fmla="*/ 2673754 h 5496197"/>
                <a:gd name="connsiteX88" fmla="*/ 3436365 w 3791494"/>
                <a:gd name="connsiteY88" fmla="*/ 2646314 h 5496197"/>
                <a:gd name="connsiteX89" fmla="*/ 3447349 w 3791494"/>
                <a:gd name="connsiteY89" fmla="*/ 2607929 h 5496197"/>
                <a:gd name="connsiteX90" fmla="*/ 3447349 w 3791494"/>
                <a:gd name="connsiteY90" fmla="*/ 2602418 h 5496197"/>
                <a:gd name="connsiteX91" fmla="*/ 3441838 w 3791494"/>
                <a:gd name="connsiteY91" fmla="*/ 2596946 h 5496197"/>
                <a:gd name="connsiteX92" fmla="*/ 3447349 w 3791494"/>
                <a:gd name="connsiteY92" fmla="*/ 2591473 h 5496197"/>
                <a:gd name="connsiteX93" fmla="*/ 3447349 w 3791494"/>
                <a:gd name="connsiteY93" fmla="*/ 2585963 h 5496197"/>
                <a:gd name="connsiteX94" fmla="*/ 3452821 w 3791494"/>
                <a:gd name="connsiteY94" fmla="*/ 2585963 h 5496197"/>
                <a:gd name="connsiteX95" fmla="*/ 3463805 w 3791494"/>
                <a:gd name="connsiteY95" fmla="*/ 2569506 h 5496197"/>
                <a:gd name="connsiteX96" fmla="*/ 3474750 w 3791494"/>
                <a:gd name="connsiteY96" fmla="*/ 2553050 h 5496197"/>
                <a:gd name="connsiteX97" fmla="*/ 3474750 w 3791494"/>
                <a:gd name="connsiteY97" fmla="*/ 2547577 h 5496197"/>
                <a:gd name="connsiteX98" fmla="*/ 3485734 w 3791494"/>
                <a:gd name="connsiteY98" fmla="*/ 2536594 h 5496197"/>
                <a:gd name="connsiteX99" fmla="*/ 3502190 w 3791494"/>
                <a:gd name="connsiteY99" fmla="*/ 2531121 h 5496197"/>
                <a:gd name="connsiteX100" fmla="*/ 3524158 w 3791494"/>
                <a:gd name="connsiteY100" fmla="*/ 2520138 h 5496197"/>
                <a:gd name="connsiteX101" fmla="*/ 3518647 w 3791494"/>
                <a:gd name="connsiteY101" fmla="*/ 2503681 h 5496197"/>
                <a:gd name="connsiteX102" fmla="*/ 3518647 w 3791494"/>
                <a:gd name="connsiteY102" fmla="*/ 2476241 h 5496197"/>
                <a:gd name="connsiteX103" fmla="*/ 3524158 w 3791494"/>
                <a:gd name="connsiteY103" fmla="*/ 2437818 h 5496197"/>
                <a:gd name="connsiteX104" fmla="*/ 3513174 w 3791494"/>
                <a:gd name="connsiteY104" fmla="*/ 2421362 h 5496197"/>
                <a:gd name="connsiteX105" fmla="*/ 3507663 w 3791494"/>
                <a:gd name="connsiteY105" fmla="*/ 2421362 h 5496197"/>
                <a:gd name="connsiteX106" fmla="*/ 3496717 w 3791494"/>
                <a:gd name="connsiteY106" fmla="*/ 2415889 h 5496197"/>
                <a:gd name="connsiteX107" fmla="*/ 3474750 w 3791494"/>
                <a:gd name="connsiteY107" fmla="*/ 2410417 h 5496197"/>
                <a:gd name="connsiteX108" fmla="*/ 3458294 w 3791494"/>
                <a:gd name="connsiteY108" fmla="*/ 2410417 h 5496197"/>
                <a:gd name="connsiteX109" fmla="*/ 3430854 w 3791494"/>
                <a:gd name="connsiteY109" fmla="*/ 2399433 h 5496197"/>
                <a:gd name="connsiteX110" fmla="*/ 3425382 w 3791494"/>
                <a:gd name="connsiteY110" fmla="*/ 2393960 h 5496197"/>
                <a:gd name="connsiteX111" fmla="*/ 3392469 w 3791494"/>
                <a:gd name="connsiteY111" fmla="*/ 2366521 h 5496197"/>
                <a:gd name="connsiteX112" fmla="*/ 3370502 w 3791494"/>
                <a:gd name="connsiteY112" fmla="*/ 2333608 h 5496197"/>
                <a:gd name="connsiteX113" fmla="*/ 3354046 w 3791494"/>
                <a:gd name="connsiteY113" fmla="*/ 2295185 h 5496197"/>
                <a:gd name="connsiteX114" fmla="*/ 3354046 w 3791494"/>
                <a:gd name="connsiteY114" fmla="*/ 2256800 h 5496197"/>
                <a:gd name="connsiteX115" fmla="*/ 3348573 w 3791494"/>
                <a:gd name="connsiteY115" fmla="*/ 2251289 h 5496197"/>
                <a:gd name="connsiteX116" fmla="*/ 3348573 w 3791494"/>
                <a:gd name="connsiteY116" fmla="*/ 2245816 h 5496197"/>
                <a:gd name="connsiteX117" fmla="*/ 3332117 w 3791494"/>
                <a:gd name="connsiteY117" fmla="*/ 2229360 h 5496197"/>
                <a:gd name="connsiteX118" fmla="*/ 3326644 w 3791494"/>
                <a:gd name="connsiteY118" fmla="*/ 2223849 h 5496197"/>
                <a:gd name="connsiteX119" fmla="*/ 3326644 w 3791494"/>
                <a:gd name="connsiteY119" fmla="*/ 2201920 h 5496197"/>
                <a:gd name="connsiteX120" fmla="*/ 3332117 w 3791494"/>
                <a:gd name="connsiteY120" fmla="*/ 2185464 h 5496197"/>
                <a:gd name="connsiteX121" fmla="*/ 3332117 w 3791494"/>
                <a:gd name="connsiteY121" fmla="*/ 2174480 h 5496197"/>
                <a:gd name="connsiteX122" fmla="*/ 3337589 w 3791494"/>
                <a:gd name="connsiteY122" fmla="*/ 2169008 h 5496197"/>
                <a:gd name="connsiteX123" fmla="*/ 3343100 w 3791494"/>
                <a:gd name="connsiteY123" fmla="*/ 2169008 h 5496197"/>
                <a:gd name="connsiteX124" fmla="*/ 3348573 w 3791494"/>
                <a:gd name="connsiteY124" fmla="*/ 2163497 h 5496197"/>
                <a:gd name="connsiteX125" fmla="*/ 3381485 w 3791494"/>
                <a:gd name="connsiteY125" fmla="*/ 2163497 h 5496197"/>
                <a:gd name="connsiteX126" fmla="*/ 3392469 w 3791494"/>
                <a:gd name="connsiteY126" fmla="*/ 2158024 h 5496197"/>
                <a:gd name="connsiteX127" fmla="*/ 3403453 w 3791494"/>
                <a:gd name="connsiteY127" fmla="*/ 2147041 h 5496197"/>
                <a:gd name="connsiteX128" fmla="*/ 3403453 w 3791494"/>
                <a:gd name="connsiteY128" fmla="*/ 2119639 h 5496197"/>
                <a:gd name="connsiteX129" fmla="*/ 3408925 w 3791494"/>
                <a:gd name="connsiteY129" fmla="*/ 2103183 h 5496197"/>
                <a:gd name="connsiteX130" fmla="*/ 3425382 w 3791494"/>
                <a:gd name="connsiteY130" fmla="*/ 2086688 h 5496197"/>
                <a:gd name="connsiteX131" fmla="*/ 3441838 w 3791494"/>
                <a:gd name="connsiteY131" fmla="*/ 2081215 h 5496197"/>
                <a:gd name="connsiteX132" fmla="*/ 3458294 w 3791494"/>
                <a:gd name="connsiteY132" fmla="*/ 2081215 h 5496197"/>
                <a:gd name="connsiteX133" fmla="*/ 3469278 w 3791494"/>
                <a:gd name="connsiteY133" fmla="*/ 2086688 h 5496197"/>
                <a:gd name="connsiteX134" fmla="*/ 3480261 w 3791494"/>
                <a:gd name="connsiteY134" fmla="*/ 2092199 h 5496197"/>
                <a:gd name="connsiteX135" fmla="*/ 3496717 w 3791494"/>
                <a:gd name="connsiteY135" fmla="*/ 2097672 h 5496197"/>
                <a:gd name="connsiteX136" fmla="*/ 3513173 w 3791494"/>
                <a:gd name="connsiteY136" fmla="*/ 2114128 h 5496197"/>
                <a:gd name="connsiteX137" fmla="*/ 3535103 w 3791494"/>
                <a:gd name="connsiteY137" fmla="*/ 2119639 h 5496197"/>
                <a:gd name="connsiteX138" fmla="*/ 3551559 w 3791494"/>
                <a:gd name="connsiteY138" fmla="*/ 2114128 h 5496197"/>
                <a:gd name="connsiteX139" fmla="*/ 3573526 w 3791494"/>
                <a:gd name="connsiteY139" fmla="*/ 2108655 h 5496197"/>
                <a:gd name="connsiteX140" fmla="*/ 3578999 w 3791494"/>
                <a:gd name="connsiteY140" fmla="*/ 2097672 h 5496197"/>
                <a:gd name="connsiteX141" fmla="*/ 3589982 w 3791494"/>
                <a:gd name="connsiteY141" fmla="*/ 2086688 h 5496197"/>
                <a:gd name="connsiteX142" fmla="*/ 3589982 w 3791494"/>
                <a:gd name="connsiteY142" fmla="*/ 2075743 h 5496197"/>
                <a:gd name="connsiteX143" fmla="*/ 3595455 w 3791494"/>
                <a:gd name="connsiteY143" fmla="*/ 2064759 h 5496197"/>
                <a:gd name="connsiteX144" fmla="*/ 3557070 w 3791494"/>
                <a:gd name="connsiteY144" fmla="*/ 2026336 h 5496197"/>
                <a:gd name="connsiteX145" fmla="*/ 3546086 w 3791494"/>
                <a:gd name="connsiteY145" fmla="*/ 2015390 h 5496197"/>
                <a:gd name="connsiteX146" fmla="*/ 3535102 w 3791494"/>
                <a:gd name="connsiteY146" fmla="*/ 2004407 h 5496197"/>
                <a:gd name="connsiteX147" fmla="*/ 3463806 w 3791494"/>
                <a:gd name="connsiteY147" fmla="*/ 1998934 h 5496197"/>
                <a:gd name="connsiteX148" fmla="*/ 3447349 w 3791494"/>
                <a:gd name="connsiteY148" fmla="*/ 1987951 h 5496197"/>
                <a:gd name="connsiteX149" fmla="*/ 3430855 w 3791494"/>
                <a:gd name="connsiteY149" fmla="*/ 1982478 h 5496197"/>
                <a:gd name="connsiteX150" fmla="*/ 3408926 w 3791494"/>
                <a:gd name="connsiteY150" fmla="*/ 1960511 h 5496197"/>
                <a:gd name="connsiteX151" fmla="*/ 3397942 w 3791494"/>
                <a:gd name="connsiteY151" fmla="*/ 1955038 h 5496197"/>
                <a:gd name="connsiteX152" fmla="*/ 3337590 w 3791494"/>
                <a:gd name="connsiteY152" fmla="*/ 1883703 h 5496197"/>
                <a:gd name="connsiteX153" fmla="*/ 3326645 w 3791494"/>
                <a:gd name="connsiteY153" fmla="*/ 1878231 h 5496197"/>
                <a:gd name="connsiteX154" fmla="*/ 3315661 w 3791494"/>
                <a:gd name="connsiteY154" fmla="*/ 1872720 h 5496197"/>
                <a:gd name="connsiteX155" fmla="*/ 3282749 w 3791494"/>
                <a:gd name="connsiteY155" fmla="*/ 1872720 h 5496197"/>
                <a:gd name="connsiteX156" fmla="*/ 3277238 w 3791494"/>
                <a:gd name="connsiteY156" fmla="*/ 1878231 h 5496197"/>
                <a:gd name="connsiteX157" fmla="*/ 3244325 w 3791494"/>
                <a:gd name="connsiteY157" fmla="*/ 1916616 h 5496197"/>
                <a:gd name="connsiteX158" fmla="*/ 3227869 w 3791494"/>
                <a:gd name="connsiteY158" fmla="*/ 1927599 h 5496197"/>
                <a:gd name="connsiteX159" fmla="*/ 3205940 w 3791494"/>
                <a:gd name="connsiteY159" fmla="*/ 1933072 h 5496197"/>
                <a:gd name="connsiteX160" fmla="*/ 3189484 w 3791494"/>
                <a:gd name="connsiteY160" fmla="*/ 1933072 h 5496197"/>
                <a:gd name="connsiteX161" fmla="*/ 3173027 w 3791494"/>
                <a:gd name="connsiteY161" fmla="*/ 1944056 h 5496197"/>
                <a:gd name="connsiteX162" fmla="*/ 3167516 w 3791494"/>
                <a:gd name="connsiteY162" fmla="*/ 1966023 h 5496197"/>
                <a:gd name="connsiteX163" fmla="*/ 3118148 w 3791494"/>
                <a:gd name="connsiteY163" fmla="*/ 2053776 h 5496197"/>
                <a:gd name="connsiteX164" fmla="*/ 3063268 w 3791494"/>
                <a:gd name="connsiteY164" fmla="*/ 2152551 h 5496197"/>
                <a:gd name="connsiteX165" fmla="*/ 3052323 w 3791494"/>
                <a:gd name="connsiteY165" fmla="*/ 2163496 h 5496197"/>
                <a:gd name="connsiteX166" fmla="*/ 3035866 w 3791494"/>
                <a:gd name="connsiteY166" fmla="*/ 2169007 h 5496197"/>
                <a:gd name="connsiteX167" fmla="*/ 3008426 w 3791494"/>
                <a:gd name="connsiteY167" fmla="*/ 2169007 h 5496197"/>
                <a:gd name="connsiteX168" fmla="*/ 2986459 w 3791494"/>
                <a:gd name="connsiteY168" fmla="*/ 2158023 h 5496197"/>
                <a:gd name="connsiteX169" fmla="*/ 2970003 w 3791494"/>
                <a:gd name="connsiteY169" fmla="*/ 2147040 h 5496197"/>
                <a:gd name="connsiteX170" fmla="*/ 2964531 w 3791494"/>
                <a:gd name="connsiteY170" fmla="*/ 2108655 h 5496197"/>
                <a:gd name="connsiteX171" fmla="*/ 2959020 w 3791494"/>
                <a:gd name="connsiteY171" fmla="*/ 2108655 h 5496197"/>
                <a:gd name="connsiteX172" fmla="*/ 2953547 w 3791494"/>
                <a:gd name="connsiteY172" fmla="*/ 2097671 h 5496197"/>
                <a:gd name="connsiteX173" fmla="*/ 2942564 w 3791494"/>
                <a:gd name="connsiteY173" fmla="*/ 2092198 h 5496197"/>
                <a:gd name="connsiteX174" fmla="*/ 2937091 w 3791494"/>
                <a:gd name="connsiteY174" fmla="*/ 2086687 h 5496197"/>
                <a:gd name="connsiteX175" fmla="*/ 2931618 w 3791494"/>
                <a:gd name="connsiteY175" fmla="*/ 2086687 h 5496197"/>
                <a:gd name="connsiteX176" fmla="*/ 2931618 w 3791494"/>
                <a:gd name="connsiteY176" fmla="*/ 2081215 h 5496197"/>
                <a:gd name="connsiteX177" fmla="*/ 2926108 w 3791494"/>
                <a:gd name="connsiteY177" fmla="*/ 2075742 h 5496197"/>
                <a:gd name="connsiteX178" fmla="*/ 2926108 w 3791494"/>
                <a:gd name="connsiteY178" fmla="*/ 2059286 h 5496197"/>
                <a:gd name="connsiteX179" fmla="*/ 2920635 w 3791494"/>
                <a:gd name="connsiteY179" fmla="*/ 2042830 h 5496197"/>
                <a:gd name="connsiteX180" fmla="*/ 2915162 w 3791494"/>
                <a:gd name="connsiteY180" fmla="*/ 2026335 h 5496197"/>
                <a:gd name="connsiteX181" fmla="*/ 2898706 w 3791494"/>
                <a:gd name="connsiteY181" fmla="*/ 1982477 h 5496197"/>
                <a:gd name="connsiteX182" fmla="*/ 2887723 w 3791494"/>
                <a:gd name="connsiteY182" fmla="*/ 1971494 h 5496197"/>
                <a:gd name="connsiteX183" fmla="*/ 2860283 w 3791494"/>
                <a:gd name="connsiteY183" fmla="*/ 1966021 h 5496197"/>
                <a:gd name="connsiteX184" fmla="*/ 2821859 w 3791494"/>
                <a:gd name="connsiteY184" fmla="*/ 1944054 h 5496197"/>
                <a:gd name="connsiteX185" fmla="*/ 2778001 w 3791494"/>
                <a:gd name="connsiteY185" fmla="*/ 1922125 h 5496197"/>
                <a:gd name="connsiteX186" fmla="*/ 2745051 w 3791494"/>
                <a:gd name="connsiteY186" fmla="*/ 1922125 h 5496197"/>
                <a:gd name="connsiteX187" fmla="*/ 2712138 w 3791494"/>
                <a:gd name="connsiteY187" fmla="*/ 1938581 h 5496197"/>
                <a:gd name="connsiteX188" fmla="*/ 2706666 w 3791494"/>
                <a:gd name="connsiteY188" fmla="*/ 1938581 h 5496197"/>
                <a:gd name="connsiteX189" fmla="*/ 2668242 w 3791494"/>
                <a:gd name="connsiteY189" fmla="*/ 1949527 h 5496197"/>
                <a:gd name="connsiteX190" fmla="*/ 2624384 w 3791494"/>
                <a:gd name="connsiteY190" fmla="*/ 1949527 h 5496197"/>
                <a:gd name="connsiteX191" fmla="*/ 2580488 w 3791494"/>
                <a:gd name="connsiteY191" fmla="*/ 1933070 h 5496197"/>
                <a:gd name="connsiteX192" fmla="*/ 2547537 w 3791494"/>
                <a:gd name="connsiteY192" fmla="*/ 1900158 h 5496197"/>
                <a:gd name="connsiteX193" fmla="*/ 2536592 w 3791494"/>
                <a:gd name="connsiteY193" fmla="*/ 1872718 h 5496197"/>
                <a:gd name="connsiteX194" fmla="*/ 2531081 w 3791494"/>
                <a:gd name="connsiteY194" fmla="*/ 1850789 h 5496197"/>
                <a:gd name="connsiteX195" fmla="*/ 2525609 w 3791494"/>
                <a:gd name="connsiteY195" fmla="*/ 1828860 h 5496197"/>
                <a:gd name="connsiteX196" fmla="*/ 2509152 w 3791494"/>
                <a:gd name="connsiteY196" fmla="*/ 1817877 h 5496197"/>
                <a:gd name="connsiteX197" fmla="*/ 2503680 w 3791494"/>
                <a:gd name="connsiteY197" fmla="*/ 1812366 h 5496197"/>
                <a:gd name="connsiteX198" fmla="*/ 2492696 w 3791494"/>
                <a:gd name="connsiteY198" fmla="*/ 1812366 h 5496197"/>
                <a:gd name="connsiteX199" fmla="*/ 2432344 w 3791494"/>
                <a:gd name="connsiteY199" fmla="*/ 1817877 h 5496197"/>
                <a:gd name="connsiteX200" fmla="*/ 2355536 w 3791494"/>
                <a:gd name="connsiteY200" fmla="*/ 1806893 h 5496197"/>
                <a:gd name="connsiteX201" fmla="*/ 2339080 w 3791494"/>
                <a:gd name="connsiteY201" fmla="*/ 1801421 h 5496197"/>
                <a:gd name="connsiteX202" fmla="*/ 2328096 w 3791494"/>
                <a:gd name="connsiteY202" fmla="*/ 1773981 h 5496197"/>
                <a:gd name="connsiteX203" fmla="*/ 2328096 w 3791494"/>
                <a:gd name="connsiteY203" fmla="*/ 1768508 h 5496197"/>
                <a:gd name="connsiteX204" fmla="*/ 2322624 w 3791494"/>
                <a:gd name="connsiteY204" fmla="*/ 1762997 h 5496197"/>
                <a:gd name="connsiteX205" fmla="*/ 2311640 w 3791494"/>
                <a:gd name="connsiteY205" fmla="*/ 1752014 h 5496197"/>
                <a:gd name="connsiteX206" fmla="*/ 2300656 w 3791494"/>
                <a:gd name="connsiteY206" fmla="*/ 1752014 h 5496197"/>
                <a:gd name="connsiteX207" fmla="*/ 2289711 w 3791494"/>
                <a:gd name="connsiteY207" fmla="*/ 1746541 h 5496197"/>
                <a:gd name="connsiteX208" fmla="*/ 2295184 w 3791494"/>
                <a:gd name="connsiteY208" fmla="*/ 1730085 h 5496197"/>
                <a:gd name="connsiteX209" fmla="*/ 2306167 w 3791494"/>
                <a:gd name="connsiteY209" fmla="*/ 1719101 h 5496197"/>
                <a:gd name="connsiteX210" fmla="*/ 2311640 w 3791494"/>
                <a:gd name="connsiteY210" fmla="*/ 1708156 h 5496197"/>
                <a:gd name="connsiteX211" fmla="*/ 2317113 w 3791494"/>
                <a:gd name="connsiteY211" fmla="*/ 1708156 h 5496197"/>
                <a:gd name="connsiteX212" fmla="*/ 2339080 w 3791494"/>
                <a:gd name="connsiteY212" fmla="*/ 1697172 h 5496197"/>
                <a:gd name="connsiteX213" fmla="*/ 2393921 w 3791494"/>
                <a:gd name="connsiteY213" fmla="*/ 1702645 h 5496197"/>
                <a:gd name="connsiteX214" fmla="*/ 2415888 w 3791494"/>
                <a:gd name="connsiteY214" fmla="*/ 1697172 h 5496197"/>
                <a:gd name="connsiteX215" fmla="*/ 2454274 w 3791494"/>
                <a:gd name="connsiteY215" fmla="*/ 1686189 h 5496197"/>
                <a:gd name="connsiteX216" fmla="*/ 2465257 w 3791494"/>
                <a:gd name="connsiteY216" fmla="*/ 1675205 h 5496197"/>
                <a:gd name="connsiteX217" fmla="*/ 2470730 w 3791494"/>
                <a:gd name="connsiteY217" fmla="*/ 1653276 h 5496197"/>
                <a:gd name="connsiteX218" fmla="*/ 2459784 w 3791494"/>
                <a:gd name="connsiteY218" fmla="*/ 1631347 h 5496197"/>
                <a:gd name="connsiteX219" fmla="*/ 2448801 w 3791494"/>
                <a:gd name="connsiteY219" fmla="*/ 1620364 h 5496197"/>
                <a:gd name="connsiteX220" fmla="*/ 2415888 w 3791494"/>
                <a:gd name="connsiteY220" fmla="*/ 1603907 h 5496197"/>
                <a:gd name="connsiteX221" fmla="*/ 2404904 w 3791494"/>
                <a:gd name="connsiteY221" fmla="*/ 1598396 h 5496197"/>
                <a:gd name="connsiteX222" fmla="*/ 2393921 w 3791494"/>
                <a:gd name="connsiteY222" fmla="*/ 1598396 h 5496197"/>
                <a:gd name="connsiteX223" fmla="*/ 2377465 w 3791494"/>
                <a:gd name="connsiteY223" fmla="*/ 1592924 h 5496197"/>
                <a:gd name="connsiteX224" fmla="*/ 2350063 w 3791494"/>
                <a:gd name="connsiteY224" fmla="*/ 1587451 h 5496197"/>
                <a:gd name="connsiteX225" fmla="*/ 2328096 w 3791494"/>
                <a:gd name="connsiteY225" fmla="*/ 1576468 h 5496197"/>
                <a:gd name="connsiteX226" fmla="*/ 2328096 w 3791494"/>
                <a:gd name="connsiteY226" fmla="*/ 1565484 h 5496197"/>
                <a:gd name="connsiteX227" fmla="*/ 2333568 w 3791494"/>
                <a:gd name="connsiteY227" fmla="*/ 1560012 h 5496197"/>
                <a:gd name="connsiteX228" fmla="*/ 2328096 w 3791494"/>
                <a:gd name="connsiteY228" fmla="*/ 1554539 h 5496197"/>
                <a:gd name="connsiteX229" fmla="*/ 2311640 w 3791494"/>
                <a:gd name="connsiteY229" fmla="*/ 1549028 h 5496197"/>
                <a:gd name="connsiteX230" fmla="*/ 2300656 w 3791494"/>
                <a:gd name="connsiteY230" fmla="*/ 1549028 h 5496197"/>
                <a:gd name="connsiteX231" fmla="*/ 2300656 w 3791494"/>
                <a:gd name="connsiteY231" fmla="*/ 1538044 h 5496197"/>
                <a:gd name="connsiteX232" fmla="*/ 2306167 w 3791494"/>
                <a:gd name="connsiteY232" fmla="*/ 1521588 h 5496197"/>
                <a:gd name="connsiteX233" fmla="*/ 2311640 w 3791494"/>
                <a:gd name="connsiteY233" fmla="*/ 1510643 h 5496197"/>
                <a:gd name="connsiteX234" fmla="*/ 2317112 w 3791494"/>
                <a:gd name="connsiteY234" fmla="*/ 1510643 h 5496197"/>
                <a:gd name="connsiteX235" fmla="*/ 2328096 w 3791494"/>
                <a:gd name="connsiteY235" fmla="*/ 1505132 h 5496197"/>
                <a:gd name="connsiteX236" fmla="*/ 2350063 w 3791494"/>
                <a:gd name="connsiteY236" fmla="*/ 1505132 h 5496197"/>
                <a:gd name="connsiteX237" fmla="*/ 2366519 w 3791494"/>
                <a:gd name="connsiteY237" fmla="*/ 1488676 h 5496197"/>
                <a:gd name="connsiteX238" fmla="*/ 2366519 w 3791494"/>
                <a:gd name="connsiteY238" fmla="*/ 1477692 h 5496197"/>
                <a:gd name="connsiteX239" fmla="*/ 2371992 w 3791494"/>
                <a:gd name="connsiteY239" fmla="*/ 1461236 h 5496197"/>
                <a:gd name="connsiteX240" fmla="*/ 2371992 w 3791494"/>
                <a:gd name="connsiteY240" fmla="*/ 1455763 h 5496197"/>
                <a:gd name="connsiteX241" fmla="*/ 2382975 w 3791494"/>
                <a:gd name="connsiteY241" fmla="*/ 1444780 h 5496197"/>
                <a:gd name="connsiteX242" fmla="*/ 2382975 w 3791494"/>
                <a:gd name="connsiteY242" fmla="*/ 1411867 h 5496197"/>
                <a:gd name="connsiteX243" fmla="*/ 2388448 w 3791494"/>
                <a:gd name="connsiteY243" fmla="*/ 1400884 h 5496197"/>
                <a:gd name="connsiteX244" fmla="*/ 2393920 w 3791494"/>
                <a:gd name="connsiteY244" fmla="*/ 1400884 h 5496197"/>
                <a:gd name="connsiteX245" fmla="*/ 2399431 w 3791494"/>
                <a:gd name="connsiteY245" fmla="*/ 1389938 h 5496197"/>
                <a:gd name="connsiteX246" fmla="*/ 2404904 w 3791494"/>
                <a:gd name="connsiteY246" fmla="*/ 1384427 h 5496197"/>
                <a:gd name="connsiteX247" fmla="*/ 2421360 w 3791494"/>
                <a:gd name="connsiteY247" fmla="*/ 1384427 h 5496197"/>
                <a:gd name="connsiteX248" fmla="*/ 2426871 w 3791494"/>
                <a:gd name="connsiteY248" fmla="*/ 1378955 h 5496197"/>
                <a:gd name="connsiteX249" fmla="*/ 2432344 w 3791494"/>
                <a:gd name="connsiteY249" fmla="*/ 1362499 h 5496197"/>
                <a:gd name="connsiteX250" fmla="*/ 2426871 w 3791494"/>
                <a:gd name="connsiteY250" fmla="*/ 1346042 h 5496197"/>
                <a:gd name="connsiteX251" fmla="*/ 2399431 w 3791494"/>
                <a:gd name="connsiteY251" fmla="*/ 1307619 h 5496197"/>
                <a:gd name="connsiteX252" fmla="*/ 2371992 w 3791494"/>
                <a:gd name="connsiteY252" fmla="*/ 1285690 h 5496197"/>
                <a:gd name="connsiteX253" fmla="*/ 2361008 w 3791494"/>
                <a:gd name="connsiteY253" fmla="*/ 1280217 h 5496197"/>
                <a:gd name="connsiteX254" fmla="*/ 2350063 w 3791494"/>
                <a:gd name="connsiteY254" fmla="*/ 1274706 h 5496197"/>
                <a:gd name="connsiteX255" fmla="*/ 2284199 w 3791494"/>
                <a:gd name="connsiteY255" fmla="*/ 1252778 h 5496197"/>
                <a:gd name="connsiteX256" fmla="*/ 2251287 w 3791494"/>
                <a:gd name="connsiteY256" fmla="*/ 1241794 h 5496197"/>
                <a:gd name="connsiteX257" fmla="*/ 2212902 w 3791494"/>
                <a:gd name="connsiteY257" fmla="*/ 1241794 h 5496197"/>
                <a:gd name="connsiteX258" fmla="*/ 2196407 w 3791494"/>
                <a:gd name="connsiteY258" fmla="*/ 1236321 h 5496197"/>
                <a:gd name="connsiteX259" fmla="*/ 2174478 w 3791494"/>
                <a:gd name="connsiteY259" fmla="*/ 1219865 h 5496197"/>
                <a:gd name="connsiteX260" fmla="*/ 2163495 w 3791494"/>
                <a:gd name="connsiteY260" fmla="*/ 1214354 h 5496197"/>
                <a:gd name="connsiteX261" fmla="*/ 2152549 w 3791494"/>
                <a:gd name="connsiteY261" fmla="*/ 1192425 h 5496197"/>
                <a:gd name="connsiteX262" fmla="*/ 2125109 w 3791494"/>
                <a:gd name="connsiteY262" fmla="*/ 1159513 h 5496197"/>
                <a:gd name="connsiteX263" fmla="*/ 2119599 w 3791494"/>
                <a:gd name="connsiteY263" fmla="*/ 1148529 h 5496197"/>
                <a:gd name="connsiteX264" fmla="*/ 2103142 w 3791494"/>
                <a:gd name="connsiteY264" fmla="*/ 1137546 h 5496197"/>
                <a:gd name="connsiteX265" fmla="*/ 2097670 w 3791494"/>
                <a:gd name="connsiteY265" fmla="*/ 1143056 h 5496197"/>
                <a:gd name="connsiteX266" fmla="*/ 2081213 w 3791494"/>
                <a:gd name="connsiteY266" fmla="*/ 1159513 h 5496197"/>
                <a:gd name="connsiteX267" fmla="*/ 2059246 w 3791494"/>
                <a:gd name="connsiteY267" fmla="*/ 1159513 h 5496197"/>
                <a:gd name="connsiteX268" fmla="*/ 2059246 w 3791494"/>
                <a:gd name="connsiteY268" fmla="*/ 1154002 h 5496197"/>
                <a:gd name="connsiteX269" fmla="*/ 2053774 w 3791494"/>
                <a:gd name="connsiteY269" fmla="*/ 1154002 h 5496197"/>
                <a:gd name="connsiteX270" fmla="*/ 2042790 w 3791494"/>
                <a:gd name="connsiteY270" fmla="*/ 1143056 h 5496197"/>
                <a:gd name="connsiteX271" fmla="*/ 2037318 w 3791494"/>
                <a:gd name="connsiteY271" fmla="*/ 1137546 h 5496197"/>
                <a:gd name="connsiteX272" fmla="*/ 1960510 w 3791494"/>
                <a:gd name="connsiteY272" fmla="*/ 1099160 h 5496197"/>
                <a:gd name="connsiteX273" fmla="*/ 1944054 w 3791494"/>
                <a:gd name="connsiteY273" fmla="*/ 1088177 h 5496197"/>
                <a:gd name="connsiteX274" fmla="*/ 1911141 w 3791494"/>
                <a:gd name="connsiteY274" fmla="*/ 1044281 h 5496197"/>
                <a:gd name="connsiteX275" fmla="*/ 1850789 w 3791494"/>
                <a:gd name="connsiteY275" fmla="*/ 989401 h 5496197"/>
                <a:gd name="connsiteX276" fmla="*/ 1839805 w 3791494"/>
                <a:gd name="connsiteY276" fmla="*/ 972945 h 5496197"/>
                <a:gd name="connsiteX277" fmla="*/ 1823349 w 3791494"/>
                <a:gd name="connsiteY277" fmla="*/ 945543 h 5496197"/>
                <a:gd name="connsiteX278" fmla="*/ 1806892 w 3791494"/>
                <a:gd name="connsiteY278" fmla="*/ 929049 h 5496197"/>
                <a:gd name="connsiteX279" fmla="*/ 1784925 w 3791494"/>
                <a:gd name="connsiteY279" fmla="*/ 918103 h 5496197"/>
                <a:gd name="connsiteX280" fmla="*/ 1779453 w 3791494"/>
                <a:gd name="connsiteY280" fmla="*/ 918103 h 5496197"/>
                <a:gd name="connsiteX281" fmla="*/ 1762997 w 3791494"/>
                <a:gd name="connsiteY281" fmla="*/ 907120 h 5496197"/>
                <a:gd name="connsiteX282" fmla="*/ 1757524 w 3791494"/>
                <a:gd name="connsiteY282" fmla="*/ 890663 h 5496197"/>
                <a:gd name="connsiteX283" fmla="*/ 1779453 w 3791494"/>
                <a:gd name="connsiteY283" fmla="*/ 874207 h 5496197"/>
                <a:gd name="connsiteX284" fmla="*/ 1784925 w 3791494"/>
                <a:gd name="connsiteY284" fmla="*/ 863224 h 5496197"/>
                <a:gd name="connsiteX285" fmla="*/ 1790436 w 3791494"/>
                <a:gd name="connsiteY285" fmla="*/ 863224 h 5496197"/>
                <a:gd name="connsiteX286" fmla="*/ 1795909 w 3791494"/>
                <a:gd name="connsiteY286" fmla="*/ 841295 h 5496197"/>
                <a:gd name="connsiteX287" fmla="*/ 1790436 w 3791494"/>
                <a:gd name="connsiteY287" fmla="*/ 835784 h 5496197"/>
                <a:gd name="connsiteX288" fmla="*/ 1784925 w 3791494"/>
                <a:gd name="connsiteY288" fmla="*/ 813855 h 5496197"/>
                <a:gd name="connsiteX289" fmla="*/ 1768469 w 3791494"/>
                <a:gd name="connsiteY289" fmla="*/ 786415 h 5496197"/>
                <a:gd name="connsiteX290" fmla="*/ 1757524 w 3791494"/>
                <a:gd name="connsiteY290" fmla="*/ 764486 h 5496197"/>
                <a:gd name="connsiteX291" fmla="*/ 1752013 w 3791494"/>
                <a:gd name="connsiteY291" fmla="*/ 753502 h 5496197"/>
                <a:gd name="connsiteX292" fmla="*/ 1752013 w 3791494"/>
                <a:gd name="connsiteY292" fmla="*/ 742519 h 5496197"/>
                <a:gd name="connsiteX293" fmla="*/ 1757524 w 3791494"/>
                <a:gd name="connsiteY293" fmla="*/ 731573 h 5496197"/>
                <a:gd name="connsiteX294" fmla="*/ 1757524 w 3791494"/>
                <a:gd name="connsiteY294" fmla="*/ 709606 h 5496197"/>
                <a:gd name="connsiteX295" fmla="*/ 1768469 w 3791494"/>
                <a:gd name="connsiteY295" fmla="*/ 687677 h 5496197"/>
                <a:gd name="connsiteX296" fmla="*/ 1773980 w 3791494"/>
                <a:gd name="connsiteY296" fmla="*/ 676694 h 5496197"/>
                <a:gd name="connsiteX297" fmla="*/ 1773980 w 3791494"/>
                <a:gd name="connsiteY297" fmla="*/ 577919 h 5496197"/>
                <a:gd name="connsiteX298" fmla="*/ 1779453 w 3791494"/>
                <a:gd name="connsiteY298" fmla="*/ 566974 h 5496197"/>
                <a:gd name="connsiteX299" fmla="*/ 1779453 w 3791494"/>
                <a:gd name="connsiteY299" fmla="*/ 550517 h 5496197"/>
                <a:gd name="connsiteX300" fmla="*/ 1773980 w 3791494"/>
                <a:gd name="connsiteY300" fmla="*/ 545006 h 5496197"/>
                <a:gd name="connsiteX301" fmla="*/ 1773980 w 3791494"/>
                <a:gd name="connsiteY301" fmla="*/ 539534 h 5496197"/>
                <a:gd name="connsiteX302" fmla="*/ 1762997 w 3791494"/>
                <a:gd name="connsiteY302" fmla="*/ 534061 h 5496197"/>
                <a:gd name="connsiteX303" fmla="*/ 1752013 w 3791494"/>
                <a:gd name="connsiteY303" fmla="*/ 539534 h 5496197"/>
                <a:gd name="connsiteX304" fmla="*/ 1746540 w 3791494"/>
                <a:gd name="connsiteY304" fmla="*/ 545006 h 5496197"/>
                <a:gd name="connsiteX305" fmla="*/ 1741068 w 3791494"/>
                <a:gd name="connsiteY305" fmla="*/ 550517 h 5496197"/>
                <a:gd name="connsiteX306" fmla="*/ 1735557 w 3791494"/>
                <a:gd name="connsiteY306" fmla="*/ 566974 h 5496197"/>
                <a:gd name="connsiteX307" fmla="*/ 1724573 w 3791494"/>
                <a:gd name="connsiteY307" fmla="*/ 572446 h 5496197"/>
                <a:gd name="connsiteX308" fmla="*/ 1713628 w 3791494"/>
                <a:gd name="connsiteY308" fmla="*/ 577919 h 5496197"/>
                <a:gd name="connsiteX309" fmla="*/ 1702644 w 3791494"/>
                <a:gd name="connsiteY309" fmla="*/ 572446 h 5496197"/>
                <a:gd name="connsiteX310" fmla="*/ 1697172 w 3791494"/>
                <a:gd name="connsiteY310" fmla="*/ 572446 h 5496197"/>
                <a:gd name="connsiteX311" fmla="*/ 1691661 w 3791494"/>
                <a:gd name="connsiteY311" fmla="*/ 566974 h 5496197"/>
                <a:gd name="connsiteX312" fmla="*/ 1680716 w 3791494"/>
                <a:gd name="connsiteY312" fmla="*/ 550517 h 5496197"/>
                <a:gd name="connsiteX313" fmla="*/ 1658748 w 3791494"/>
                <a:gd name="connsiteY313" fmla="*/ 523078 h 5496197"/>
                <a:gd name="connsiteX314" fmla="*/ 1653276 w 3791494"/>
                <a:gd name="connsiteY314" fmla="*/ 506621 h 5496197"/>
                <a:gd name="connsiteX315" fmla="*/ 1647765 w 3791494"/>
                <a:gd name="connsiteY315" fmla="*/ 495638 h 5496197"/>
                <a:gd name="connsiteX316" fmla="*/ 1647765 w 3791494"/>
                <a:gd name="connsiteY316" fmla="*/ 468198 h 5496197"/>
                <a:gd name="connsiteX317" fmla="*/ 1642292 w 3791494"/>
                <a:gd name="connsiteY317" fmla="*/ 457252 h 5496197"/>
                <a:gd name="connsiteX318" fmla="*/ 1636820 w 3791494"/>
                <a:gd name="connsiteY318" fmla="*/ 451742 h 5496197"/>
                <a:gd name="connsiteX319" fmla="*/ 1620363 w 3791494"/>
                <a:gd name="connsiteY319" fmla="*/ 440758 h 5496197"/>
                <a:gd name="connsiteX320" fmla="*/ 1614853 w 3791494"/>
                <a:gd name="connsiteY320" fmla="*/ 435285 h 5496197"/>
                <a:gd name="connsiteX321" fmla="*/ 1587413 w 3791494"/>
                <a:gd name="connsiteY321" fmla="*/ 380406 h 5496197"/>
                <a:gd name="connsiteX322" fmla="*/ 1570956 w 3791494"/>
                <a:gd name="connsiteY322" fmla="*/ 363949 h 5496197"/>
                <a:gd name="connsiteX323" fmla="*/ 1554500 w 3791494"/>
                <a:gd name="connsiteY323" fmla="*/ 358477 h 5496197"/>
                <a:gd name="connsiteX324" fmla="*/ 1549028 w 3791494"/>
                <a:gd name="connsiteY324" fmla="*/ 358477 h 5496197"/>
                <a:gd name="connsiteX325" fmla="*/ 1521588 w 3791494"/>
                <a:gd name="connsiteY325" fmla="*/ 353004 h 5496197"/>
                <a:gd name="connsiteX326" fmla="*/ 1505132 w 3791494"/>
                <a:gd name="connsiteY326" fmla="*/ 347493 h 5496197"/>
                <a:gd name="connsiteX327" fmla="*/ 1499659 w 3791494"/>
                <a:gd name="connsiteY327" fmla="*/ 347493 h 5496197"/>
                <a:gd name="connsiteX328" fmla="*/ 1455763 w 3791494"/>
                <a:gd name="connsiteY328" fmla="*/ 303597 h 5496197"/>
                <a:gd name="connsiteX329" fmla="*/ 1439306 w 3791494"/>
                <a:gd name="connsiteY329" fmla="*/ 292652 h 5496197"/>
                <a:gd name="connsiteX330" fmla="*/ 1400883 w 3791494"/>
                <a:gd name="connsiteY330" fmla="*/ 276196 h 5496197"/>
                <a:gd name="connsiteX331" fmla="*/ 1389938 w 3791494"/>
                <a:gd name="connsiteY331" fmla="*/ 270685 h 5496197"/>
                <a:gd name="connsiteX332" fmla="*/ 1384427 w 3791494"/>
                <a:gd name="connsiteY332" fmla="*/ 265212 h 5496197"/>
                <a:gd name="connsiteX333" fmla="*/ 1378954 w 3791494"/>
                <a:gd name="connsiteY333" fmla="*/ 259740 h 5496197"/>
                <a:gd name="connsiteX334" fmla="*/ 1373443 w 3791494"/>
                <a:gd name="connsiteY334" fmla="*/ 243245 h 5496197"/>
                <a:gd name="connsiteX335" fmla="*/ 1351515 w 3791494"/>
                <a:gd name="connsiteY335" fmla="*/ 182932 h 5496197"/>
                <a:gd name="connsiteX336" fmla="*/ 1346042 w 3791494"/>
                <a:gd name="connsiteY336" fmla="*/ 171948 h 5496197"/>
                <a:gd name="connsiteX337" fmla="*/ 1340531 w 3791494"/>
                <a:gd name="connsiteY337" fmla="*/ 160965 h 5496197"/>
                <a:gd name="connsiteX338" fmla="*/ 1335058 w 3791494"/>
                <a:gd name="connsiteY338" fmla="*/ 155492 h 5496197"/>
                <a:gd name="connsiteX339" fmla="*/ 1285690 w 3791494"/>
                <a:gd name="connsiteY339" fmla="*/ 89629 h 5496197"/>
                <a:gd name="connsiteX340" fmla="*/ 1236283 w 3791494"/>
                <a:gd name="connsiteY340" fmla="*/ 51244 h 5496197"/>
                <a:gd name="connsiteX341" fmla="*/ 1219826 w 3791494"/>
                <a:gd name="connsiteY341" fmla="*/ 40260 h 5496197"/>
                <a:gd name="connsiteX342" fmla="*/ 1197898 w 3791494"/>
                <a:gd name="connsiteY342" fmla="*/ 56716 h 5496197"/>
                <a:gd name="connsiteX343" fmla="*/ 1186914 w 3791494"/>
                <a:gd name="connsiteY343" fmla="*/ 56716 h 5496197"/>
                <a:gd name="connsiteX344" fmla="*/ 1186914 w 3791494"/>
                <a:gd name="connsiteY344" fmla="*/ 51244 h 5496197"/>
                <a:gd name="connsiteX345" fmla="*/ 1181441 w 3791494"/>
                <a:gd name="connsiteY345" fmla="*/ 51244 h 5496197"/>
                <a:gd name="connsiteX346" fmla="*/ 1175930 w 3791494"/>
                <a:gd name="connsiteY346" fmla="*/ 40260 h 5496197"/>
                <a:gd name="connsiteX347" fmla="*/ 1170458 w 3791494"/>
                <a:gd name="connsiteY347" fmla="*/ 34788 h 5496197"/>
                <a:gd name="connsiteX348" fmla="*/ 1154001 w 3791494"/>
                <a:gd name="connsiteY348" fmla="*/ 29277 h 5496197"/>
                <a:gd name="connsiteX349" fmla="*/ 1143018 w 3791494"/>
                <a:gd name="connsiteY349" fmla="*/ 29277 h 5496197"/>
                <a:gd name="connsiteX350" fmla="*/ 1137545 w 3791494"/>
                <a:gd name="connsiteY350" fmla="*/ 34788 h 5496197"/>
                <a:gd name="connsiteX351" fmla="*/ 1121089 w 3791494"/>
                <a:gd name="connsiteY351" fmla="*/ 40260 h 5496197"/>
                <a:gd name="connsiteX352" fmla="*/ 1104633 w 3791494"/>
                <a:gd name="connsiteY352" fmla="*/ 45771 h 5496197"/>
                <a:gd name="connsiteX353" fmla="*/ 1093649 w 3791494"/>
                <a:gd name="connsiteY353" fmla="*/ 45771 h 5496197"/>
                <a:gd name="connsiteX354" fmla="*/ 1055264 w 3791494"/>
                <a:gd name="connsiteY354" fmla="*/ 23804 h 5496197"/>
                <a:gd name="connsiteX355" fmla="*/ 1000384 w 3791494"/>
                <a:gd name="connsiteY355" fmla="*/ 18331 h 5496197"/>
                <a:gd name="connsiteX356" fmla="*/ 989401 w 3791494"/>
                <a:gd name="connsiteY356" fmla="*/ 18331 h 5496197"/>
                <a:gd name="connsiteX357" fmla="*/ 961961 w 3791494"/>
                <a:gd name="connsiteY357" fmla="*/ 23804 h 5496197"/>
                <a:gd name="connsiteX358" fmla="*/ 874208 w 3791494"/>
                <a:gd name="connsiteY358" fmla="*/ 62227 h 5496197"/>
                <a:gd name="connsiteX359" fmla="*/ 857752 w 3791494"/>
                <a:gd name="connsiteY359" fmla="*/ 62227 h 5496197"/>
                <a:gd name="connsiteX360" fmla="*/ 824801 w 3791494"/>
                <a:gd name="connsiteY360" fmla="*/ 40260 h 5496197"/>
                <a:gd name="connsiteX361" fmla="*/ 780943 w 3791494"/>
                <a:gd name="connsiteY361" fmla="*/ 12820 h 5496197"/>
                <a:gd name="connsiteX362" fmla="*/ 764449 w 3791494"/>
                <a:gd name="connsiteY362" fmla="*/ 7348 h 5496197"/>
                <a:gd name="connsiteX363" fmla="*/ 742520 w 3791494"/>
                <a:gd name="connsiteY363" fmla="*/ 7348 h 5496197"/>
                <a:gd name="connsiteX364" fmla="*/ 693151 w 3791494"/>
                <a:gd name="connsiteY364" fmla="*/ 18331 h 5496197"/>
                <a:gd name="connsiteX365" fmla="*/ 654727 w 3791494"/>
                <a:gd name="connsiteY365" fmla="*/ 18331 h 5496197"/>
                <a:gd name="connsiteX366" fmla="*/ 649255 w 3791494"/>
                <a:gd name="connsiteY366" fmla="*/ 23804 h 5496197"/>
                <a:gd name="connsiteX367" fmla="*/ 632798 w 3791494"/>
                <a:gd name="connsiteY367" fmla="*/ 29277 h 5496197"/>
                <a:gd name="connsiteX368" fmla="*/ 621815 w 3791494"/>
                <a:gd name="connsiteY368" fmla="*/ 34788 h 5496197"/>
                <a:gd name="connsiteX369" fmla="*/ 610831 w 3791494"/>
                <a:gd name="connsiteY369" fmla="*/ 40260 h 5496197"/>
                <a:gd name="connsiteX370" fmla="*/ 605359 w 3791494"/>
                <a:gd name="connsiteY370" fmla="*/ 45771 h 5496197"/>
                <a:gd name="connsiteX371" fmla="*/ 594375 w 3791494"/>
                <a:gd name="connsiteY371" fmla="*/ 56716 h 5496197"/>
                <a:gd name="connsiteX372" fmla="*/ 599886 w 3791494"/>
                <a:gd name="connsiteY372" fmla="*/ 67700 h 5496197"/>
                <a:gd name="connsiteX373" fmla="*/ 599886 w 3791494"/>
                <a:gd name="connsiteY373" fmla="*/ 73173 h 5496197"/>
                <a:gd name="connsiteX374" fmla="*/ 605359 w 3791494"/>
                <a:gd name="connsiteY374" fmla="*/ 78683 h 5496197"/>
                <a:gd name="connsiteX375" fmla="*/ 605359 w 3791494"/>
                <a:gd name="connsiteY375" fmla="*/ 89629 h 5496197"/>
                <a:gd name="connsiteX376" fmla="*/ 594375 w 3791494"/>
                <a:gd name="connsiteY376" fmla="*/ 100612 h 5496197"/>
                <a:gd name="connsiteX377" fmla="*/ 583430 w 3791494"/>
                <a:gd name="connsiteY377" fmla="*/ 106085 h 5496197"/>
                <a:gd name="connsiteX378" fmla="*/ 572446 w 3791494"/>
                <a:gd name="connsiteY378" fmla="*/ 117069 h 5496197"/>
                <a:gd name="connsiteX379" fmla="*/ 572446 w 3791494"/>
                <a:gd name="connsiteY379" fmla="*/ 122579 h 5496197"/>
                <a:gd name="connsiteX380" fmla="*/ 561463 w 3791494"/>
                <a:gd name="connsiteY380" fmla="*/ 133525 h 5496197"/>
                <a:gd name="connsiteX381" fmla="*/ 550479 w 3791494"/>
                <a:gd name="connsiteY381" fmla="*/ 144508 h 5496197"/>
                <a:gd name="connsiteX382" fmla="*/ 539534 w 3791494"/>
                <a:gd name="connsiteY382" fmla="*/ 149981 h 5496197"/>
                <a:gd name="connsiteX383" fmla="*/ 528550 w 3791494"/>
                <a:gd name="connsiteY383" fmla="*/ 149981 h 5496197"/>
                <a:gd name="connsiteX384" fmla="*/ 517566 w 3791494"/>
                <a:gd name="connsiteY384" fmla="*/ 155492 h 5496197"/>
                <a:gd name="connsiteX385" fmla="*/ 512094 w 3791494"/>
                <a:gd name="connsiteY385" fmla="*/ 166437 h 5496197"/>
                <a:gd name="connsiteX386" fmla="*/ 506621 w 3791494"/>
                <a:gd name="connsiteY386" fmla="*/ 177421 h 5496197"/>
                <a:gd name="connsiteX387" fmla="*/ 495638 w 3791494"/>
                <a:gd name="connsiteY387" fmla="*/ 188404 h 5496197"/>
                <a:gd name="connsiteX388" fmla="*/ 479181 w 3791494"/>
                <a:gd name="connsiteY388" fmla="*/ 193877 h 5496197"/>
                <a:gd name="connsiteX389" fmla="*/ 446269 w 3791494"/>
                <a:gd name="connsiteY389" fmla="*/ 193877 h 5496197"/>
                <a:gd name="connsiteX390" fmla="*/ 440758 w 3791494"/>
                <a:gd name="connsiteY390" fmla="*/ 199388 h 5496197"/>
                <a:gd name="connsiteX391" fmla="*/ 429813 w 3791494"/>
                <a:gd name="connsiteY391" fmla="*/ 199388 h 5496197"/>
                <a:gd name="connsiteX392" fmla="*/ 424302 w 3791494"/>
                <a:gd name="connsiteY392" fmla="*/ 204860 h 5496197"/>
                <a:gd name="connsiteX393" fmla="*/ 413318 w 3791494"/>
                <a:gd name="connsiteY393" fmla="*/ 210333 h 5496197"/>
                <a:gd name="connsiteX394" fmla="*/ 402373 w 3791494"/>
                <a:gd name="connsiteY394" fmla="*/ 226789 h 5496197"/>
                <a:gd name="connsiteX395" fmla="*/ 402373 w 3791494"/>
                <a:gd name="connsiteY395" fmla="*/ 243246 h 5496197"/>
                <a:gd name="connsiteX396" fmla="*/ 391389 w 3791494"/>
                <a:gd name="connsiteY396" fmla="*/ 254229 h 5496197"/>
                <a:gd name="connsiteX397" fmla="*/ 391389 w 3791494"/>
                <a:gd name="connsiteY397" fmla="*/ 259740 h 5496197"/>
                <a:gd name="connsiteX398" fmla="*/ 363949 w 3791494"/>
                <a:gd name="connsiteY398" fmla="*/ 259740 h 5496197"/>
                <a:gd name="connsiteX399" fmla="*/ 287142 w 3791494"/>
                <a:gd name="connsiteY399" fmla="*/ 254229 h 5496197"/>
                <a:gd name="connsiteX400" fmla="*/ 270686 w 3791494"/>
                <a:gd name="connsiteY400" fmla="*/ 243246 h 5496197"/>
                <a:gd name="connsiteX401" fmla="*/ 265213 w 3791494"/>
                <a:gd name="connsiteY401" fmla="*/ 243246 h 5496197"/>
                <a:gd name="connsiteX402" fmla="*/ 259702 w 3791494"/>
                <a:gd name="connsiteY402" fmla="*/ 232300 h 5496197"/>
                <a:gd name="connsiteX403" fmla="*/ 254230 w 3791494"/>
                <a:gd name="connsiteY403" fmla="*/ 215844 h 5496197"/>
                <a:gd name="connsiteX404" fmla="*/ 232300 w 3791494"/>
                <a:gd name="connsiteY404" fmla="*/ 210333 h 5496197"/>
                <a:gd name="connsiteX405" fmla="*/ 210333 w 3791494"/>
                <a:gd name="connsiteY405" fmla="*/ 221317 h 5496197"/>
                <a:gd name="connsiteX406" fmla="*/ 199350 w 3791494"/>
                <a:gd name="connsiteY406" fmla="*/ 243246 h 5496197"/>
                <a:gd name="connsiteX407" fmla="*/ 193877 w 3791494"/>
                <a:gd name="connsiteY407" fmla="*/ 281669 h 5496197"/>
                <a:gd name="connsiteX408" fmla="*/ 177421 w 3791494"/>
                <a:gd name="connsiteY408" fmla="*/ 287142 h 5496197"/>
                <a:gd name="connsiteX409" fmla="*/ 155492 w 3791494"/>
                <a:gd name="connsiteY409" fmla="*/ 287142 h 5496197"/>
                <a:gd name="connsiteX410" fmla="*/ 133525 w 3791494"/>
                <a:gd name="connsiteY410" fmla="*/ 298125 h 5496197"/>
                <a:gd name="connsiteX411" fmla="*/ 133525 w 3791494"/>
                <a:gd name="connsiteY411" fmla="*/ 314581 h 5496197"/>
                <a:gd name="connsiteX412" fmla="*/ 138997 w 3791494"/>
                <a:gd name="connsiteY412" fmla="*/ 320092 h 5496197"/>
                <a:gd name="connsiteX413" fmla="*/ 138997 w 3791494"/>
                <a:gd name="connsiteY413" fmla="*/ 331038 h 5496197"/>
                <a:gd name="connsiteX414" fmla="*/ 133525 w 3791494"/>
                <a:gd name="connsiteY414" fmla="*/ 336549 h 5496197"/>
                <a:gd name="connsiteX415" fmla="*/ 122541 w 3791494"/>
                <a:gd name="connsiteY415" fmla="*/ 331038 h 5496197"/>
                <a:gd name="connsiteX416" fmla="*/ 117069 w 3791494"/>
                <a:gd name="connsiteY416" fmla="*/ 325565 h 5496197"/>
                <a:gd name="connsiteX417" fmla="*/ 62189 w 3791494"/>
                <a:gd name="connsiteY417" fmla="*/ 325565 h 5496197"/>
                <a:gd name="connsiteX418" fmla="*/ 62189 w 3791494"/>
                <a:gd name="connsiteY418" fmla="*/ 331038 h 5496197"/>
                <a:gd name="connsiteX419" fmla="*/ 67700 w 3791494"/>
                <a:gd name="connsiteY419" fmla="*/ 342021 h 5496197"/>
                <a:gd name="connsiteX420" fmla="*/ 51244 w 3791494"/>
                <a:gd name="connsiteY420" fmla="*/ 353005 h 5496197"/>
                <a:gd name="connsiteX421" fmla="*/ 45733 w 3791494"/>
                <a:gd name="connsiteY421" fmla="*/ 358477 h 5496197"/>
                <a:gd name="connsiteX422" fmla="*/ 40260 w 3791494"/>
                <a:gd name="connsiteY422" fmla="*/ 369461 h 5496197"/>
                <a:gd name="connsiteX423" fmla="*/ 34788 w 3791494"/>
                <a:gd name="connsiteY423" fmla="*/ 369461 h 5496197"/>
                <a:gd name="connsiteX424" fmla="*/ 34788 w 3791494"/>
                <a:gd name="connsiteY424" fmla="*/ 374934 h 5496197"/>
                <a:gd name="connsiteX425" fmla="*/ 51244 w 3791494"/>
                <a:gd name="connsiteY425" fmla="*/ 385917 h 5496197"/>
                <a:gd name="connsiteX426" fmla="*/ 62189 w 3791494"/>
                <a:gd name="connsiteY426" fmla="*/ 396901 h 5496197"/>
                <a:gd name="connsiteX427" fmla="*/ 62189 w 3791494"/>
                <a:gd name="connsiteY427" fmla="*/ 402373 h 5496197"/>
                <a:gd name="connsiteX428" fmla="*/ 67700 w 3791494"/>
                <a:gd name="connsiteY428" fmla="*/ 407846 h 5496197"/>
                <a:gd name="connsiteX429" fmla="*/ 56717 w 3791494"/>
                <a:gd name="connsiteY429" fmla="*/ 418829 h 5496197"/>
                <a:gd name="connsiteX430" fmla="*/ 18331 w 3791494"/>
                <a:gd name="connsiteY430" fmla="*/ 418829 h 5496197"/>
                <a:gd name="connsiteX431" fmla="*/ 18331 w 3791494"/>
                <a:gd name="connsiteY431" fmla="*/ 457253 h 5496197"/>
                <a:gd name="connsiteX432" fmla="*/ 12820 w 3791494"/>
                <a:gd name="connsiteY432" fmla="*/ 462725 h 5496197"/>
                <a:gd name="connsiteX433" fmla="*/ 12820 w 3791494"/>
                <a:gd name="connsiteY433" fmla="*/ 473709 h 5496197"/>
                <a:gd name="connsiteX434" fmla="*/ 7348 w 3791494"/>
                <a:gd name="connsiteY434" fmla="*/ 473709 h 5496197"/>
                <a:gd name="connsiteX435" fmla="*/ 12820 w 3791494"/>
                <a:gd name="connsiteY435" fmla="*/ 484654 h 5496197"/>
                <a:gd name="connsiteX436" fmla="*/ 29277 w 3791494"/>
                <a:gd name="connsiteY436" fmla="*/ 495638 h 5496197"/>
                <a:gd name="connsiteX437" fmla="*/ 29277 w 3791494"/>
                <a:gd name="connsiteY437" fmla="*/ 506622 h 5496197"/>
                <a:gd name="connsiteX438" fmla="*/ 34788 w 3791494"/>
                <a:gd name="connsiteY438" fmla="*/ 506622 h 5496197"/>
                <a:gd name="connsiteX439" fmla="*/ 40260 w 3791494"/>
                <a:gd name="connsiteY439" fmla="*/ 517567 h 5496197"/>
                <a:gd name="connsiteX440" fmla="*/ 62189 w 3791494"/>
                <a:gd name="connsiteY440" fmla="*/ 539534 h 5496197"/>
                <a:gd name="connsiteX441" fmla="*/ 67700 w 3791494"/>
                <a:gd name="connsiteY441" fmla="*/ 561463 h 5496197"/>
                <a:gd name="connsiteX442" fmla="*/ 67700 w 3791494"/>
                <a:gd name="connsiteY442" fmla="*/ 599886 h 5496197"/>
                <a:gd name="connsiteX443" fmla="*/ 78645 w 3791494"/>
                <a:gd name="connsiteY443" fmla="*/ 616343 h 5496197"/>
                <a:gd name="connsiteX444" fmla="*/ 89629 w 3791494"/>
                <a:gd name="connsiteY444" fmla="*/ 627326 h 5496197"/>
                <a:gd name="connsiteX445" fmla="*/ 106085 w 3791494"/>
                <a:gd name="connsiteY445" fmla="*/ 638272 h 5496197"/>
                <a:gd name="connsiteX446" fmla="*/ 117069 w 3791494"/>
                <a:gd name="connsiteY446" fmla="*/ 649255 h 5496197"/>
                <a:gd name="connsiteX447" fmla="*/ 122541 w 3791494"/>
                <a:gd name="connsiteY447" fmla="*/ 665711 h 5496197"/>
                <a:gd name="connsiteX448" fmla="*/ 117069 w 3791494"/>
                <a:gd name="connsiteY448" fmla="*/ 676695 h 5496197"/>
                <a:gd name="connsiteX449" fmla="*/ 95140 w 3791494"/>
                <a:gd name="connsiteY449" fmla="*/ 704135 h 5496197"/>
                <a:gd name="connsiteX450" fmla="*/ 95140 w 3791494"/>
                <a:gd name="connsiteY450" fmla="*/ 715080 h 5496197"/>
                <a:gd name="connsiteX451" fmla="*/ 89629 w 3791494"/>
                <a:gd name="connsiteY451" fmla="*/ 715080 h 5496197"/>
                <a:gd name="connsiteX452" fmla="*/ 84156 w 3791494"/>
                <a:gd name="connsiteY452" fmla="*/ 720591 h 5496197"/>
                <a:gd name="connsiteX453" fmla="*/ 78645 w 3791494"/>
                <a:gd name="connsiteY453" fmla="*/ 726064 h 5496197"/>
                <a:gd name="connsiteX454" fmla="*/ 73173 w 3791494"/>
                <a:gd name="connsiteY454" fmla="*/ 731575 h 5496197"/>
                <a:gd name="connsiteX455" fmla="*/ 67700 w 3791494"/>
                <a:gd name="connsiteY455" fmla="*/ 753504 h 5496197"/>
                <a:gd name="connsiteX456" fmla="*/ 67700 w 3791494"/>
                <a:gd name="connsiteY456" fmla="*/ 780943 h 5496197"/>
                <a:gd name="connsiteX457" fmla="*/ 62189 w 3791494"/>
                <a:gd name="connsiteY457" fmla="*/ 786416 h 5496197"/>
                <a:gd name="connsiteX458" fmla="*/ 62189 w 3791494"/>
                <a:gd name="connsiteY458" fmla="*/ 791889 h 5496197"/>
                <a:gd name="connsiteX459" fmla="*/ 73173 w 3791494"/>
                <a:gd name="connsiteY459" fmla="*/ 797400 h 5496197"/>
                <a:gd name="connsiteX460" fmla="*/ 84157 w 3791494"/>
                <a:gd name="connsiteY460" fmla="*/ 813856 h 5496197"/>
                <a:gd name="connsiteX461" fmla="*/ 89629 w 3791494"/>
                <a:gd name="connsiteY461" fmla="*/ 824839 h 5496197"/>
                <a:gd name="connsiteX462" fmla="*/ 95140 w 3791494"/>
                <a:gd name="connsiteY462" fmla="*/ 835785 h 5496197"/>
                <a:gd name="connsiteX463" fmla="*/ 117069 w 3791494"/>
                <a:gd name="connsiteY463" fmla="*/ 835785 h 5496197"/>
                <a:gd name="connsiteX464" fmla="*/ 128053 w 3791494"/>
                <a:gd name="connsiteY464" fmla="*/ 824839 h 5496197"/>
                <a:gd name="connsiteX465" fmla="*/ 133525 w 3791494"/>
                <a:gd name="connsiteY465" fmla="*/ 813856 h 5496197"/>
                <a:gd name="connsiteX466" fmla="*/ 155492 w 3791494"/>
                <a:gd name="connsiteY466" fmla="*/ 808383 h 5496197"/>
                <a:gd name="connsiteX467" fmla="*/ 160965 w 3791494"/>
                <a:gd name="connsiteY467" fmla="*/ 802872 h 5496197"/>
                <a:gd name="connsiteX468" fmla="*/ 166438 w 3791494"/>
                <a:gd name="connsiteY468" fmla="*/ 797400 h 5496197"/>
                <a:gd name="connsiteX469" fmla="*/ 171948 w 3791494"/>
                <a:gd name="connsiteY469" fmla="*/ 797400 h 5496197"/>
                <a:gd name="connsiteX470" fmla="*/ 177421 w 3791494"/>
                <a:gd name="connsiteY470" fmla="*/ 808383 h 5496197"/>
                <a:gd name="connsiteX471" fmla="*/ 182894 w 3791494"/>
                <a:gd name="connsiteY471" fmla="*/ 813856 h 5496197"/>
                <a:gd name="connsiteX472" fmla="*/ 182894 w 3791494"/>
                <a:gd name="connsiteY472" fmla="*/ 819328 h 5496197"/>
                <a:gd name="connsiteX473" fmla="*/ 188404 w 3791494"/>
                <a:gd name="connsiteY473" fmla="*/ 819328 h 5496197"/>
                <a:gd name="connsiteX474" fmla="*/ 188404 w 3791494"/>
                <a:gd name="connsiteY474" fmla="*/ 824839 h 5496197"/>
                <a:gd name="connsiteX475" fmla="*/ 199350 w 3791494"/>
                <a:gd name="connsiteY475" fmla="*/ 835785 h 5496197"/>
                <a:gd name="connsiteX476" fmla="*/ 204861 w 3791494"/>
                <a:gd name="connsiteY476" fmla="*/ 835785 h 5496197"/>
                <a:gd name="connsiteX477" fmla="*/ 215806 w 3791494"/>
                <a:gd name="connsiteY477" fmla="*/ 841296 h 5496197"/>
                <a:gd name="connsiteX478" fmla="*/ 226790 w 3791494"/>
                <a:gd name="connsiteY478" fmla="*/ 841296 h 5496197"/>
                <a:gd name="connsiteX479" fmla="*/ 226790 w 3791494"/>
                <a:gd name="connsiteY479" fmla="*/ 846768 h 5496197"/>
                <a:gd name="connsiteX480" fmla="*/ 237773 w 3791494"/>
                <a:gd name="connsiteY480" fmla="*/ 852241 h 5496197"/>
                <a:gd name="connsiteX481" fmla="*/ 248757 w 3791494"/>
                <a:gd name="connsiteY481" fmla="*/ 868735 h 5496197"/>
                <a:gd name="connsiteX482" fmla="*/ 221317 w 3791494"/>
                <a:gd name="connsiteY482" fmla="*/ 896137 h 5496197"/>
                <a:gd name="connsiteX483" fmla="*/ 188404 w 3791494"/>
                <a:gd name="connsiteY483" fmla="*/ 890664 h 5496197"/>
                <a:gd name="connsiteX484" fmla="*/ 160965 w 3791494"/>
                <a:gd name="connsiteY484" fmla="*/ 885192 h 5496197"/>
                <a:gd name="connsiteX485" fmla="*/ 149981 w 3791494"/>
                <a:gd name="connsiteY485" fmla="*/ 918104 h 5496197"/>
                <a:gd name="connsiteX486" fmla="*/ 149981 w 3791494"/>
                <a:gd name="connsiteY486" fmla="*/ 934560 h 5496197"/>
                <a:gd name="connsiteX487" fmla="*/ 155492 w 3791494"/>
                <a:gd name="connsiteY487" fmla="*/ 940033 h 5496197"/>
                <a:gd name="connsiteX488" fmla="*/ 160964 w 3791494"/>
                <a:gd name="connsiteY488" fmla="*/ 951017 h 5496197"/>
                <a:gd name="connsiteX489" fmla="*/ 177421 w 3791494"/>
                <a:gd name="connsiteY489" fmla="*/ 967473 h 5496197"/>
                <a:gd name="connsiteX490" fmla="*/ 188404 w 3791494"/>
                <a:gd name="connsiteY490" fmla="*/ 983929 h 5496197"/>
                <a:gd name="connsiteX491" fmla="*/ 182894 w 3791494"/>
                <a:gd name="connsiteY491" fmla="*/ 989402 h 5496197"/>
                <a:gd name="connsiteX492" fmla="*/ 177421 w 3791494"/>
                <a:gd name="connsiteY492" fmla="*/ 994913 h 5496197"/>
                <a:gd name="connsiteX493" fmla="*/ 166437 w 3791494"/>
                <a:gd name="connsiteY493" fmla="*/ 1000385 h 5496197"/>
                <a:gd name="connsiteX494" fmla="*/ 128052 w 3791494"/>
                <a:gd name="connsiteY494" fmla="*/ 1022352 h 5496197"/>
                <a:gd name="connsiteX495" fmla="*/ 138997 w 3791494"/>
                <a:gd name="connsiteY495" fmla="*/ 1038809 h 5496197"/>
                <a:gd name="connsiteX496" fmla="*/ 144508 w 3791494"/>
                <a:gd name="connsiteY496" fmla="*/ 1044281 h 5496197"/>
                <a:gd name="connsiteX497" fmla="*/ 155492 w 3791494"/>
                <a:gd name="connsiteY497" fmla="*/ 1060738 h 5496197"/>
                <a:gd name="connsiteX498" fmla="*/ 171948 w 3791494"/>
                <a:gd name="connsiteY498" fmla="*/ 1071721 h 5496197"/>
                <a:gd name="connsiteX499" fmla="*/ 188404 w 3791494"/>
                <a:gd name="connsiteY499" fmla="*/ 1077194 h 5496197"/>
                <a:gd name="connsiteX500" fmla="*/ 232300 w 3791494"/>
                <a:gd name="connsiteY500" fmla="*/ 1077194 h 5496197"/>
                <a:gd name="connsiteX501" fmla="*/ 232300 w 3791494"/>
                <a:gd name="connsiteY501" fmla="*/ 1093650 h 5496197"/>
                <a:gd name="connsiteX502" fmla="*/ 237773 w 3791494"/>
                <a:gd name="connsiteY502" fmla="*/ 1104633 h 5496197"/>
                <a:gd name="connsiteX503" fmla="*/ 237773 w 3791494"/>
                <a:gd name="connsiteY503" fmla="*/ 1121090 h 5496197"/>
                <a:gd name="connsiteX504" fmla="*/ 265213 w 3791494"/>
                <a:gd name="connsiteY504" fmla="*/ 1148530 h 5496197"/>
                <a:gd name="connsiteX505" fmla="*/ 298126 w 3791494"/>
                <a:gd name="connsiteY505" fmla="*/ 1164986 h 5496197"/>
                <a:gd name="connsiteX506" fmla="*/ 331038 w 3791494"/>
                <a:gd name="connsiteY506" fmla="*/ 1175969 h 5496197"/>
                <a:gd name="connsiteX507" fmla="*/ 479181 w 3791494"/>
                <a:gd name="connsiteY507" fmla="*/ 1214355 h 5496197"/>
                <a:gd name="connsiteX508" fmla="*/ 490126 w 3791494"/>
                <a:gd name="connsiteY508" fmla="*/ 1230811 h 5496197"/>
                <a:gd name="connsiteX509" fmla="*/ 495637 w 3791494"/>
                <a:gd name="connsiteY509" fmla="*/ 1236322 h 5496197"/>
                <a:gd name="connsiteX510" fmla="*/ 512093 w 3791494"/>
                <a:gd name="connsiteY510" fmla="*/ 1247267 h 5496197"/>
                <a:gd name="connsiteX511" fmla="*/ 523077 w 3791494"/>
                <a:gd name="connsiteY511" fmla="*/ 1269234 h 5496197"/>
                <a:gd name="connsiteX512" fmla="*/ 523077 w 3791494"/>
                <a:gd name="connsiteY512" fmla="*/ 1274707 h 5496197"/>
                <a:gd name="connsiteX513" fmla="*/ 517566 w 3791494"/>
                <a:gd name="connsiteY513" fmla="*/ 1302147 h 5496197"/>
                <a:gd name="connsiteX514" fmla="*/ 506621 w 3791494"/>
                <a:gd name="connsiteY514" fmla="*/ 1313130 h 5496197"/>
                <a:gd name="connsiteX515" fmla="*/ 424302 w 3791494"/>
                <a:gd name="connsiteY515" fmla="*/ 1318603 h 5496197"/>
                <a:gd name="connsiteX516" fmla="*/ 424302 w 3791494"/>
                <a:gd name="connsiteY516" fmla="*/ 1313130 h 5496197"/>
                <a:gd name="connsiteX517" fmla="*/ 413318 w 3791494"/>
                <a:gd name="connsiteY517" fmla="*/ 1302147 h 5496197"/>
                <a:gd name="connsiteX518" fmla="*/ 402373 w 3791494"/>
                <a:gd name="connsiteY518" fmla="*/ 1302147 h 5496197"/>
                <a:gd name="connsiteX519" fmla="*/ 402373 w 3791494"/>
                <a:gd name="connsiteY519" fmla="*/ 1313130 h 5496197"/>
                <a:gd name="connsiteX520" fmla="*/ 396862 w 3791494"/>
                <a:gd name="connsiteY520" fmla="*/ 1313130 h 5496197"/>
                <a:gd name="connsiteX521" fmla="*/ 396862 w 3791494"/>
                <a:gd name="connsiteY521" fmla="*/ 1318603 h 5496197"/>
                <a:gd name="connsiteX522" fmla="*/ 374933 w 3791494"/>
                <a:gd name="connsiteY522" fmla="*/ 1324076 h 5496197"/>
                <a:gd name="connsiteX523" fmla="*/ 336510 w 3791494"/>
                <a:gd name="connsiteY523" fmla="*/ 1324076 h 5496197"/>
                <a:gd name="connsiteX524" fmla="*/ 320054 w 3791494"/>
                <a:gd name="connsiteY524" fmla="*/ 1313130 h 5496197"/>
                <a:gd name="connsiteX525" fmla="*/ 309108 w 3791494"/>
                <a:gd name="connsiteY525" fmla="*/ 1307619 h 5496197"/>
                <a:gd name="connsiteX526" fmla="*/ 298124 w 3791494"/>
                <a:gd name="connsiteY526" fmla="*/ 1291163 h 5496197"/>
                <a:gd name="connsiteX527" fmla="*/ 292652 w 3791494"/>
                <a:gd name="connsiteY527" fmla="*/ 1280218 h 5496197"/>
                <a:gd name="connsiteX528" fmla="*/ 281668 w 3791494"/>
                <a:gd name="connsiteY528" fmla="*/ 1274707 h 5496197"/>
                <a:gd name="connsiteX529" fmla="*/ 265212 w 3791494"/>
                <a:gd name="connsiteY529" fmla="*/ 1280218 h 5496197"/>
                <a:gd name="connsiteX530" fmla="*/ 259701 w 3791494"/>
                <a:gd name="connsiteY530" fmla="*/ 1280218 h 5496197"/>
                <a:gd name="connsiteX531" fmla="*/ 265212 w 3791494"/>
                <a:gd name="connsiteY531" fmla="*/ 1296674 h 5496197"/>
                <a:gd name="connsiteX532" fmla="*/ 276157 w 3791494"/>
                <a:gd name="connsiteY532" fmla="*/ 1313130 h 5496197"/>
                <a:gd name="connsiteX533" fmla="*/ 281668 w 3791494"/>
                <a:gd name="connsiteY533" fmla="*/ 1324076 h 5496197"/>
                <a:gd name="connsiteX534" fmla="*/ 276157 w 3791494"/>
                <a:gd name="connsiteY534" fmla="*/ 1346043 h 5496197"/>
                <a:gd name="connsiteX535" fmla="*/ 221316 w 3791494"/>
                <a:gd name="connsiteY535" fmla="*/ 1346043 h 5496197"/>
                <a:gd name="connsiteX536" fmla="*/ 204860 w 3791494"/>
                <a:gd name="connsiteY536" fmla="*/ 1340532 h 5496197"/>
                <a:gd name="connsiteX537" fmla="*/ 204860 w 3791494"/>
                <a:gd name="connsiteY537" fmla="*/ 1346043 h 5496197"/>
                <a:gd name="connsiteX538" fmla="*/ 193876 w 3791494"/>
                <a:gd name="connsiteY538" fmla="*/ 1357026 h 5496197"/>
                <a:gd name="connsiteX539" fmla="*/ 193876 w 3791494"/>
                <a:gd name="connsiteY539" fmla="*/ 1367972 h 5496197"/>
                <a:gd name="connsiteX540" fmla="*/ 199349 w 3791494"/>
                <a:gd name="connsiteY540" fmla="*/ 1378955 h 5496197"/>
                <a:gd name="connsiteX541" fmla="*/ 204860 w 3791494"/>
                <a:gd name="connsiteY541" fmla="*/ 1378955 h 5496197"/>
                <a:gd name="connsiteX542" fmla="*/ 210332 w 3791494"/>
                <a:gd name="connsiteY542" fmla="*/ 1384428 h 5496197"/>
                <a:gd name="connsiteX543" fmla="*/ 215805 w 3791494"/>
                <a:gd name="connsiteY543" fmla="*/ 1389939 h 5496197"/>
                <a:gd name="connsiteX544" fmla="*/ 215805 w 3791494"/>
                <a:gd name="connsiteY544" fmla="*/ 1395411 h 5496197"/>
                <a:gd name="connsiteX545" fmla="*/ 221316 w 3791494"/>
                <a:gd name="connsiteY545" fmla="*/ 1406395 h 5496197"/>
                <a:gd name="connsiteX546" fmla="*/ 221316 w 3791494"/>
                <a:gd name="connsiteY546" fmla="*/ 1411867 h 5496197"/>
                <a:gd name="connsiteX547" fmla="*/ 226788 w 3791494"/>
                <a:gd name="connsiteY547" fmla="*/ 1422851 h 5496197"/>
                <a:gd name="connsiteX548" fmla="*/ 226788 w 3791494"/>
                <a:gd name="connsiteY548" fmla="*/ 1428324 h 5496197"/>
                <a:gd name="connsiteX549" fmla="*/ 232299 w 3791494"/>
                <a:gd name="connsiteY549" fmla="*/ 1450291 h 5496197"/>
                <a:gd name="connsiteX550" fmla="*/ 237772 w 3791494"/>
                <a:gd name="connsiteY550" fmla="*/ 1488676 h 5496197"/>
                <a:gd name="connsiteX551" fmla="*/ 243244 w 3791494"/>
                <a:gd name="connsiteY551" fmla="*/ 1505132 h 5496197"/>
                <a:gd name="connsiteX552" fmla="*/ 237772 w 3791494"/>
                <a:gd name="connsiteY552" fmla="*/ 1516116 h 5496197"/>
                <a:gd name="connsiteX553" fmla="*/ 232299 w 3791494"/>
                <a:gd name="connsiteY553" fmla="*/ 1532572 h 5496197"/>
                <a:gd name="connsiteX554" fmla="*/ 232299 w 3791494"/>
                <a:gd name="connsiteY554" fmla="*/ 1560012 h 5496197"/>
                <a:gd name="connsiteX555" fmla="*/ 243245 w 3791494"/>
                <a:gd name="connsiteY555" fmla="*/ 1570995 h 5496197"/>
                <a:gd name="connsiteX556" fmla="*/ 259701 w 3791494"/>
                <a:gd name="connsiteY556" fmla="*/ 1565485 h 5496197"/>
                <a:gd name="connsiteX557" fmla="*/ 270684 w 3791494"/>
                <a:gd name="connsiteY557" fmla="*/ 1570995 h 5496197"/>
                <a:gd name="connsiteX558" fmla="*/ 270684 w 3791494"/>
                <a:gd name="connsiteY558" fmla="*/ 1592924 h 5496197"/>
                <a:gd name="connsiteX559" fmla="*/ 265212 w 3791494"/>
                <a:gd name="connsiteY559" fmla="*/ 1598397 h 5496197"/>
                <a:gd name="connsiteX560" fmla="*/ 254228 w 3791494"/>
                <a:gd name="connsiteY560" fmla="*/ 1603908 h 5496197"/>
                <a:gd name="connsiteX561" fmla="*/ 248756 w 3791494"/>
                <a:gd name="connsiteY561" fmla="*/ 1609381 h 5496197"/>
                <a:gd name="connsiteX562" fmla="*/ 232299 w 3791494"/>
                <a:gd name="connsiteY562" fmla="*/ 1636820 h 5496197"/>
                <a:gd name="connsiteX563" fmla="*/ 226789 w 3791494"/>
                <a:gd name="connsiteY563" fmla="*/ 1647804 h 5496197"/>
                <a:gd name="connsiteX564" fmla="*/ 215805 w 3791494"/>
                <a:gd name="connsiteY564" fmla="*/ 1653276 h 5496197"/>
                <a:gd name="connsiteX565" fmla="*/ 210332 w 3791494"/>
                <a:gd name="connsiteY565" fmla="*/ 1653276 h 5496197"/>
                <a:gd name="connsiteX566" fmla="*/ 199349 w 3791494"/>
                <a:gd name="connsiteY566" fmla="*/ 1647804 h 5496197"/>
                <a:gd name="connsiteX567" fmla="*/ 182892 w 3791494"/>
                <a:gd name="connsiteY567" fmla="*/ 1631348 h 5496197"/>
                <a:gd name="connsiteX568" fmla="*/ 171947 w 3791494"/>
                <a:gd name="connsiteY568" fmla="*/ 1625837 h 5496197"/>
                <a:gd name="connsiteX569" fmla="*/ 144507 w 3791494"/>
                <a:gd name="connsiteY569" fmla="*/ 1642293 h 5496197"/>
                <a:gd name="connsiteX570" fmla="*/ 149980 w 3791494"/>
                <a:gd name="connsiteY570" fmla="*/ 1664260 h 5496197"/>
                <a:gd name="connsiteX571" fmla="*/ 160963 w 3791494"/>
                <a:gd name="connsiteY571" fmla="*/ 1691700 h 5496197"/>
                <a:gd name="connsiteX572" fmla="*/ 166436 w 3791494"/>
                <a:gd name="connsiteY572" fmla="*/ 1702645 h 5496197"/>
                <a:gd name="connsiteX573" fmla="*/ 193876 w 3791494"/>
                <a:gd name="connsiteY573" fmla="*/ 1691700 h 5496197"/>
                <a:gd name="connsiteX574" fmla="*/ 215805 w 3791494"/>
                <a:gd name="connsiteY574" fmla="*/ 1691700 h 5496197"/>
                <a:gd name="connsiteX575" fmla="*/ 226788 w 3791494"/>
                <a:gd name="connsiteY575" fmla="*/ 1686189 h 5496197"/>
                <a:gd name="connsiteX576" fmla="*/ 309107 w 3791494"/>
                <a:gd name="connsiteY576" fmla="*/ 1625837 h 5496197"/>
                <a:gd name="connsiteX577" fmla="*/ 320052 w 3791494"/>
                <a:gd name="connsiteY577" fmla="*/ 1625837 h 5496197"/>
                <a:gd name="connsiteX578" fmla="*/ 325563 w 3791494"/>
                <a:gd name="connsiteY578" fmla="*/ 1631348 h 5496197"/>
                <a:gd name="connsiteX579" fmla="*/ 331036 w 3791494"/>
                <a:gd name="connsiteY579" fmla="*/ 1642293 h 5496197"/>
                <a:gd name="connsiteX580" fmla="*/ 336508 w 3791494"/>
                <a:gd name="connsiteY580" fmla="*/ 1647804 h 5496197"/>
                <a:gd name="connsiteX581" fmla="*/ 347492 w 3791494"/>
                <a:gd name="connsiteY581" fmla="*/ 1647804 h 5496197"/>
                <a:gd name="connsiteX582" fmla="*/ 363948 w 3791494"/>
                <a:gd name="connsiteY582" fmla="*/ 1642293 h 5496197"/>
                <a:gd name="connsiteX583" fmla="*/ 369459 w 3791494"/>
                <a:gd name="connsiteY583" fmla="*/ 1636820 h 5496197"/>
                <a:gd name="connsiteX584" fmla="*/ 413317 w 3791494"/>
                <a:gd name="connsiteY584" fmla="*/ 1647804 h 5496197"/>
                <a:gd name="connsiteX585" fmla="*/ 418828 w 3791494"/>
                <a:gd name="connsiteY585" fmla="*/ 1647804 h 5496197"/>
                <a:gd name="connsiteX586" fmla="*/ 424300 w 3791494"/>
                <a:gd name="connsiteY586" fmla="*/ 1642293 h 5496197"/>
                <a:gd name="connsiteX587" fmla="*/ 435284 w 3791494"/>
                <a:gd name="connsiteY587" fmla="*/ 1642293 h 5496197"/>
                <a:gd name="connsiteX588" fmla="*/ 451740 w 3791494"/>
                <a:gd name="connsiteY588" fmla="*/ 1658749 h 5496197"/>
                <a:gd name="connsiteX589" fmla="*/ 462724 w 3791494"/>
                <a:gd name="connsiteY589" fmla="*/ 1664260 h 5496197"/>
                <a:gd name="connsiteX590" fmla="*/ 473669 w 3791494"/>
                <a:gd name="connsiteY590" fmla="*/ 1664260 h 5496197"/>
                <a:gd name="connsiteX591" fmla="*/ 479180 w 3791494"/>
                <a:gd name="connsiteY591" fmla="*/ 1669733 h 5496197"/>
                <a:gd name="connsiteX592" fmla="*/ 484653 w 3791494"/>
                <a:gd name="connsiteY592" fmla="*/ 1675205 h 5496197"/>
                <a:gd name="connsiteX593" fmla="*/ 490125 w 3791494"/>
                <a:gd name="connsiteY593" fmla="*/ 1686189 h 5496197"/>
                <a:gd name="connsiteX594" fmla="*/ 490125 w 3791494"/>
                <a:gd name="connsiteY594" fmla="*/ 1713629 h 5496197"/>
                <a:gd name="connsiteX595" fmla="*/ 484653 w 3791494"/>
                <a:gd name="connsiteY595" fmla="*/ 1713629 h 5496197"/>
                <a:gd name="connsiteX596" fmla="*/ 479180 w 3791494"/>
                <a:gd name="connsiteY596" fmla="*/ 1719101 h 5496197"/>
                <a:gd name="connsiteX597" fmla="*/ 446268 w 3791494"/>
                <a:gd name="connsiteY597" fmla="*/ 1872721 h 5496197"/>
                <a:gd name="connsiteX598" fmla="*/ 440757 w 3791494"/>
                <a:gd name="connsiteY598" fmla="*/ 1900160 h 5496197"/>
                <a:gd name="connsiteX599" fmla="*/ 429811 w 3791494"/>
                <a:gd name="connsiteY599" fmla="*/ 1911144 h 5496197"/>
                <a:gd name="connsiteX600" fmla="*/ 413317 w 3791494"/>
                <a:gd name="connsiteY600" fmla="*/ 1927600 h 5496197"/>
                <a:gd name="connsiteX601" fmla="*/ 402372 w 3791494"/>
                <a:gd name="connsiteY601" fmla="*/ 1938584 h 5496197"/>
                <a:gd name="connsiteX602" fmla="*/ 396861 w 3791494"/>
                <a:gd name="connsiteY602" fmla="*/ 1949529 h 5496197"/>
                <a:gd name="connsiteX603" fmla="*/ 385915 w 3791494"/>
                <a:gd name="connsiteY603" fmla="*/ 1987953 h 5496197"/>
                <a:gd name="connsiteX604" fmla="*/ 342019 w 3791494"/>
                <a:gd name="connsiteY604" fmla="*/ 2059288 h 5496197"/>
                <a:gd name="connsiteX605" fmla="*/ 336508 w 3791494"/>
                <a:gd name="connsiteY605" fmla="*/ 2064760 h 5496197"/>
                <a:gd name="connsiteX606" fmla="*/ 325563 w 3791494"/>
                <a:gd name="connsiteY606" fmla="*/ 2070233 h 5496197"/>
                <a:gd name="connsiteX607" fmla="*/ 320052 w 3791494"/>
                <a:gd name="connsiteY607" fmla="*/ 2075744 h 5496197"/>
                <a:gd name="connsiteX608" fmla="*/ 320052 w 3791494"/>
                <a:gd name="connsiteY608" fmla="*/ 2086689 h 5496197"/>
                <a:gd name="connsiteX609" fmla="*/ 325563 w 3791494"/>
                <a:gd name="connsiteY609" fmla="*/ 2103184 h 5496197"/>
                <a:gd name="connsiteX610" fmla="*/ 320052 w 3791494"/>
                <a:gd name="connsiteY610" fmla="*/ 2114129 h 5496197"/>
                <a:gd name="connsiteX611" fmla="*/ 309107 w 3791494"/>
                <a:gd name="connsiteY611" fmla="*/ 2136096 h 5496197"/>
                <a:gd name="connsiteX612" fmla="*/ 303596 w 3791494"/>
                <a:gd name="connsiteY612" fmla="*/ 2141569 h 5496197"/>
                <a:gd name="connsiteX613" fmla="*/ 270683 w 3791494"/>
                <a:gd name="connsiteY613" fmla="*/ 2147041 h 5496197"/>
                <a:gd name="connsiteX614" fmla="*/ 270683 w 3791494"/>
                <a:gd name="connsiteY614" fmla="*/ 2169008 h 5496197"/>
                <a:gd name="connsiteX615" fmla="*/ 281667 w 3791494"/>
                <a:gd name="connsiteY615" fmla="*/ 2229361 h 5496197"/>
                <a:gd name="connsiteX616" fmla="*/ 281667 w 3791494"/>
                <a:gd name="connsiteY616" fmla="*/ 2262273 h 5496197"/>
                <a:gd name="connsiteX617" fmla="*/ 259700 w 3791494"/>
                <a:gd name="connsiteY617" fmla="*/ 2295186 h 5496197"/>
                <a:gd name="connsiteX618" fmla="*/ 248754 w 3791494"/>
                <a:gd name="connsiteY618" fmla="*/ 2322626 h 5496197"/>
                <a:gd name="connsiteX619" fmla="*/ 248754 w 3791494"/>
                <a:gd name="connsiteY619" fmla="*/ 2350065 h 5496197"/>
                <a:gd name="connsiteX620" fmla="*/ 259700 w 3791494"/>
                <a:gd name="connsiteY620" fmla="*/ 2371994 h 5496197"/>
                <a:gd name="connsiteX621" fmla="*/ 276156 w 3791494"/>
                <a:gd name="connsiteY621" fmla="*/ 2415891 h 5496197"/>
                <a:gd name="connsiteX622" fmla="*/ 292650 w 3791494"/>
                <a:gd name="connsiteY622" fmla="*/ 2437819 h 5496197"/>
                <a:gd name="connsiteX623" fmla="*/ 314579 w 3791494"/>
                <a:gd name="connsiteY623" fmla="*/ 2443330 h 5496197"/>
                <a:gd name="connsiteX624" fmla="*/ 352964 w 3791494"/>
                <a:gd name="connsiteY624" fmla="*/ 2454314 h 5496197"/>
                <a:gd name="connsiteX625" fmla="*/ 369459 w 3791494"/>
                <a:gd name="connsiteY625" fmla="*/ 2465259 h 5496197"/>
                <a:gd name="connsiteX626" fmla="*/ 391388 w 3791494"/>
                <a:gd name="connsiteY626" fmla="*/ 2465259 h 5496197"/>
                <a:gd name="connsiteX627" fmla="*/ 418828 w 3791494"/>
                <a:gd name="connsiteY627" fmla="*/ 2459787 h 5496197"/>
                <a:gd name="connsiteX628" fmla="*/ 429811 w 3791494"/>
                <a:gd name="connsiteY628" fmla="*/ 2459787 h 5496197"/>
                <a:gd name="connsiteX629" fmla="*/ 446268 w 3791494"/>
                <a:gd name="connsiteY629" fmla="*/ 2476243 h 5496197"/>
                <a:gd name="connsiteX630" fmla="*/ 462724 w 3791494"/>
                <a:gd name="connsiteY630" fmla="*/ 2498172 h 5496197"/>
                <a:gd name="connsiteX631" fmla="*/ 473669 w 3791494"/>
                <a:gd name="connsiteY631" fmla="*/ 2525612 h 5496197"/>
                <a:gd name="connsiteX632" fmla="*/ 473669 w 3791494"/>
                <a:gd name="connsiteY632" fmla="*/ 2553051 h 5496197"/>
                <a:gd name="connsiteX633" fmla="*/ 484653 w 3791494"/>
                <a:gd name="connsiteY633" fmla="*/ 2569508 h 5496197"/>
                <a:gd name="connsiteX634" fmla="*/ 501109 w 3791494"/>
                <a:gd name="connsiteY634" fmla="*/ 2585964 h 5496197"/>
                <a:gd name="connsiteX635" fmla="*/ 539532 w 3791494"/>
                <a:gd name="connsiteY635" fmla="*/ 2613404 h 5496197"/>
                <a:gd name="connsiteX636" fmla="*/ 550478 w 3791494"/>
                <a:gd name="connsiteY636" fmla="*/ 2624388 h 5496197"/>
                <a:gd name="connsiteX637" fmla="*/ 555989 w 3791494"/>
                <a:gd name="connsiteY637" fmla="*/ 2629860 h 5496197"/>
                <a:gd name="connsiteX638" fmla="*/ 561461 w 3791494"/>
                <a:gd name="connsiteY638" fmla="*/ 2624388 h 5496197"/>
                <a:gd name="connsiteX639" fmla="*/ 572445 w 3791494"/>
                <a:gd name="connsiteY639" fmla="*/ 2618877 h 5496197"/>
                <a:gd name="connsiteX640" fmla="*/ 577918 w 3791494"/>
                <a:gd name="connsiteY640" fmla="*/ 2618877 h 5496197"/>
                <a:gd name="connsiteX641" fmla="*/ 583428 w 3791494"/>
                <a:gd name="connsiteY641" fmla="*/ 2624388 h 5496197"/>
                <a:gd name="connsiteX642" fmla="*/ 588901 w 3791494"/>
                <a:gd name="connsiteY642" fmla="*/ 2646317 h 5496197"/>
                <a:gd name="connsiteX643" fmla="*/ 594374 w 3791494"/>
                <a:gd name="connsiteY643" fmla="*/ 2657300 h 5496197"/>
                <a:gd name="connsiteX644" fmla="*/ 605357 w 3791494"/>
                <a:gd name="connsiteY644" fmla="*/ 2668284 h 5496197"/>
                <a:gd name="connsiteX645" fmla="*/ 627286 w 3791494"/>
                <a:gd name="connsiteY645" fmla="*/ 2701196 h 5496197"/>
                <a:gd name="connsiteX646" fmla="*/ 660237 w 3791494"/>
                <a:gd name="connsiteY646" fmla="*/ 2717652 h 5496197"/>
                <a:gd name="connsiteX647" fmla="*/ 671182 w 3791494"/>
                <a:gd name="connsiteY647" fmla="*/ 2739581 h 5496197"/>
                <a:gd name="connsiteX648" fmla="*/ 682166 w 3791494"/>
                <a:gd name="connsiteY648" fmla="*/ 2745092 h 5496197"/>
                <a:gd name="connsiteX649" fmla="*/ 682166 w 3791494"/>
                <a:gd name="connsiteY649" fmla="*/ 2739581 h 5496197"/>
                <a:gd name="connsiteX650" fmla="*/ 687638 w 3791494"/>
                <a:gd name="connsiteY650" fmla="*/ 2734109 h 5496197"/>
                <a:gd name="connsiteX651" fmla="*/ 698622 w 3791494"/>
                <a:gd name="connsiteY651" fmla="*/ 2728636 h 5496197"/>
                <a:gd name="connsiteX652" fmla="*/ 709606 w 3791494"/>
                <a:gd name="connsiteY652" fmla="*/ 2739582 h 5496197"/>
                <a:gd name="connsiteX653" fmla="*/ 715078 w 3791494"/>
                <a:gd name="connsiteY653" fmla="*/ 2767021 h 5496197"/>
                <a:gd name="connsiteX654" fmla="*/ 709606 w 3791494"/>
                <a:gd name="connsiteY654" fmla="*/ 2783478 h 5496197"/>
                <a:gd name="connsiteX655" fmla="*/ 693149 w 3791494"/>
                <a:gd name="connsiteY655" fmla="*/ 2805445 h 5496197"/>
                <a:gd name="connsiteX656" fmla="*/ 654726 w 3791494"/>
                <a:gd name="connsiteY656" fmla="*/ 2832846 h 5496197"/>
                <a:gd name="connsiteX657" fmla="*/ 632797 w 3791494"/>
                <a:gd name="connsiteY657" fmla="*/ 2838357 h 5496197"/>
                <a:gd name="connsiteX658" fmla="*/ 610830 w 3791494"/>
                <a:gd name="connsiteY658" fmla="*/ 2838357 h 5496197"/>
                <a:gd name="connsiteX659" fmla="*/ 561461 w 3791494"/>
                <a:gd name="connsiteY659" fmla="*/ 2832846 h 5496197"/>
                <a:gd name="connsiteX660" fmla="*/ 512092 w 3791494"/>
                <a:gd name="connsiteY660" fmla="*/ 2838357 h 5496197"/>
                <a:gd name="connsiteX661" fmla="*/ 495636 w 3791494"/>
                <a:gd name="connsiteY661" fmla="*/ 2843830 h 5496197"/>
                <a:gd name="connsiteX662" fmla="*/ 484652 w 3791494"/>
                <a:gd name="connsiteY662" fmla="*/ 2843830 h 5496197"/>
                <a:gd name="connsiteX663" fmla="*/ 473669 w 3791494"/>
                <a:gd name="connsiteY663" fmla="*/ 2838357 h 5496197"/>
                <a:gd name="connsiteX664" fmla="*/ 446267 w 3791494"/>
                <a:gd name="connsiteY664" fmla="*/ 2816390 h 5496197"/>
                <a:gd name="connsiteX665" fmla="*/ 424300 w 3791494"/>
                <a:gd name="connsiteY665" fmla="*/ 2799934 h 5496197"/>
                <a:gd name="connsiteX666" fmla="*/ 413316 w 3791494"/>
                <a:gd name="connsiteY666" fmla="*/ 2794461 h 5496197"/>
                <a:gd name="connsiteX667" fmla="*/ 402371 w 3791494"/>
                <a:gd name="connsiteY667" fmla="*/ 2794461 h 5496197"/>
                <a:gd name="connsiteX668" fmla="*/ 380404 w 3791494"/>
                <a:gd name="connsiteY668" fmla="*/ 2799934 h 5496197"/>
                <a:gd name="connsiteX669" fmla="*/ 374931 w 3791494"/>
                <a:gd name="connsiteY669" fmla="*/ 2805445 h 5496197"/>
                <a:gd name="connsiteX670" fmla="*/ 369459 w 3791494"/>
                <a:gd name="connsiteY670" fmla="*/ 2816390 h 5496197"/>
                <a:gd name="connsiteX671" fmla="*/ 369459 w 3791494"/>
                <a:gd name="connsiteY671" fmla="*/ 2827374 h 5496197"/>
                <a:gd name="connsiteX672" fmla="*/ 374931 w 3791494"/>
                <a:gd name="connsiteY672" fmla="*/ 2843830 h 5496197"/>
                <a:gd name="connsiteX673" fmla="*/ 369459 w 3791494"/>
                <a:gd name="connsiteY673" fmla="*/ 2854814 h 5496197"/>
                <a:gd name="connsiteX674" fmla="*/ 358475 w 3791494"/>
                <a:gd name="connsiteY674" fmla="*/ 2865797 h 5496197"/>
                <a:gd name="connsiteX675" fmla="*/ 369459 w 3791494"/>
                <a:gd name="connsiteY675" fmla="*/ 2871270 h 5496197"/>
                <a:gd name="connsiteX676" fmla="*/ 402371 w 3791494"/>
                <a:gd name="connsiteY676" fmla="*/ 2893199 h 5496197"/>
                <a:gd name="connsiteX677" fmla="*/ 429811 w 3791494"/>
                <a:gd name="connsiteY677" fmla="*/ 2931622 h 5496197"/>
                <a:gd name="connsiteX678" fmla="*/ 479180 w 3791494"/>
                <a:gd name="connsiteY678" fmla="*/ 3008430 h 5496197"/>
                <a:gd name="connsiteX679" fmla="*/ 572444 w 3791494"/>
                <a:gd name="connsiteY679" fmla="*/ 3112681 h 5496197"/>
                <a:gd name="connsiteX680" fmla="*/ 588900 w 3791494"/>
                <a:gd name="connsiteY680" fmla="*/ 3151066 h 5496197"/>
                <a:gd name="connsiteX681" fmla="*/ 610829 w 3791494"/>
                <a:gd name="connsiteY681" fmla="*/ 3222401 h 5496197"/>
                <a:gd name="connsiteX682" fmla="*/ 610829 w 3791494"/>
                <a:gd name="connsiteY682" fmla="*/ 3255314 h 5496197"/>
                <a:gd name="connsiteX683" fmla="*/ 588900 w 3791494"/>
                <a:gd name="connsiteY683" fmla="*/ 3277281 h 5496197"/>
                <a:gd name="connsiteX684" fmla="*/ 588900 w 3791494"/>
                <a:gd name="connsiteY684" fmla="*/ 3293737 h 5496197"/>
                <a:gd name="connsiteX685" fmla="*/ 583427 w 3791494"/>
                <a:gd name="connsiteY685" fmla="*/ 3310193 h 5496197"/>
                <a:gd name="connsiteX686" fmla="*/ 583427 w 3791494"/>
                <a:gd name="connsiteY686" fmla="*/ 3332123 h 5496197"/>
                <a:gd name="connsiteX687" fmla="*/ 588900 w 3791494"/>
                <a:gd name="connsiteY687" fmla="*/ 3343106 h 5496197"/>
                <a:gd name="connsiteX688" fmla="*/ 599884 w 3791494"/>
                <a:gd name="connsiteY688" fmla="*/ 3354090 h 5496197"/>
                <a:gd name="connsiteX689" fmla="*/ 594373 w 3791494"/>
                <a:gd name="connsiteY689" fmla="*/ 3359562 h 5496197"/>
                <a:gd name="connsiteX690" fmla="*/ 588900 w 3791494"/>
                <a:gd name="connsiteY690" fmla="*/ 3365035 h 5496197"/>
                <a:gd name="connsiteX691" fmla="*/ 555988 w 3791494"/>
                <a:gd name="connsiteY691" fmla="*/ 3348578 h 5496197"/>
                <a:gd name="connsiteX692" fmla="*/ 545004 w 3791494"/>
                <a:gd name="connsiteY692" fmla="*/ 3348578 h 5496197"/>
                <a:gd name="connsiteX693" fmla="*/ 534020 w 3791494"/>
                <a:gd name="connsiteY693" fmla="*/ 3381491 h 5496197"/>
                <a:gd name="connsiteX694" fmla="*/ 523075 w 3791494"/>
                <a:gd name="connsiteY694" fmla="*/ 3387002 h 5496197"/>
                <a:gd name="connsiteX695" fmla="*/ 517564 w 3791494"/>
                <a:gd name="connsiteY695" fmla="*/ 3376018 h 5496197"/>
                <a:gd name="connsiteX696" fmla="*/ 512092 w 3791494"/>
                <a:gd name="connsiteY696" fmla="*/ 3359562 h 5496197"/>
                <a:gd name="connsiteX697" fmla="*/ 495635 w 3791494"/>
                <a:gd name="connsiteY697" fmla="*/ 3332122 h 5496197"/>
                <a:gd name="connsiteX698" fmla="*/ 484652 w 3791494"/>
                <a:gd name="connsiteY698" fmla="*/ 3310193 h 5496197"/>
                <a:gd name="connsiteX699" fmla="*/ 468196 w 3791494"/>
                <a:gd name="connsiteY699" fmla="*/ 3304682 h 5496197"/>
                <a:gd name="connsiteX700" fmla="*/ 457212 w 3791494"/>
                <a:gd name="connsiteY700" fmla="*/ 3304682 h 5496197"/>
                <a:gd name="connsiteX701" fmla="*/ 435283 w 3791494"/>
                <a:gd name="connsiteY701" fmla="*/ 3321139 h 5496197"/>
                <a:gd name="connsiteX702" fmla="*/ 424299 w 3791494"/>
                <a:gd name="connsiteY702" fmla="*/ 3332122 h 5496197"/>
                <a:gd name="connsiteX703" fmla="*/ 418827 w 3791494"/>
                <a:gd name="connsiteY703" fmla="*/ 3332122 h 5496197"/>
                <a:gd name="connsiteX704" fmla="*/ 391387 w 3791494"/>
                <a:gd name="connsiteY704" fmla="*/ 3326650 h 5496197"/>
                <a:gd name="connsiteX705" fmla="*/ 369458 w 3791494"/>
                <a:gd name="connsiteY705" fmla="*/ 3348579 h 5496197"/>
                <a:gd name="connsiteX706" fmla="*/ 363947 w 3791494"/>
                <a:gd name="connsiteY706" fmla="*/ 3381491 h 5496197"/>
                <a:gd name="connsiteX707" fmla="*/ 352964 w 3791494"/>
                <a:gd name="connsiteY707" fmla="*/ 3403458 h 5496197"/>
                <a:gd name="connsiteX708" fmla="*/ 331035 w 3791494"/>
                <a:gd name="connsiteY708" fmla="*/ 3403458 h 5496197"/>
                <a:gd name="connsiteX709" fmla="*/ 314578 w 3791494"/>
                <a:gd name="connsiteY709" fmla="*/ 3430898 h 5496197"/>
                <a:gd name="connsiteX710" fmla="*/ 314578 w 3791494"/>
                <a:gd name="connsiteY710" fmla="*/ 3463811 h 5496197"/>
                <a:gd name="connsiteX711" fmla="*/ 320051 w 3791494"/>
                <a:gd name="connsiteY711" fmla="*/ 3485740 h 5496197"/>
                <a:gd name="connsiteX712" fmla="*/ 325562 w 3791494"/>
                <a:gd name="connsiteY712" fmla="*/ 3496723 h 5496197"/>
                <a:gd name="connsiteX713" fmla="*/ 342018 w 3791494"/>
                <a:gd name="connsiteY713" fmla="*/ 3507707 h 5496197"/>
                <a:gd name="connsiteX714" fmla="*/ 352963 w 3791494"/>
                <a:gd name="connsiteY714" fmla="*/ 3518652 h 5496197"/>
                <a:gd name="connsiteX715" fmla="*/ 479180 w 3791494"/>
                <a:gd name="connsiteY715" fmla="*/ 3579004 h 5496197"/>
                <a:gd name="connsiteX716" fmla="*/ 495636 w 3791494"/>
                <a:gd name="connsiteY716" fmla="*/ 3589988 h 5496197"/>
                <a:gd name="connsiteX717" fmla="*/ 534021 w 3791494"/>
                <a:gd name="connsiteY717" fmla="*/ 3644868 h 5496197"/>
                <a:gd name="connsiteX718" fmla="*/ 539532 w 3791494"/>
                <a:gd name="connsiteY718" fmla="*/ 3650340 h 5496197"/>
                <a:gd name="connsiteX719" fmla="*/ 583428 w 3791494"/>
                <a:gd name="connsiteY719" fmla="*/ 3699709 h 5496197"/>
                <a:gd name="connsiteX720" fmla="*/ 594374 w 3791494"/>
                <a:gd name="connsiteY720" fmla="*/ 3716165 h 5496197"/>
                <a:gd name="connsiteX721" fmla="*/ 610830 w 3791494"/>
                <a:gd name="connsiteY721" fmla="*/ 3754589 h 5496197"/>
                <a:gd name="connsiteX722" fmla="*/ 654726 w 3791494"/>
                <a:gd name="connsiteY722" fmla="*/ 3798485 h 5496197"/>
                <a:gd name="connsiteX723" fmla="*/ 665710 w 3791494"/>
                <a:gd name="connsiteY723" fmla="*/ 3809430 h 5496197"/>
                <a:gd name="connsiteX724" fmla="*/ 682166 w 3791494"/>
                <a:gd name="connsiteY724" fmla="*/ 3831397 h 5496197"/>
                <a:gd name="connsiteX725" fmla="*/ 698622 w 3791494"/>
                <a:gd name="connsiteY725" fmla="*/ 3847854 h 5496197"/>
                <a:gd name="connsiteX726" fmla="*/ 715079 w 3791494"/>
                <a:gd name="connsiteY726" fmla="*/ 3858837 h 5496197"/>
                <a:gd name="connsiteX727" fmla="*/ 731535 w 3791494"/>
                <a:gd name="connsiteY727" fmla="*/ 3858837 h 5496197"/>
                <a:gd name="connsiteX728" fmla="*/ 758975 w 3791494"/>
                <a:gd name="connsiteY728" fmla="*/ 3869783 h 5496197"/>
                <a:gd name="connsiteX729" fmla="*/ 791887 w 3791494"/>
                <a:gd name="connsiteY729" fmla="*/ 3869783 h 5496197"/>
                <a:gd name="connsiteX730" fmla="*/ 791887 w 3791494"/>
                <a:gd name="connsiteY730" fmla="*/ 3864310 h 5496197"/>
                <a:gd name="connsiteX731" fmla="*/ 797398 w 3791494"/>
                <a:gd name="connsiteY731" fmla="*/ 3858837 h 5496197"/>
                <a:gd name="connsiteX732" fmla="*/ 802871 w 3791494"/>
                <a:gd name="connsiteY732" fmla="*/ 3858837 h 5496197"/>
                <a:gd name="connsiteX733" fmla="*/ 830311 w 3791494"/>
                <a:gd name="connsiteY733" fmla="*/ 3908206 h 5496197"/>
                <a:gd name="connsiteX734" fmla="*/ 846767 w 3791494"/>
                <a:gd name="connsiteY734" fmla="*/ 3930135 h 5496197"/>
                <a:gd name="connsiteX735" fmla="*/ 852239 w 3791494"/>
                <a:gd name="connsiteY735" fmla="*/ 3935646 h 5496197"/>
                <a:gd name="connsiteX736" fmla="*/ 868696 w 3791494"/>
                <a:gd name="connsiteY736" fmla="*/ 3946591 h 5496197"/>
                <a:gd name="connsiteX737" fmla="*/ 885152 w 3791494"/>
                <a:gd name="connsiteY737" fmla="*/ 3952102 h 5496197"/>
                <a:gd name="connsiteX738" fmla="*/ 918103 w 3791494"/>
                <a:gd name="connsiteY738" fmla="*/ 3957575 h 5496197"/>
                <a:gd name="connsiteX739" fmla="*/ 951015 w 3791494"/>
                <a:gd name="connsiteY739" fmla="*/ 3952102 h 5496197"/>
                <a:gd name="connsiteX740" fmla="*/ 956488 w 3791494"/>
                <a:gd name="connsiteY740" fmla="*/ 3946591 h 5496197"/>
                <a:gd name="connsiteX741" fmla="*/ 978455 w 3791494"/>
                <a:gd name="connsiteY741" fmla="*/ 3924663 h 5496197"/>
                <a:gd name="connsiteX742" fmla="*/ 989400 w 3791494"/>
                <a:gd name="connsiteY742" fmla="*/ 3919190 h 5496197"/>
                <a:gd name="connsiteX743" fmla="*/ 1000384 w 3791494"/>
                <a:gd name="connsiteY743" fmla="*/ 3924663 h 5496197"/>
                <a:gd name="connsiteX744" fmla="*/ 1005856 w 3791494"/>
                <a:gd name="connsiteY744" fmla="*/ 3935646 h 5496197"/>
                <a:gd name="connsiteX745" fmla="*/ 1011367 w 3791494"/>
                <a:gd name="connsiteY745" fmla="*/ 3946591 h 5496197"/>
                <a:gd name="connsiteX746" fmla="*/ 1022313 w 3791494"/>
                <a:gd name="connsiteY746" fmla="*/ 3957575 h 5496197"/>
                <a:gd name="connsiteX747" fmla="*/ 1027824 w 3791494"/>
                <a:gd name="connsiteY747" fmla="*/ 3968559 h 5496197"/>
                <a:gd name="connsiteX748" fmla="*/ 1082665 w 3791494"/>
                <a:gd name="connsiteY748" fmla="*/ 4006944 h 5496197"/>
                <a:gd name="connsiteX749" fmla="*/ 1170456 w 3791494"/>
                <a:gd name="connsiteY749" fmla="*/ 4094735 h 5496197"/>
                <a:gd name="connsiteX750" fmla="*/ 1192423 w 3791494"/>
                <a:gd name="connsiteY750" fmla="*/ 4100246 h 5496197"/>
                <a:gd name="connsiteX751" fmla="*/ 1236281 w 3791494"/>
                <a:gd name="connsiteY751" fmla="*/ 4105718 h 5496197"/>
                <a:gd name="connsiteX752" fmla="*/ 1241792 w 3791494"/>
                <a:gd name="connsiteY752" fmla="*/ 4105718 h 5496197"/>
                <a:gd name="connsiteX753" fmla="*/ 1269232 w 3791494"/>
                <a:gd name="connsiteY753" fmla="*/ 4116702 h 5496197"/>
                <a:gd name="connsiteX754" fmla="*/ 1302145 w 3791494"/>
                <a:gd name="connsiteY754" fmla="*/ 4144104 h 5496197"/>
                <a:gd name="connsiteX755" fmla="*/ 1318601 w 3791494"/>
                <a:gd name="connsiteY755" fmla="*/ 4155087 h 5496197"/>
                <a:gd name="connsiteX756" fmla="*/ 1367969 w 3791494"/>
                <a:gd name="connsiteY756" fmla="*/ 4177054 h 5496197"/>
                <a:gd name="connsiteX757" fmla="*/ 1373442 w 3791494"/>
                <a:gd name="connsiteY757" fmla="*/ 4182527 h 5496197"/>
                <a:gd name="connsiteX758" fmla="*/ 1389937 w 3791494"/>
                <a:gd name="connsiteY758" fmla="*/ 4198983 h 5496197"/>
                <a:gd name="connsiteX759" fmla="*/ 1389937 w 3791494"/>
                <a:gd name="connsiteY759" fmla="*/ 4231896 h 5496197"/>
                <a:gd name="connsiteX760" fmla="*/ 1384426 w 3791494"/>
                <a:gd name="connsiteY760" fmla="*/ 4275792 h 5496197"/>
                <a:gd name="connsiteX761" fmla="*/ 1378953 w 3791494"/>
                <a:gd name="connsiteY761" fmla="*/ 4275792 h 5496197"/>
                <a:gd name="connsiteX762" fmla="*/ 1307618 w 3791494"/>
                <a:gd name="connsiteY762" fmla="*/ 4292248 h 5496197"/>
                <a:gd name="connsiteX763" fmla="*/ 1269233 w 3791494"/>
                <a:gd name="connsiteY763" fmla="*/ 4303232 h 5496197"/>
                <a:gd name="connsiteX764" fmla="*/ 1263722 w 3791494"/>
                <a:gd name="connsiteY764" fmla="*/ 4308704 h 5496197"/>
                <a:gd name="connsiteX765" fmla="*/ 1258249 w 3791494"/>
                <a:gd name="connsiteY765" fmla="*/ 4325161 h 5496197"/>
                <a:gd name="connsiteX766" fmla="*/ 1252777 w 3791494"/>
                <a:gd name="connsiteY766" fmla="*/ 4336144 h 5496197"/>
                <a:gd name="connsiteX767" fmla="*/ 1258249 w 3791494"/>
                <a:gd name="connsiteY767" fmla="*/ 4347128 h 5496197"/>
                <a:gd name="connsiteX768" fmla="*/ 1252777 w 3791494"/>
                <a:gd name="connsiteY768" fmla="*/ 4358073 h 5496197"/>
                <a:gd name="connsiteX769" fmla="*/ 1230810 w 3791494"/>
                <a:gd name="connsiteY769" fmla="*/ 4385513 h 5496197"/>
                <a:gd name="connsiteX770" fmla="*/ 1203370 w 3791494"/>
                <a:gd name="connsiteY770" fmla="*/ 4374568 h 5496197"/>
                <a:gd name="connsiteX771" fmla="*/ 1164985 w 3791494"/>
                <a:gd name="connsiteY771" fmla="*/ 4352601 h 5496197"/>
                <a:gd name="connsiteX772" fmla="*/ 1132072 w 3791494"/>
                <a:gd name="connsiteY772" fmla="*/ 4347128 h 5496197"/>
                <a:gd name="connsiteX773" fmla="*/ 1126561 w 3791494"/>
                <a:gd name="connsiteY773" fmla="*/ 4352601 h 5496197"/>
                <a:gd name="connsiteX774" fmla="*/ 1099122 w 3791494"/>
                <a:gd name="connsiteY774" fmla="*/ 4374568 h 5496197"/>
                <a:gd name="connsiteX775" fmla="*/ 1088176 w 3791494"/>
                <a:gd name="connsiteY775" fmla="*/ 4385513 h 5496197"/>
                <a:gd name="connsiteX776" fmla="*/ 1088176 w 3791494"/>
                <a:gd name="connsiteY776" fmla="*/ 4412953 h 5496197"/>
                <a:gd name="connsiteX777" fmla="*/ 1099122 w 3791494"/>
                <a:gd name="connsiteY777" fmla="*/ 4429409 h 5496197"/>
                <a:gd name="connsiteX778" fmla="*/ 1148528 w 3791494"/>
                <a:gd name="connsiteY778" fmla="*/ 4478778 h 5496197"/>
                <a:gd name="connsiteX779" fmla="*/ 1159474 w 3791494"/>
                <a:gd name="connsiteY779" fmla="*/ 4495234 h 5496197"/>
                <a:gd name="connsiteX780" fmla="*/ 1148528 w 3791494"/>
                <a:gd name="connsiteY780" fmla="*/ 4528185 h 5496197"/>
                <a:gd name="connsiteX781" fmla="*/ 1137545 w 3791494"/>
                <a:gd name="connsiteY781" fmla="*/ 4550114 h 5496197"/>
                <a:gd name="connsiteX782" fmla="*/ 1132072 w 3791494"/>
                <a:gd name="connsiteY782" fmla="*/ 4561098 h 5496197"/>
                <a:gd name="connsiteX783" fmla="*/ 1132072 w 3791494"/>
                <a:gd name="connsiteY783" fmla="*/ 4610466 h 5496197"/>
                <a:gd name="connsiteX784" fmla="*/ 1121089 w 3791494"/>
                <a:gd name="connsiteY784" fmla="*/ 4626922 h 5496197"/>
                <a:gd name="connsiteX785" fmla="*/ 1143018 w 3791494"/>
                <a:gd name="connsiteY785" fmla="*/ 4648890 h 5496197"/>
                <a:gd name="connsiteX786" fmla="*/ 1186914 w 3791494"/>
                <a:gd name="connsiteY786" fmla="*/ 4676291 h 5496197"/>
                <a:gd name="connsiteX787" fmla="*/ 1203370 w 3791494"/>
                <a:gd name="connsiteY787" fmla="*/ 4692748 h 5496197"/>
                <a:gd name="connsiteX788" fmla="*/ 1225337 w 3791494"/>
                <a:gd name="connsiteY788" fmla="*/ 4758611 h 5496197"/>
                <a:gd name="connsiteX789" fmla="*/ 1230810 w 3791494"/>
                <a:gd name="connsiteY789" fmla="*/ 4764083 h 5496197"/>
                <a:gd name="connsiteX790" fmla="*/ 1247266 w 3791494"/>
                <a:gd name="connsiteY790" fmla="*/ 4775067 h 5496197"/>
                <a:gd name="connsiteX791" fmla="*/ 1252777 w 3791494"/>
                <a:gd name="connsiteY791" fmla="*/ 4786051 h 5496197"/>
                <a:gd name="connsiteX792" fmla="*/ 1252777 w 3791494"/>
                <a:gd name="connsiteY792" fmla="*/ 4791523 h 5496197"/>
                <a:gd name="connsiteX793" fmla="*/ 1241793 w 3791494"/>
                <a:gd name="connsiteY793" fmla="*/ 4807979 h 5496197"/>
                <a:gd name="connsiteX794" fmla="*/ 1241793 w 3791494"/>
                <a:gd name="connsiteY794" fmla="*/ 4818963 h 5496197"/>
                <a:gd name="connsiteX795" fmla="*/ 1269233 w 3791494"/>
                <a:gd name="connsiteY795" fmla="*/ 4846403 h 5496197"/>
                <a:gd name="connsiteX796" fmla="*/ 1269233 w 3791494"/>
                <a:gd name="connsiteY796" fmla="*/ 4879315 h 5496197"/>
                <a:gd name="connsiteX797" fmla="*/ 1280178 w 3791494"/>
                <a:gd name="connsiteY797" fmla="*/ 4901244 h 5496197"/>
                <a:gd name="connsiteX798" fmla="*/ 1285689 w 3791494"/>
                <a:gd name="connsiteY798" fmla="*/ 4912228 h 5496197"/>
                <a:gd name="connsiteX799" fmla="*/ 1373442 w 3791494"/>
                <a:gd name="connsiteY799" fmla="*/ 4912228 h 5496197"/>
                <a:gd name="connsiteX800" fmla="*/ 1488677 w 3791494"/>
                <a:gd name="connsiteY800" fmla="*/ 4994508 h 5496197"/>
                <a:gd name="connsiteX801" fmla="*/ 1510605 w 3791494"/>
                <a:gd name="connsiteY801" fmla="*/ 5021948 h 5496197"/>
                <a:gd name="connsiteX802" fmla="*/ 1527100 w 3791494"/>
                <a:gd name="connsiteY802" fmla="*/ 5043877 h 5496197"/>
                <a:gd name="connsiteX803" fmla="*/ 1560012 w 3791494"/>
                <a:gd name="connsiteY803" fmla="*/ 5120724 h 5496197"/>
                <a:gd name="connsiteX804" fmla="*/ 1570958 w 3791494"/>
                <a:gd name="connsiteY804" fmla="*/ 5148125 h 5496197"/>
                <a:gd name="connsiteX805" fmla="*/ 1570958 w 3791494"/>
                <a:gd name="connsiteY805" fmla="*/ 5208478 h 5496197"/>
                <a:gd name="connsiteX806" fmla="*/ 1576469 w 3791494"/>
                <a:gd name="connsiteY806" fmla="*/ 5235918 h 5496197"/>
                <a:gd name="connsiteX807" fmla="*/ 1609381 w 3791494"/>
                <a:gd name="connsiteY807" fmla="*/ 5307252 h 5496197"/>
                <a:gd name="connsiteX808" fmla="*/ 1609381 w 3791494"/>
                <a:gd name="connsiteY808" fmla="*/ 5334692 h 5496197"/>
                <a:gd name="connsiteX809" fmla="*/ 1614854 w 3791494"/>
                <a:gd name="connsiteY809" fmla="*/ 5351149 h 5496197"/>
                <a:gd name="connsiteX810" fmla="*/ 1614854 w 3791494"/>
                <a:gd name="connsiteY810" fmla="*/ 5367605 h 5496197"/>
                <a:gd name="connsiteX811" fmla="*/ 1609381 w 3791494"/>
                <a:gd name="connsiteY811" fmla="*/ 5389534 h 5496197"/>
                <a:gd name="connsiteX812" fmla="*/ 1598398 w 3791494"/>
                <a:gd name="connsiteY812" fmla="*/ 5395045 h 5496197"/>
                <a:gd name="connsiteX813" fmla="*/ 1592925 w 3791494"/>
                <a:gd name="connsiteY813" fmla="*/ 5400517 h 5496197"/>
                <a:gd name="connsiteX814" fmla="*/ 1587414 w 3791494"/>
                <a:gd name="connsiteY814" fmla="*/ 5411501 h 5496197"/>
                <a:gd name="connsiteX815" fmla="*/ 1581941 w 3791494"/>
                <a:gd name="connsiteY815" fmla="*/ 5422446 h 5496197"/>
                <a:gd name="connsiteX816" fmla="*/ 1581941 w 3791494"/>
                <a:gd name="connsiteY816" fmla="*/ 5433430 h 5496197"/>
                <a:gd name="connsiteX817" fmla="*/ 1587414 w 3791494"/>
                <a:gd name="connsiteY817" fmla="*/ 5449886 h 5496197"/>
                <a:gd name="connsiteX818" fmla="*/ 1587414 w 3791494"/>
                <a:gd name="connsiteY818" fmla="*/ 5455359 h 5496197"/>
                <a:gd name="connsiteX819" fmla="*/ 1620365 w 3791494"/>
                <a:gd name="connsiteY819" fmla="*/ 5488309 h 5496197"/>
                <a:gd name="connsiteX820" fmla="*/ 1631310 w 3791494"/>
                <a:gd name="connsiteY820" fmla="*/ 5482799 h 5496197"/>
                <a:gd name="connsiteX821" fmla="*/ 1642294 w 3791494"/>
                <a:gd name="connsiteY821" fmla="*/ 5477326 h 5496197"/>
                <a:gd name="connsiteX822" fmla="*/ 1647766 w 3791494"/>
                <a:gd name="connsiteY822" fmla="*/ 5460870 h 5496197"/>
                <a:gd name="connsiteX823" fmla="*/ 1658750 w 3791494"/>
                <a:gd name="connsiteY823" fmla="*/ 5455359 h 5496197"/>
                <a:gd name="connsiteX824" fmla="*/ 1664261 w 3791494"/>
                <a:gd name="connsiteY824" fmla="*/ 5460870 h 5496197"/>
                <a:gd name="connsiteX825" fmla="*/ 1680717 w 3791494"/>
                <a:gd name="connsiteY825" fmla="*/ 5488309 h 5496197"/>
                <a:gd name="connsiteX826" fmla="*/ 1691662 w 3791494"/>
                <a:gd name="connsiteY826" fmla="*/ 5493782 h 5496197"/>
                <a:gd name="connsiteX827" fmla="*/ 1708119 w 3791494"/>
                <a:gd name="connsiteY827" fmla="*/ 5488309 h 5496197"/>
                <a:gd name="connsiteX828" fmla="*/ 1730086 w 3791494"/>
                <a:gd name="connsiteY828" fmla="*/ 5466342 h 5496197"/>
                <a:gd name="connsiteX829" fmla="*/ 1741070 w 3791494"/>
                <a:gd name="connsiteY829" fmla="*/ 5438903 h 5496197"/>
                <a:gd name="connsiteX830" fmla="*/ 1752015 w 3791494"/>
                <a:gd name="connsiteY830" fmla="*/ 5416973 h 5496197"/>
                <a:gd name="connsiteX831" fmla="*/ 1757526 w 3791494"/>
                <a:gd name="connsiteY831" fmla="*/ 5389534 h 5496197"/>
                <a:gd name="connsiteX832" fmla="*/ 1746542 w 3791494"/>
                <a:gd name="connsiteY832" fmla="*/ 5340165 h 5496197"/>
                <a:gd name="connsiteX833" fmla="*/ 1746542 w 3791494"/>
                <a:gd name="connsiteY833" fmla="*/ 5312725 h 5496197"/>
                <a:gd name="connsiteX834" fmla="*/ 1757526 w 3791494"/>
                <a:gd name="connsiteY834" fmla="*/ 5252373 h 5496197"/>
                <a:gd name="connsiteX835" fmla="*/ 1768471 w 3791494"/>
                <a:gd name="connsiteY835" fmla="*/ 5224933 h 5496197"/>
                <a:gd name="connsiteX836" fmla="*/ 1784927 w 3791494"/>
                <a:gd name="connsiteY836" fmla="*/ 5203004 h 5496197"/>
                <a:gd name="connsiteX837" fmla="*/ 1806895 w 3791494"/>
                <a:gd name="connsiteY837" fmla="*/ 5186548 h 5496197"/>
                <a:gd name="connsiteX838" fmla="*/ 1982440 w 3791494"/>
                <a:gd name="connsiteY838" fmla="*/ 5126195 h 5496197"/>
                <a:gd name="connsiteX839" fmla="*/ 2004407 w 3791494"/>
                <a:gd name="connsiteY839" fmla="*/ 5115212 h 5496197"/>
                <a:gd name="connsiteX840" fmla="*/ 2048303 w 3791494"/>
                <a:gd name="connsiteY840" fmla="*/ 5076826 h 5496197"/>
                <a:gd name="connsiteX841" fmla="*/ 2070232 w 3791494"/>
                <a:gd name="connsiteY841" fmla="*/ 5060370 h 5496197"/>
                <a:gd name="connsiteX842" fmla="*/ 2075743 w 3791494"/>
                <a:gd name="connsiteY842" fmla="*/ 5060370 h 5496197"/>
                <a:gd name="connsiteX843" fmla="*/ 2081215 w 3791494"/>
                <a:gd name="connsiteY843" fmla="*/ 5065843 h 5496197"/>
                <a:gd name="connsiteX844" fmla="*/ 2092199 w 3791494"/>
                <a:gd name="connsiteY844" fmla="*/ 5071316 h 5496197"/>
                <a:gd name="connsiteX845" fmla="*/ 2130584 w 3791494"/>
                <a:gd name="connsiteY845" fmla="*/ 5098755 h 5496197"/>
                <a:gd name="connsiteX846" fmla="*/ 2163497 w 3791494"/>
                <a:gd name="connsiteY846" fmla="*/ 5131668 h 5496197"/>
                <a:gd name="connsiteX847" fmla="*/ 2174480 w 3791494"/>
                <a:gd name="connsiteY847" fmla="*/ 5153635 h 5496197"/>
                <a:gd name="connsiteX848" fmla="*/ 2185464 w 3791494"/>
                <a:gd name="connsiteY848" fmla="*/ 5170091 h 5496197"/>
                <a:gd name="connsiteX849" fmla="*/ 2196409 w 3791494"/>
                <a:gd name="connsiteY849" fmla="*/ 5181036 h 5496197"/>
                <a:gd name="connsiteX850" fmla="*/ 2240305 w 3791494"/>
                <a:gd name="connsiteY850" fmla="*/ 5192020 h 5496197"/>
                <a:gd name="connsiteX851" fmla="*/ 2251289 w 3791494"/>
                <a:gd name="connsiteY851" fmla="*/ 5192020 h 5496197"/>
                <a:gd name="connsiteX852" fmla="*/ 2251289 w 3791494"/>
                <a:gd name="connsiteY852" fmla="*/ 5137179 h 5496197"/>
                <a:gd name="connsiteX853" fmla="*/ 2245816 w 3791494"/>
                <a:gd name="connsiteY853" fmla="*/ 5126195 h 5496197"/>
                <a:gd name="connsiteX854" fmla="*/ 2245816 w 3791494"/>
                <a:gd name="connsiteY854" fmla="*/ 5120723 h 5496197"/>
                <a:gd name="connsiteX855" fmla="*/ 2300658 w 3791494"/>
                <a:gd name="connsiteY855" fmla="*/ 5032931 h 5496197"/>
                <a:gd name="connsiteX856" fmla="*/ 2311641 w 3791494"/>
                <a:gd name="connsiteY856" fmla="*/ 5027420 h 5496197"/>
                <a:gd name="connsiteX857" fmla="*/ 2328098 w 3791494"/>
                <a:gd name="connsiteY857" fmla="*/ 5027420 h 5496197"/>
                <a:gd name="connsiteX858" fmla="*/ 2361010 w 3791494"/>
                <a:gd name="connsiteY858" fmla="*/ 5038404 h 5496197"/>
                <a:gd name="connsiteX859" fmla="*/ 2371994 w 3791494"/>
                <a:gd name="connsiteY859" fmla="*/ 5038404 h 5496197"/>
                <a:gd name="connsiteX860" fmla="*/ 2371994 w 3791494"/>
                <a:gd name="connsiteY860" fmla="*/ 5027420 h 5496197"/>
                <a:gd name="connsiteX861" fmla="*/ 2366521 w 3791494"/>
                <a:gd name="connsiteY861" fmla="*/ 5016475 h 5496197"/>
                <a:gd name="connsiteX862" fmla="*/ 2361010 w 3791494"/>
                <a:gd name="connsiteY862" fmla="*/ 5005492 h 5496197"/>
                <a:gd name="connsiteX863" fmla="*/ 2377467 w 3791494"/>
                <a:gd name="connsiteY863" fmla="*/ 5000019 h 5496197"/>
                <a:gd name="connsiteX864" fmla="*/ 2399434 w 3791494"/>
                <a:gd name="connsiteY864" fmla="*/ 5010964 h 5496197"/>
                <a:gd name="connsiteX865" fmla="*/ 2404906 w 3791494"/>
                <a:gd name="connsiteY865" fmla="*/ 5016475 h 5496197"/>
                <a:gd name="connsiteX866" fmla="*/ 2421363 w 3791494"/>
                <a:gd name="connsiteY866" fmla="*/ 5000019 h 5496197"/>
                <a:gd name="connsiteX867" fmla="*/ 2432346 w 3791494"/>
                <a:gd name="connsiteY867" fmla="*/ 5010964 h 5496197"/>
                <a:gd name="connsiteX868" fmla="*/ 2454275 w 3791494"/>
                <a:gd name="connsiteY868" fmla="*/ 5010964 h 5496197"/>
                <a:gd name="connsiteX869" fmla="*/ 2492698 w 3791494"/>
                <a:gd name="connsiteY869" fmla="*/ 5000019 h 5496197"/>
                <a:gd name="connsiteX870" fmla="*/ 2492698 w 3791494"/>
                <a:gd name="connsiteY870" fmla="*/ 4994508 h 5496197"/>
                <a:gd name="connsiteX871" fmla="*/ 2553051 w 3791494"/>
                <a:gd name="connsiteY871" fmla="*/ 4994508 h 5496197"/>
                <a:gd name="connsiteX872" fmla="*/ 2564035 w 3791494"/>
                <a:gd name="connsiteY872" fmla="*/ 5000019 h 5496197"/>
                <a:gd name="connsiteX873" fmla="*/ 2585964 w 3791494"/>
                <a:gd name="connsiteY873" fmla="*/ 5005492 h 5496197"/>
                <a:gd name="connsiteX874" fmla="*/ 2602420 w 3791494"/>
                <a:gd name="connsiteY874" fmla="*/ 5005492 h 5496197"/>
                <a:gd name="connsiteX875" fmla="*/ 2602420 w 3791494"/>
                <a:gd name="connsiteY875" fmla="*/ 5000019 h 5496197"/>
                <a:gd name="connsiteX876" fmla="*/ 2613403 w 3791494"/>
                <a:gd name="connsiteY876" fmla="*/ 4994508 h 5496197"/>
                <a:gd name="connsiteX877" fmla="*/ 2629860 w 3791494"/>
                <a:gd name="connsiteY877" fmla="*/ 4978052 h 5496197"/>
                <a:gd name="connsiteX878" fmla="*/ 2646316 w 3791494"/>
                <a:gd name="connsiteY878" fmla="*/ 4972579 h 5496197"/>
                <a:gd name="connsiteX879" fmla="*/ 2728596 w 3791494"/>
                <a:gd name="connsiteY879" fmla="*/ 4917699 h 5496197"/>
                <a:gd name="connsiteX880" fmla="*/ 2745052 w 3791494"/>
                <a:gd name="connsiteY880" fmla="*/ 4912227 h 5496197"/>
                <a:gd name="connsiteX881" fmla="*/ 2788948 w 3791494"/>
                <a:gd name="connsiteY881" fmla="*/ 4912227 h 5496197"/>
                <a:gd name="connsiteX882" fmla="*/ 2799932 w 3791494"/>
                <a:gd name="connsiteY882" fmla="*/ 4906716 h 5496197"/>
                <a:gd name="connsiteX883" fmla="*/ 2821861 w 3791494"/>
                <a:gd name="connsiteY883" fmla="*/ 4884787 h 5496197"/>
                <a:gd name="connsiteX884" fmla="*/ 2832845 w 3791494"/>
                <a:gd name="connsiteY884" fmla="*/ 4879315 h 5496197"/>
                <a:gd name="connsiteX885" fmla="*/ 2838355 w 3791494"/>
                <a:gd name="connsiteY885" fmla="*/ 4884787 h 5496197"/>
                <a:gd name="connsiteX886" fmla="*/ 2843828 w 3791494"/>
                <a:gd name="connsiteY886" fmla="*/ 4884787 h 5496197"/>
                <a:gd name="connsiteX887" fmla="*/ 2893197 w 3791494"/>
                <a:gd name="connsiteY887" fmla="*/ 4906716 h 5496197"/>
                <a:gd name="connsiteX888" fmla="*/ 2904180 w 3791494"/>
                <a:gd name="connsiteY888" fmla="*/ 4912227 h 5496197"/>
                <a:gd name="connsiteX889" fmla="*/ 2920637 w 3791494"/>
                <a:gd name="connsiteY889" fmla="*/ 4923211 h 5496197"/>
                <a:gd name="connsiteX890" fmla="*/ 2959022 w 3791494"/>
                <a:gd name="connsiteY890" fmla="*/ 4923211 h 5496197"/>
                <a:gd name="connsiteX891" fmla="*/ 2980989 w 3791494"/>
                <a:gd name="connsiteY891" fmla="*/ 4917700 h 5496197"/>
                <a:gd name="connsiteX892" fmla="*/ 3030358 w 3791494"/>
                <a:gd name="connsiteY892" fmla="*/ 4895771 h 5496197"/>
                <a:gd name="connsiteX893" fmla="*/ 3107165 w 3791494"/>
                <a:gd name="connsiteY893" fmla="*/ 4862858 h 5496197"/>
                <a:gd name="connsiteX894" fmla="*/ 3118149 w 3791494"/>
                <a:gd name="connsiteY894" fmla="*/ 4857347 h 5496197"/>
                <a:gd name="connsiteX895" fmla="*/ 3134605 w 3791494"/>
                <a:gd name="connsiteY895" fmla="*/ 4840891 h 5496197"/>
                <a:gd name="connsiteX896" fmla="*/ 3140078 w 3791494"/>
                <a:gd name="connsiteY896" fmla="*/ 4840891 h 5496197"/>
                <a:gd name="connsiteX897" fmla="*/ 3145589 w 3791494"/>
                <a:gd name="connsiteY897" fmla="*/ 4846402 h 5496197"/>
                <a:gd name="connsiteX898" fmla="*/ 3145589 w 3791494"/>
                <a:gd name="connsiteY898" fmla="*/ 4873804 h 5496197"/>
                <a:gd name="connsiteX899" fmla="*/ 3162045 w 3791494"/>
                <a:gd name="connsiteY899" fmla="*/ 4890260 h 5496197"/>
                <a:gd name="connsiteX900" fmla="*/ 3167518 w 3791494"/>
                <a:gd name="connsiteY900" fmla="*/ 4895771 h 5496197"/>
                <a:gd name="connsiteX901" fmla="*/ 3173029 w 3791494"/>
                <a:gd name="connsiteY901" fmla="*/ 4901243 h 5496197"/>
                <a:gd name="connsiteX902" fmla="*/ 3189485 w 3791494"/>
                <a:gd name="connsiteY902" fmla="*/ 4906716 h 5496197"/>
                <a:gd name="connsiteX903" fmla="*/ 3211414 w 3791494"/>
                <a:gd name="connsiteY903" fmla="*/ 4906716 h 5496197"/>
                <a:gd name="connsiteX904" fmla="*/ 3227870 w 3791494"/>
                <a:gd name="connsiteY904" fmla="*/ 4901243 h 5496197"/>
                <a:gd name="connsiteX905" fmla="*/ 3260782 w 3791494"/>
                <a:gd name="connsiteY905" fmla="*/ 4901243 h 5496197"/>
                <a:gd name="connsiteX906" fmla="*/ 3282750 w 3791494"/>
                <a:gd name="connsiteY906" fmla="*/ 4895771 h 5496197"/>
                <a:gd name="connsiteX907" fmla="*/ 3282750 w 3791494"/>
                <a:gd name="connsiteY907" fmla="*/ 4890260 h 5496197"/>
                <a:gd name="connsiteX908" fmla="*/ 3293695 w 3791494"/>
                <a:gd name="connsiteY908" fmla="*/ 4873804 h 5496197"/>
                <a:gd name="connsiteX909" fmla="*/ 3304679 w 3791494"/>
                <a:gd name="connsiteY909" fmla="*/ 4829908 h 5496197"/>
                <a:gd name="connsiteX910" fmla="*/ 3321135 w 3791494"/>
                <a:gd name="connsiteY910" fmla="*/ 4813451 h 5496197"/>
                <a:gd name="connsiteX911" fmla="*/ 3343102 w 3791494"/>
                <a:gd name="connsiteY911" fmla="*/ 4802506 h 5496197"/>
                <a:gd name="connsiteX912" fmla="*/ 3348575 w 3791494"/>
                <a:gd name="connsiteY912" fmla="*/ 4802506 h 5496197"/>
                <a:gd name="connsiteX913" fmla="*/ 3359558 w 3791494"/>
                <a:gd name="connsiteY913" fmla="*/ 4796995 h 5496197"/>
                <a:gd name="connsiteX914" fmla="*/ 3365031 w 3791494"/>
                <a:gd name="connsiteY914" fmla="*/ 4775066 h 5496197"/>
                <a:gd name="connsiteX915" fmla="*/ 3381487 w 3791494"/>
                <a:gd name="connsiteY915" fmla="*/ 4731170 h 5496197"/>
                <a:gd name="connsiteX916" fmla="*/ 3381487 w 3791494"/>
                <a:gd name="connsiteY916" fmla="*/ 4687274 h 5496197"/>
                <a:gd name="connsiteX917" fmla="*/ 3376014 w 3791494"/>
                <a:gd name="connsiteY917" fmla="*/ 4681801 h 5496197"/>
                <a:gd name="connsiteX918" fmla="*/ 3370503 w 3791494"/>
                <a:gd name="connsiteY918" fmla="*/ 4670818 h 5496197"/>
                <a:gd name="connsiteX919" fmla="*/ 3359558 w 3791494"/>
                <a:gd name="connsiteY919" fmla="*/ 4654361 h 5496197"/>
                <a:gd name="connsiteX920" fmla="*/ 3332118 w 3791494"/>
                <a:gd name="connsiteY920" fmla="*/ 4637905 h 5496197"/>
                <a:gd name="connsiteX921" fmla="*/ 3288222 w 3791494"/>
                <a:gd name="connsiteY921" fmla="*/ 4588536 h 5496197"/>
                <a:gd name="connsiteX922" fmla="*/ 3282750 w 3791494"/>
                <a:gd name="connsiteY922" fmla="*/ 4588536 h 5496197"/>
                <a:gd name="connsiteX923" fmla="*/ 3282750 w 3791494"/>
                <a:gd name="connsiteY923" fmla="*/ 4566569 h 5496197"/>
                <a:gd name="connsiteX924" fmla="*/ 3288222 w 3791494"/>
                <a:gd name="connsiteY924" fmla="*/ 4555585 h 5496197"/>
                <a:gd name="connsiteX925" fmla="*/ 3299206 w 3791494"/>
                <a:gd name="connsiteY925" fmla="*/ 4500744 h 5496197"/>
                <a:gd name="connsiteX926" fmla="*/ 3304679 w 3791494"/>
                <a:gd name="connsiteY926" fmla="*/ 4473304 h 5496197"/>
                <a:gd name="connsiteX927" fmla="*/ 3293695 w 3791494"/>
                <a:gd name="connsiteY927" fmla="*/ 4456848 h 5496197"/>
                <a:gd name="connsiteX928" fmla="*/ 3304679 w 3791494"/>
                <a:gd name="connsiteY928" fmla="*/ 4440392 h 5496197"/>
                <a:gd name="connsiteX929" fmla="*/ 3321135 w 3791494"/>
                <a:gd name="connsiteY929" fmla="*/ 4407479 h 5496197"/>
                <a:gd name="connsiteX930" fmla="*/ 3332118 w 3791494"/>
                <a:gd name="connsiteY930" fmla="*/ 4396496 h 5496197"/>
                <a:gd name="connsiteX931" fmla="*/ 3332118 w 3791494"/>
                <a:gd name="connsiteY931" fmla="*/ 4380039 h 5496197"/>
                <a:gd name="connsiteX932" fmla="*/ 3304679 w 3791494"/>
                <a:gd name="connsiteY932" fmla="*/ 4352599 h 5496197"/>
                <a:gd name="connsiteX933" fmla="*/ 3282749 w 3791494"/>
                <a:gd name="connsiteY933" fmla="*/ 4297758 h 5496197"/>
                <a:gd name="connsiteX934" fmla="*/ 3282749 w 3791494"/>
                <a:gd name="connsiteY934" fmla="*/ 4292247 h 5496197"/>
                <a:gd name="connsiteX935" fmla="*/ 3293695 w 3791494"/>
                <a:gd name="connsiteY935" fmla="*/ 4275791 h 5496197"/>
                <a:gd name="connsiteX936" fmla="*/ 3299206 w 3791494"/>
                <a:gd name="connsiteY936" fmla="*/ 4270318 h 5496197"/>
                <a:gd name="connsiteX937" fmla="*/ 3321135 w 3791494"/>
                <a:gd name="connsiteY937" fmla="*/ 4253862 h 5496197"/>
                <a:gd name="connsiteX938" fmla="*/ 3332118 w 3791494"/>
                <a:gd name="connsiteY938" fmla="*/ 4248351 h 5496197"/>
                <a:gd name="connsiteX939" fmla="*/ 3343102 w 3791494"/>
                <a:gd name="connsiteY939" fmla="*/ 4226422 h 5496197"/>
                <a:gd name="connsiteX940" fmla="*/ 3348574 w 3791494"/>
                <a:gd name="connsiteY940" fmla="*/ 4220911 h 5496197"/>
                <a:gd name="connsiteX941" fmla="*/ 3386998 w 3791494"/>
                <a:gd name="connsiteY941" fmla="*/ 4220911 h 5496197"/>
                <a:gd name="connsiteX942" fmla="*/ 3397943 w 3791494"/>
                <a:gd name="connsiteY942" fmla="*/ 4209966 h 5496197"/>
                <a:gd name="connsiteX943" fmla="*/ 3408927 w 3791494"/>
                <a:gd name="connsiteY943" fmla="*/ 4204455 h 5496197"/>
                <a:gd name="connsiteX944" fmla="*/ 3430856 w 3791494"/>
                <a:gd name="connsiteY944" fmla="*/ 4198982 h 5496197"/>
                <a:gd name="connsiteX945" fmla="*/ 3452823 w 3791494"/>
                <a:gd name="connsiteY945" fmla="*/ 4204455 h 5496197"/>
                <a:gd name="connsiteX946" fmla="*/ 3502192 w 3791494"/>
                <a:gd name="connsiteY946" fmla="*/ 4220911 h 5496197"/>
                <a:gd name="connsiteX947" fmla="*/ 3524159 w 3791494"/>
                <a:gd name="connsiteY947" fmla="*/ 4215439 h 5496197"/>
                <a:gd name="connsiteX948" fmla="*/ 3529631 w 3791494"/>
                <a:gd name="connsiteY948" fmla="*/ 4209966 h 5496197"/>
                <a:gd name="connsiteX949" fmla="*/ 3546087 w 3791494"/>
                <a:gd name="connsiteY949" fmla="*/ 4204455 h 5496197"/>
                <a:gd name="connsiteX950" fmla="*/ 3557071 w 3791494"/>
                <a:gd name="connsiteY950" fmla="*/ 4198983 h 5496197"/>
                <a:gd name="connsiteX951" fmla="*/ 3562544 w 3791494"/>
                <a:gd name="connsiteY951" fmla="*/ 4193510 h 5496197"/>
                <a:gd name="connsiteX952" fmla="*/ 3568016 w 3791494"/>
                <a:gd name="connsiteY952" fmla="*/ 4187999 h 5496197"/>
                <a:gd name="connsiteX953" fmla="*/ 3568016 w 3791494"/>
                <a:gd name="connsiteY953" fmla="*/ 4182526 h 5496197"/>
                <a:gd name="connsiteX954" fmla="*/ 3573527 w 3791494"/>
                <a:gd name="connsiteY954" fmla="*/ 4171543 h 5496197"/>
                <a:gd name="connsiteX955" fmla="*/ 3584511 w 3791494"/>
                <a:gd name="connsiteY955" fmla="*/ 4122174 h 5496197"/>
                <a:gd name="connsiteX956" fmla="*/ 3589983 w 3791494"/>
                <a:gd name="connsiteY956" fmla="*/ 4111191 h 5496197"/>
                <a:gd name="connsiteX957" fmla="*/ 3589983 w 3791494"/>
                <a:gd name="connsiteY957" fmla="*/ 4105718 h 5496197"/>
                <a:gd name="connsiteX958" fmla="*/ 3595456 w 3791494"/>
                <a:gd name="connsiteY958" fmla="*/ 4094735 h 5496197"/>
                <a:gd name="connsiteX959" fmla="*/ 3600967 w 3791494"/>
                <a:gd name="connsiteY959" fmla="*/ 4083751 h 5496197"/>
                <a:gd name="connsiteX960" fmla="*/ 3611912 w 3791494"/>
                <a:gd name="connsiteY960" fmla="*/ 4078278 h 5496197"/>
                <a:gd name="connsiteX961" fmla="*/ 3633880 w 3791494"/>
                <a:gd name="connsiteY961" fmla="*/ 4072806 h 5496197"/>
                <a:gd name="connsiteX962" fmla="*/ 3650336 w 3791494"/>
                <a:gd name="connsiteY962" fmla="*/ 4067295 h 5496197"/>
                <a:gd name="connsiteX963" fmla="*/ 3661319 w 3791494"/>
                <a:gd name="connsiteY963" fmla="*/ 4050838 h 5496197"/>
                <a:gd name="connsiteX964" fmla="*/ 3699704 w 3791494"/>
                <a:gd name="connsiteY964" fmla="*/ 4012453 h 5496197"/>
                <a:gd name="connsiteX965" fmla="*/ 3705177 w 3791494"/>
                <a:gd name="connsiteY965" fmla="*/ 4006942 h 5496197"/>
                <a:gd name="connsiteX966" fmla="*/ 3710688 w 3791494"/>
                <a:gd name="connsiteY966" fmla="*/ 3985014 h 5496197"/>
                <a:gd name="connsiteX967" fmla="*/ 3710688 w 3791494"/>
                <a:gd name="connsiteY967" fmla="*/ 3979541 h 5496197"/>
                <a:gd name="connsiteX968" fmla="*/ 3716160 w 3791494"/>
                <a:gd name="connsiteY968" fmla="*/ 3974030 h 5496197"/>
                <a:gd name="connsiteX969" fmla="*/ 3721671 w 3791494"/>
                <a:gd name="connsiteY969" fmla="*/ 3968557 h 5496197"/>
                <a:gd name="connsiteX970" fmla="*/ 3738128 w 3791494"/>
                <a:gd name="connsiteY970" fmla="*/ 3957574 h 5496197"/>
                <a:gd name="connsiteX971" fmla="*/ 3743601 w 3791494"/>
                <a:gd name="connsiteY971" fmla="*/ 3957574 h 5496197"/>
                <a:gd name="connsiteX972" fmla="*/ 3760057 w 3791494"/>
                <a:gd name="connsiteY972" fmla="*/ 3935645 h 5496197"/>
                <a:gd name="connsiteX973" fmla="*/ 3765529 w 3791494"/>
                <a:gd name="connsiteY973" fmla="*/ 3924661 h 5496197"/>
                <a:gd name="connsiteX974" fmla="*/ 3781985 w 3791494"/>
                <a:gd name="connsiteY974" fmla="*/ 3886276 h 5496197"/>
                <a:gd name="connsiteX975" fmla="*/ 3792969 w 3791494"/>
                <a:gd name="connsiteY975" fmla="*/ 3842380 h 549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</a:cxnLst>
              <a:rect l="l" t="t" r="r" b="b"/>
              <a:pathLst>
                <a:path w="3791494" h="5496197">
                  <a:moveTo>
                    <a:pt x="3787494" y="3814935"/>
                  </a:moveTo>
                  <a:lnTo>
                    <a:pt x="3781983" y="3809424"/>
                  </a:lnTo>
                  <a:lnTo>
                    <a:pt x="3771038" y="3809424"/>
                  </a:lnTo>
                  <a:lnTo>
                    <a:pt x="3732614" y="3798478"/>
                  </a:lnTo>
                  <a:lnTo>
                    <a:pt x="3727141" y="3798478"/>
                  </a:lnTo>
                  <a:lnTo>
                    <a:pt x="3710685" y="3787495"/>
                  </a:lnTo>
                  <a:lnTo>
                    <a:pt x="3710685" y="3782022"/>
                  </a:lnTo>
                  <a:lnTo>
                    <a:pt x="3699702" y="3776511"/>
                  </a:lnTo>
                  <a:lnTo>
                    <a:pt x="3688718" y="3760055"/>
                  </a:lnTo>
                  <a:lnTo>
                    <a:pt x="3677773" y="3743599"/>
                  </a:lnTo>
                  <a:lnTo>
                    <a:pt x="3655805" y="3727143"/>
                  </a:lnTo>
                  <a:lnTo>
                    <a:pt x="3655805" y="3721670"/>
                  </a:lnTo>
                  <a:lnTo>
                    <a:pt x="3650333" y="3710686"/>
                  </a:lnTo>
                  <a:lnTo>
                    <a:pt x="3644822" y="3705214"/>
                  </a:lnTo>
                  <a:lnTo>
                    <a:pt x="3644822" y="3677774"/>
                  </a:lnTo>
                  <a:lnTo>
                    <a:pt x="3639350" y="3672263"/>
                  </a:lnTo>
                  <a:lnTo>
                    <a:pt x="3633877" y="3661318"/>
                  </a:lnTo>
                  <a:lnTo>
                    <a:pt x="3551558" y="3578999"/>
                  </a:lnTo>
                  <a:lnTo>
                    <a:pt x="3535102" y="3573526"/>
                  </a:lnTo>
                  <a:lnTo>
                    <a:pt x="3524157" y="3568054"/>
                  </a:lnTo>
                  <a:lnTo>
                    <a:pt x="3507662" y="3573526"/>
                  </a:lnTo>
                  <a:lnTo>
                    <a:pt x="3507662" y="3568054"/>
                  </a:lnTo>
                  <a:lnTo>
                    <a:pt x="3502190" y="3568054"/>
                  </a:lnTo>
                  <a:lnTo>
                    <a:pt x="3491206" y="3562543"/>
                  </a:lnTo>
                  <a:lnTo>
                    <a:pt x="3491206" y="3557071"/>
                  </a:lnTo>
                  <a:lnTo>
                    <a:pt x="3480261" y="3540614"/>
                  </a:lnTo>
                  <a:lnTo>
                    <a:pt x="3474750" y="3535103"/>
                  </a:lnTo>
                  <a:lnTo>
                    <a:pt x="3463805" y="3529631"/>
                  </a:lnTo>
                  <a:lnTo>
                    <a:pt x="3436365" y="3529631"/>
                  </a:lnTo>
                  <a:lnTo>
                    <a:pt x="3430854" y="3524158"/>
                  </a:lnTo>
                  <a:lnTo>
                    <a:pt x="3425381" y="3518647"/>
                  </a:lnTo>
                  <a:lnTo>
                    <a:pt x="3414398" y="3507702"/>
                  </a:lnTo>
                  <a:lnTo>
                    <a:pt x="3408925" y="3496718"/>
                  </a:lnTo>
                  <a:lnTo>
                    <a:pt x="3386996" y="3485735"/>
                  </a:lnTo>
                  <a:lnTo>
                    <a:pt x="3381485" y="3485735"/>
                  </a:lnTo>
                  <a:lnTo>
                    <a:pt x="3365029" y="3469278"/>
                  </a:lnTo>
                  <a:lnTo>
                    <a:pt x="3359556" y="3447350"/>
                  </a:lnTo>
                  <a:lnTo>
                    <a:pt x="3343100" y="3386997"/>
                  </a:lnTo>
                  <a:lnTo>
                    <a:pt x="3337589" y="3376014"/>
                  </a:lnTo>
                  <a:lnTo>
                    <a:pt x="3332117" y="3365030"/>
                  </a:lnTo>
                  <a:lnTo>
                    <a:pt x="3332117" y="3326645"/>
                  </a:lnTo>
                  <a:lnTo>
                    <a:pt x="3326644" y="3321134"/>
                  </a:lnTo>
                  <a:lnTo>
                    <a:pt x="3332117" y="3315661"/>
                  </a:lnTo>
                  <a:lnTo>
                    <a:pt x="3326644" y="3299205"/>
                  </a:lnTo>
                  <a:lnTo>
                    <a:pt x="3326644" y="3266293"/>
                  </a:lnTo>
                  <a:lnTo>
                    <a:pt x="3321133" y="3249836"/>
                  </a:lnTo>
                  <a:lnTo>
                    <a:pt x="3315661" y="3249836"/>
                  </a:lnTo>
                  <a:lnTo>
                    <a:pt x="3310188" y="3244325"/>
                  </a:lnTo>
                  <a:lnTo>
                    <a:pt x="3293694" y="3238853"/>
                  </a:lnTo>
                  <a:lnTo>
                    <a:pt x="3282748" y="3227869"/>
                  </a:lnTo>
                  <a:lnTo>
                    <a:pt x="3277237" y="3227869"/>
                  </a:lnTo>
                  <a:lnTo>
                    <a:pt x="3260781" y="3211413"/>
                  </a:lnTo>
                  <a:lnTo>
                    <a:pt x="3260781" y="3205940"/>
                  </a:lnTo>
                  <a:lnTo>
                    <a:pt x="3255308" y="3189484"/>
                  </a:lnTo>
                  <a:lnTo>
                    <a:pt x="3249836" y="3183973"/>
                  </a:lnTo>
                  <a:lnTo>
                    <a:pt x="3249836" y="3173028"/>
                  </a:lnTo>
                  <a:lnTo>
                    <a:pt x="3244325" y="3156572"/>
                  </a:lnTo>
                  <a:lnTo>
                    <a:pt x="3244325" y="3145588"/>
                  </a:lnTo>
                  <a:lnTo>
                    <a:pt x="3249836" y="3123621"/>
                  </a:lnTo>
                  <a:lnTo>
                    <a:pt x="3244325" y="3112676"/>
                  </a:lnTo>
                  <a:lnTo>
                    <a:pt x="3222396" y="3085236"/>
                  </a:lnTo>
                  <a:lnTo>
                    <a:pt x="3211413" y="3052323"/>
                  </a:lnTo>
                  <a:lnTo>
                    <a:pt x="3216885" y="3035867"/>
                  </a:lnTo>
                  <a:lnTo>
                    <a:pt x="3216885" y="3024883"/>
                  </a:lnTo>
                  <a:lnTo>
                    <a:pt x="3222396" y="3019411"/>
                  </a:lnTo>
                  <a:lnTo>
                    <a:pt x="3227868" y="2997443"/>
                  </a:lnTo>
                  <a:lnTo>
                    <a:pt x="3238852" y="2959058"/>
                  </a:lnTo>
                  <a:lnTo>
                    <a:pt x="3238852" y="2915162"/>
                  </a:lnTo>
                  <a:lnTo>
                    <a:pt x="3249836" y="2898706"/>
                  </a:lnTo>
                  <a:lnTo>
                    <a:pt x="3255308" y="2893195"/>
                  </a:lnTo>
                  <a:lnTo>
                    <a:pt x="3255308" y="2816387"/>
                  </a:lnTo>
                  <a:lnTo>
                    <a:pt x="3266292" y="2799931"/>
                  </a:lnTo>
                  <a:lnTo>
                    <a:pt x="3288221" y="2794459"/>
                  </a:lnTo>
                  <a:lnTo>
                    <a:pt x="3299204" y="2788986"/>
                  </a:lnTo>
                  <a:lnTo>
                    <a:pt x="3332117" y="2783475"/>
                  </a:lnTo>
                  <a:lnTo>
                    <a:pt x="3354046" y="2783475"/>
                  </a:lnTo>
                  <a:lnTo>
                    <a:pt x="3359557" y="2778002"/>
                  </a:lnTo>
                  <a:lnTo>
                    <a:pt x="3359557" y="2772492"/>
                  </a:lnTo>
                  <a:lnTo>
                    <a:pt x="3365029" y="2756035"/>
                  </a:lnTo>
                  <a:lnTo>
                    <a:pt x="3370502" y="2750563"/>
                  </a:lnTo>
                  <a:lnTo>
                    <a:pt x="3381485" y="2734107"/>
                  </a:lnTo>
                  <a:lnTo>
                    <a:pt x="3397942" y="2728634"/>
                  </a:lnTo>
                  <a:lnTo>
                    <a:pt x="3430854" y="2728634"/>
                  </a:lnTo>
                  <a:lnTo>
                    <a:pt x="3436365" y="2723123"/>
                  </a:lnTo>
                  <a:lnTo>
                    <a:pt x="3447349" y="2706667"/>
                  </a:lnTo>
                  <a:lnTo>
                    <a:pt x="3447349" y="2701194"/>
                  </a:lnTo>
                  <a:lnTo>
                    <a:pt x="3441838" y="2679227"/>
                  </a:lnTo>
                  <a:lnTo>
                    <a:pt x="3436365" y="2673754"/>
                  </a:lnTo>
                  <a:lnTo>
                    <a:pt x="3436365" y="2646314"/>
                  </a:lnTo>
                  <a:lnTo>
                    <a:pt x="3447349" y="2607929"/>
                  </a:lnTo>
                  <a:lnTo>
                    <a:pt x="3447349" y="2602418"/>
                  </a:lnTo>
                  <a:lnTo>
                    <a:pt x="3441838" y="2596946"/>
                  </a:lnTo>
                  <a:lnTo>
                    <a:pt x="3447349" y="2591473"/>
                  </a:lnTo>
                  <a:lnTo>
                    <a:pt x="3447349" y="2585963"/>
                  </a:lnTo>
                  <a:lnTo>
                    <a:pt x="3452821" y="2585963"/>
                  </a:lnTo>
                  <a:lnTo>
                    <a:pt x="3463805" y="2569506"/>
                  </a:lnTo>
                  <a:lnTo>
                    <a:pt x="3474750" y="2553050"/>
                  </a:lnTo>
                  <a:lnTo>
                    <a:pt x="3474750" y="2547577"/>
                  </a:lnTo>
                  <a:lnTo>
                    <a:pt x="3485734" y="2536594"/>
                  </a:lnTo>
                  <a:lnTo>
                    <a:pt x="3502190" y="2531121"/>
                  </a:lnTo>
                  <a:lnTo>
                    <a:pt x="3524158" y="2520138"/>
                  </a:lnTo>
                  <a:lnTo>
                    <a:pt x="3518647" y="2503681"/>
                  </a:lnTo>
                  <a:lnTo>
                    <a:pt x="3518647" y="2476241"/>
                  </a:lnTo>
                  <a:lnTo>
                    <a:pt x="3524158" y="2437818"/>
                  </a:lnTo>
                  <a:lnTo>
                    <a:pt x="3513174" y="2421362"/>
                  </a:lnTo>
                  <a:lnTo>
                    <a:pt x="3507663" y="2421362"/>
                  </a:lnTo>
                  <a:lnTo>
                    <a:pt x="3496717" y="2415889"/>
                  </a:lnTo>
                  <a:lnTo>
                    <a:pt x="3474750" y="2410417"/>
                  </a:lnTo>
                  <a:lnTo>
                    <a:pt x="3458294" y="2410417"/>
                  </a:lnTo>
                  <a:lnTo>
                    <a:pt x="3430854" y="2399433"/>
                  </a:lnTo>
                  <a:lnTo>
                    <a:pt x="3425382" y="2393960"/>
                  </a:lnTo>
                  <a:lnTo>
                    <a:pt x="3392469" y="2366521"/>
                  </a:lnTo>
                  <a:lnTo>
                    <a:pt x="3370502" y="2333608"/>
                  </a:lnTo>
                  <a:lnTo>
                    <a:pt x="3354046" y="2295185"/>
                  </a:lnTo>
                  <a:lnTo>
                    <a:pt x="3354046" y="2256800"/>
                  </a:lnTo>
                  <a:lnTo>
                    <a:pt x="3348573" y="2251289"/>
                  </a:lnTo>
                  <a:lnTo>
                    <a:pt x="3348573" y="2245816"/>
                  </a:lnTo>
                  <a:lnTo>
                    <a:pt x="3332117" y="2229360"/>
                  </a:lnTo>
                  <a:lnTo>
                    <a:pt x="3326644" y="2223849"/>
                  </a:lnTo>
                  <a:lnTo>
                    <a:pt x="3326644" y="2201920"/>
                  </a:lnTo>
                  <a:lnTo>
                    <a:pt x="3332117" y="2185464"/>
                  </a:lnTo>
                  <a:lnTo>
                    <a:pt x="3332117" y="2174480"/>
                  </a:lnTo>
                  <a:lnTo>
                    <a:pt x="3337589" y="2169008"/>
                  </a:lnTo>
                  <a:lnTo>
                    <a:pt x="3343100" y="2169008"/>
                  </a:lnTo>
                  <a:lnTo>
                    <a:pt x="3348573" y="2163497"/>
                  </a:lnTo>
                  <a:lnTo>
                    <a:pt x="3381485" y="2163497"/>
                  </a:lnTo>
                  <a:lnTo>
                    <a:pt x="3392469" y="2158024"/>
                  </a:lnTo>
                  <a:lnTo>
                    <a:pt x="3403453" y="2147041"/>
                  </a:lnTo>
                  <a:lnTo>
                    <a:pt x="3403453" y="2119639"/>
                  </a:lnTo>
                  <a:lnTo>
                    <a:pt x="3408925" y="2103183"/>
                  </a:lnTo>
                  <a:lnTo>
                    <a:pt x="3425382" y="2086688"/>
                  </a:lnTo>
                  <a:lnTo>
                    <a:pt x="3441838" y="2081215"/>
                  </a:lnTo>
                  <a:lnTo>
                    <a:pt x="3458294" y="2081215"/>
                  </a:lnTo>
                  <a:lnTo>
                    <a:pt x="3469278" y="2086688"/>
                  </a:lnTo>
                  <a:lnTo>
                    <a:pt x="3480261" y="2092199"/>
                  </a:lnTo>
                  <a:lnTo>
                    <a:pt x="3496717" y="2097672"/>
                  </a:lnTo>
                  <a:lnTo>
                    <a:pt x="3513173" y="2114128"/>
                  </a:lnTo>
                  <a:lnTo>
                    <a:pt x="3535103" y="2119639"/>
                  </a:lnTo>
                  <a:lnTo>
                    <a:pt x="3551559" y="2114128"/>
                  </a:lnTo>
                  <a:lnTo>
                    <a:pt x="3573526" y="2108655"/>
                  </a:lnTo>
                  <a:lnTo>
                    <a:pt x="3578999" y="2097672"/>
                  </a:lnTo>
                  <a:lnTo>
                    <a:pt x="3589982" y="2086688"/>
                  </a:lnTo>
                  <a:lnTo>
                    <a:pt x="3589982" y="2075743"/>
                  </a:lnTo>
                  <a:lnTo>
                    <a:pt x="3595455" y="2064759"/>
                  </a:lnTo>
                  <a:lnTo>
                    <a:pt x="3557070" y="2026336"/>
                  </a:lnTo>
                  <a:lnTo>
                    <a:pt x="3546086" y="2015390"/>
                  </a:lnTo>
                  <a:lnTo>
                    <a:pt x="3535102" y="2004407"/>
                  </a:lnTo>
                  <a:lnTo>
                    <a:pt x="3463806" y="1998934"/>
                  </a:lnTo>
                  <a:lnTo>
                    <a:pt x="3447349" y="1987951"/>
                  </a:lnTo>
                  <a:lnTo>
                    <a:pt x="3430855" y="1982478"/>
                  </a:lnTo>
                  <a:lnTo>
                    <a:pt x="3408926" y="1960511"/>
                  </a:lnTo>
                  <a:lnTo>
                    <a:pt x="3397942" y="1955038"/>
                  </a:lnTo>
                  <a:lnTo>
                    <a:pt x="3337590" y="1883703"/>
                  </a:lnTo>
                  <a:lnTo>
                    <a:pt x="3326645" y="1878231"/>
                  </a:lnTo>
                  <a:lnTo>
                    <a:pt x="3315661" y="1872720"/>
                  </a:lnTo>
                  <a:lnTo>
                    <a:pt x="3282749" y="1872720"/>
                  </a:lnTo>
                  <a:lnTo>
                    <a:pt x="3277238" y="1878231"/>
                  </a:lnTo>
                  <a:lnTo>
                    <a:pt x="3244325" y="1916616"/>
                  </a:lnTo>
                  <a:lnTo>
                    <a:pt x="3227869" y="1927599"/>
                  </a:lnTo>
                  <a:lnTo>
                    <a:pt x="3205940" y="1933072"/>
                  </a:lnTo>
                  <a:lnTo>
                    <a:pt x="3189484" y="1933072"/>
                  </a:lnTo>
                  <a:lnTo>
                    <a:pt x="3173027" y="1944056"/>
                  </a:lnTo>
                  <a:lnTo>
                    <a:pt x="3167516" y="1966023"/>
                  </a:lnTo>
                  <a:lnTo>
                    <a:pt x="3118148" y="2053776"/>
                  </a:lnTo>
                  <a:lnTo>
                    <a:pt x="3063268" y="2152551"/>
                  </a:lnTo>
                  <a:lnTo>
                    <a:pt x="3052323" y="2163496"/>
                  </a:lnTo>
                  <a:lnTo>
                    <a:pt x="3035866" y="2169007"/>
                  </a:lnTo>
                  <a:lnTo>
                    <a:pt x="3008426" y="2169007"/>
                  </a:lnTo>
                  <a:lnTo>
                    <a:pt x="2986459" y="2158023"/>
                  </a:lnTo>
                  <a:lnTo>
                    <a:pt x="2970003" y="2147040"/>
                  </a:lnTo>
                  <a:lnTo>
                    <a:pt x="2964531" y="2108655"/>
                  </a:lnTo>
                  <a:lnTo>
                    <a:pt x="2959020" y="2108655"/>
                  </a:lnTo>
                  <a:lnTo>
                    <a:pt x="2953547" y="2097671"/>
                  </a:lnTo>
                  <a:lnTo>
                    <a:pt x="2942564" y="2092198"/>
                  </a:lnTo>
                  <a:lnTo>
                    <a:pt x="2937091" y="2086687"/>
                  </a:lnTo>
                  <a:lnTo>
                    <a:pt x="2931618" y="2086687"/>
                  </a:lnTo>
                  <a:lnTo>
                    <a:pt x="2931618" y="2081215"/>
                  </a:lnTo>
                  <a:lnTo>
                    <a:pt x="2926108" y="2075742"/>
                  </a:lnTo>
                  <a:lnTo>
                    <a:pt x="2926108" y="2059286"/>
                  </a:lnTo>
                  <a:lnTo>
                    <a:pt x="2920635" y="2042830"/>
                  </a:lnTo>
                  <a:lnTo>
                    <a:pt x="2915162" y="2026335"/>
                  </a:lnTo>
                  <a:lnTo>
                    <a:pt x="2898706" y="1982477"/>
                  </a:lnTo>
                  <a:lnTo>
                    <a:pt x="2887723" y="1971494"/>
                  </a:lnTo>
                  <a:lnTo>
                    <a:pt x="2860283" y="1966021"/>
                  </a:lnTo>
                  <a:lnTo>
                    <a:pt x="2821859" y="1944054"/>
                  </a:lnTo>
                  <a:lnTo>
                    <a:pt x="2778001" y="1922125"/>
                  </a:lnTo>
                  <a:lnTo>
                    <a:pt x="2745051" y="1922125"/>
                  </a:lnTo>
                  <a:lnTo>
                    <a:pt x="2712138" y="1938581"/>
                  </a:lnTo>
                  <a:lnTo>
                    <a:pt x="2706666" y="1938581"/>
                  </a:lnTo>
                  <a:lnTo>
                    <a:pt x="2668242" y="1949527"/>
                  </a:lnTo>
                  <a:lnTo>
                    <a:pt x="2624384" y="1949527"/>
                  </a:lnTo>
                  <a:lnTo>
                    <a:pt x="2580488" y="1933070"/>
                  </a:lnTo>
                  <a:lnTo>
                    <a:pt x="2547537" y="1900158"/>
                  </a:lnTo>
                  <a:lnTo>
                    <a:pt x="2536592" y="1872718"/>
                  </a:lnTo>
                  <a:lnTo>
                    <a:pt x="2531081" y="1850789"/>
                  </a:lnTo>
                  <a:lnTo>
                    <a:pt x="2525609" y="1828860"/>
                  </a:lnTo>
                  <a:lnTo>
                    <a:pt x="2509152" y="1817877"/>
                  </a:lnTo>
                  <a:lnTo>
                    <a:pt x="2503680" y="1812366"/>
                  </a:lnTo>
                  <a:lnTo>
                    <a:pt x="2492696" y="1812366"/>
                  </a:lnTo>
                  <a:lnTo>
                    <a:pt x="2432344" y="1817877"/>
                  </a:lnTo>
                  <a:lnTo>
                    <a:pt x="2355536" y="1806893"/>
                  </a:lnTo>
                  <a:lnTo>
                    <a:pt x="2339080" y="1801421"/>
                  </a:lnTo>
                  <a:lnTo>
                    <a:pt x="2328096" y="1773981"/>
                  </a:lnTo>
                  <a:lnTo>
                    <a:pt x="2328096" y="1768508"/>
                  </a:lnTo>
                  <a:lnTo>
                    <a:pt x="2322624" y="1762997"/>
                  </a:lnTo>
                  <a:lnTo>
                    <a:pt x="2311640" y="1752014"/>
                  </a:lnTo>
                  <a:lnTo>
                    <a:pt x="2300656" y="1752014"/>
                  </a:lnTo>
                  <a:lnTo>
                    <a:pt x="2289711" y="1746541"/>
                  </a:lnTo>
                  <a:lnTo>
                    <a:pt x="2295184" y="1730085"/>
                  </a:lnTo>
                  <a:lnTo>
                    <a:pt x="2306167" y="1719101"/>
                  </a:lnTo>
                  <a:lnTo>
                    <a:pt x="2311640" y="1708156"/>
                  </a:lnTo>
                  <a:lnTo>
                    <a:pt x="2317113" y="1708156"/>
                  </a:lnTo>
                  <a:lnTo>
                    <a:pt x="2339080" y="1697172"/>
                  </a:lnTo>
                  <a:lnTo>
                    <a:pt x="2393921" y="1702645"/>
                  </a:lnTo>
                  <a:lnTo>
                    <a:pt x="2415888" y="1697172"/>
                  </a:lnTo>
                  <a:lnTo>
                    <a:pt x="2454274" y="1686189"/>
                  </a:lnTo>
                  <a:lnTo>
                    <a:pt x="2465257" y="1675205"/>
                  </a:lnTo>
                  <a:lnTo>
                    <a:pt x="2470730" y="1653276"/>
                  </a:lnTo>
                  <a:lnTo>
                    <a:pt x="2459784" y="1631347"/>
                  </a:lnTo>
                  <a:lnTo>
                    <a:pt x="2448801" y="1620364"/>
                  </a:lnTo>
                  <a:lnTo>
                    <a:pt x="2415888" y="1603907"/>
                  </a:lnTo>
                  <a:lnTo>
                    <a:pt x="2404904" y="1598396"/>
                  </a:lnTo>
                  <a:lnTo>
                    <a:pt x="2393921" y="1598396"/>
                  </a:lnTo>
                  <a:lnTo>
                    <a:pt x="2377465" y="1592924"/>
                  </a:lnTo>
                  <a:lnTo>
                    <a:pt x="2350063" y="1587451"/>
                  </a:lnTo>
                  <a:lnTo>
                    <a:pt x="2328096" y="1576468"/>
                  </a:lnTo>
                  <a:lnTo>
                    <a:pt x="2328096" y="1565484"/>
                  </a:lnTo>
                  <a:lnTo>
                    <a:pt x="2333568" y="1560012"/>
                  </a:lnTo>
                  <a:lnTo>
                    <a:pt x="2328096" y="1554539"/>
                  </a:lnTo>
                  <a:lnTo>
                    <a:pt x="2311640" y="1549028"/>
                  </a:lnTo>
                  <a:lnTo>
                    <a:pt x="2300656" y="1549028"/>
                  </a:lnTo>
                  <a:lnTo>
                    <a:pt x="2300656" y="1538044"/>
                  </a:lnTo>
                  <a:lnTo>
                    <a:pt x="2306167" y="1521588"/>
                  </a:lnTo>
                  <a:lnTo>
                    <a:pt x="2311640" y="1510643"/>
                  </a:lnTo>
                  <a:lnTo>
                    <a:pt x="2317112" y="1510643"/>
                  </a:lnTo>
                  <a:lnTo>
                    <a:pt x="2328096" y="1505132"/>
                  </a:lnTo>
                  <a:lnTo>
                    <a:pt x="2350063" y="1505132"/>
                  </a:lnTo>
                  <a:lnTo>
                    <a:pt x="2366519" y="1488676"/>
                  </a:lnTo>
                  <a:lnTo>
                    <a:pt x="2366519" y="1477692"/>
                  </a:lnTo>
                  <a:lnTo>
                    <a:pt x="2371992" y="1461236"/>
                  </a:lnTo>
                  <a:lnTo>
                    <a:pt x="2371992" y="1455763"/>
                  </a:lnTo>
                  <a:lnTo>
                    <a:pt x="2382975" y="1444780"/>
                  </a:lnTo>
                  <a:lnTo>
                    <a:pt x="2382975" y="1411867"/>
                  </a:lnTo>
                  <a:lnTo>
                    <a:pt x="2388448" y="1400884"/>
                  </a:lnTo>
                  <a:lnTo>
                    <a:pt x="2393920" y="1400884"/>
                  </a:lnTo>
                  <a:lnTo>
                    <a:pt x="2399431" y="1389938"/>
                  </a:lnTo>
                  <a:lnTo>
                    <a:pt x="2404904" y="1384427"/>
                  </a:lnTo>
                  <a:lnTo>
                    <a:pt x="2421360" y="1384427"/>
                  </a:lnTo>
                  <a:lnTo>
                    <a:pt x="2426871" y="1378955"/>
                  </a:lnTo>
                  <a:lnTo>
                    <a:pt x="2432344" y="1362499"/>
                  </a:lnTo>
                  <a:lnTo>
                    <a:pt x="2426871" y="1346042"/>
                  </a:lnTo>
                  <a:lnTo>
                    <a:pt x="2399431" y="1307619"/>
                  </a:lnTo>
                  <a:lnTo>
                    <a:pt x="2371992" y="1285690"/>
                  </a:lnTo>
                  <a:lnTo>
                    <a:pt x="2361008" y="1280217"/>
                  </a:lnTo>
                  <a:lnTo>
                    <a:pt x="2350063" y="1274706"/>
                  </a:lnTo>
                  <a:lnTo>
                    <a:pt x="2284199" y="1252778"/>
                  </a:lnTo>
                  <a:lnTo>
                    <a:pt x="2251287" y="1241794"/>
                  </a:lnTo>
                  <a:lnTo>
                    <a:pt x="2212902" y="1241794"/>
                  </a:lnTo>
                  <a:lnTo>
                    <a:pt x="2196407" y="1236321"/>
                  </a:lnTo>
                  <a:lnTo>
                    <a:pt x="2174478" y="1219865"/>
                  </a:lnTo>
                  <a:lnTo>
                    <a:pt x="2163495" y="1214354"/>
                  </a:lnTo>
                  <a:lnTo>
                    <a:pt x="2152549" y="1192425"/>
                  </a:lnTo>
                  <a:lnTo>
                    <a:pt x="2125109" y="1159513"/>
                  </a:lnTo>
                  <a:lnTo>
                    <a:pt x="2119599" y="1148529"/>
                  </a:lnTo>
                  <a:lnTo>
                    <a:pt x="2103142" y="1137546"/>
                  </a:lnTo>
                  <a:lnTo>
                    <a:pt x="2097670" y="1143056"/>
                  </a:lnTo>
                  <a:lnTo>
                    <a:pt x="2081213" y="1159513"/>
                  </a:lnTo>
                  <a:lnTo>
                    <a:pt x="2059246" y="1159513"/>
                  </a:lnTo>
                  <a:lnTo>
                    <a:pt x="2059246" y="1154002"/>
                  </a:lnTo>
                  <a:lnTo>
                    <a:pt x="2053774" y="1154002"/>
                  </a:lnTo>
                  <a:lnTo>
                    <a:pt x="2042790" y="1143056"/>
                  </a:lnTo>
                  <a:lnTo>
                    <a:pt x="2037318" y="1137546"/>
                  </a:lnTo>
                  <a:lnTo>
                    <a:pt x="1960510" y="1099160"/>
                  </a:lnTo>
                  <a:lnTo>
                    <a:pt x="1944054" y="1088177"/>
                  </a:lnTo>
                  <a:lnTo>
                    <a:pt x="1911141" y="1044281"/>
                  </a:lnTo>
                  <a:lnTo>
                    <a:pt x="1850789" y="989401"/>
                  </a:lnTo>
                  <a:lnTo>
                    <a:pt x="1839805" y="972945"/>
                  </a:lnTo>
                  <a:lnTo>
                    <a:pt x="1823349" y="945543"/>
                  </a:lnTo>
                  <a:lnTo>
                    <a:pt x="1806892" y="929049"/>
                  </a:lnTo>
                  <a:lnTo>
                    <a:pt x="1784925" y="918103"/>
                  </a:lnTo>
                  <a:lnTo>
                    <a:pt x="1779453" y="918103"/>
                  </a:lnTo>
                  <a:lnTo>
                    <a:pt x="1762997" y="907120"/>
                  </a:lnTo>
                  <a:lnTo>
                    <a:pt x="1757524" y="890663"/>
                  </a:lnTo>
                  <a:lnTo>
                    <a:pt x="1779453" y="874207"/>
                  </a:lnTo>
                  <a:lnTo>
                    <a:pt x="1784925" y="863224"/>
                  </a:lnTo>
                  <a:lnTo>
                    <a:pt x="1790436" y="863224"/>
                  </a:lnTo>
                  <a:lnTo>
                    <a:pt x="1795909" y="841295"/>
                  </a:lnTo>
                  <a:lnTo>
                    <a:pt x="1790436" y="835784"/>
                  </a:lnTo>
                  <a:lnTo>
                    <a:pt x="1784925" y="813855"/>
                  </a:lnTo>
                  <a:lnTo>
                    <a:pt x="1768469" y="786415"/>
                  </a:lnTo>
                  <a:lnTo>
                    <a:pt x="1757524" y="764486"/>
                  </a:lnTo>
                  <a:lnTo>
                    <a:pt x="1752013" y="753502"/>
                  </a:lnTo>
                  <a:lnTo>
                    <a:pt x="1752013" y="742519"/>
                  </a:lnTo>
                  <a:lnTo>
                    <a:pt x="1757524" y="731573"/>
                  </a:lnTo>
                  <a:lnTo>
                    <a:pt x="1757524" y="709606"/>
                  </a:lnTo>
                  <a:lnTo>
                    <a:pt x="1768469" y="687677"/>
                  </a:lnTo>
                  <a:lnTo>
                    <a:pt x="1773980" y="676694"/>
                  </a:lnTo>
                  <a:lnTo>
                    <a:pt x="1773980" y="577919"/>
                  </a:lnTo>
                  <a:lnTo>
                    <a:pt x="1779453" y="566974"/>
                  </a:lnTo>
                  <a:lnTo>
                    <a:pt x="1779453" y="550517"/>
                  </a:lnTo>
                  <a:lnTo>
                    <a:pt x="1773980" y="545006"/>
                  </a:lnTo>
                  <a:lnTo>
                    <a:pt x="1773980" y="539534"/>
                  </a:lnTo>
                  <a:lnTo>
                    <a:pt x="1762997" y="534061"/>
                  </a:lnTo>
                  <a:lnTo>
                    <a:pt x="1752013" y="539534"/>
                  </a:lnTo>
                  <a:lnTo>
                    <a:pt x="1746540" y="545006"/>
                  </a:lnTo>
                  <a:lnTo>
                    <a:pt x="1741068" y="550517"/>
                  </a:lnTo>
                  <a:lnTo>
                    <a:pt x="1735557" y="566974"/>
                  </a:lnTo>
                  <a:lnTo>
                    <a:pt x="1724573" y="572446"/>
                  </a:lnTo>
                  <a:lnTo>
                    <a:pt x="1713628" y="577919"/>
                  </a:lnTo>
                  <a:lnTo>
                    <a:pt x="1702644" y="572446"/>
                  </a:lnTo>
                  <a:lnTo>
                    <a:pt x="1697172" y="572446"/>
                  </a:lnTo>
                  <a:lnTo>
                    <a:pt x="1691661" y="566974"/>
                  </a:lnTo>
                  <a:lnTo>
                    <a:pt x="1680716" y="550517"/>
                  </a:lnTo>
                  <a:lnTo>
                    <a:pt x="1658748" y="523078"/>
                  </a:lnTo>
                  <a:lnTo>
                    <a:pt x="1653276" y="506621"/>
                  </a:lnTo>
                  <a:lnTo>
                    <a:pt x="1647765" y="495638"/>
                  </a:lnTo>
                  <a:lnTo>
                    <a:pt x="1647765" y="468198"/>
                  </a:lnTo>
                  <a:lnTo>
                    <a:pt x="1642292" y="457252"/>
                  </a:lnTo>
                  <a:lnTo>
                    <a:pt x="1636820" y="451742"/>
                  </a:lnTo>
                  <a:lnTo>
                    <a:pt x="1620363" y="440758"/>
                  </a:lnTo>
                  <a:lnTo>
                    <a:pt x="1614853" y="435285"/>
                  </a:lnTo>
                  <a:lnTo>
                    <a:pt x="1587413" y="380406"/>
                  </a:lnTo>
                  <a:lnTo>
                    <a:pt x="1570956" y="363949"/>
                  </a:lnTo>
                  <a:lnTo>
                    <a:pt x="1554500" y="358477"/>
                  </a:lnTo>
                  <a:lnTo>
                    <a:pt x="1549028" y="358477"/>
                  </a:lnTo>
                  <a:lnTo>
                    <a:pt x="1521588" y="353004"/>
                  </a:lnTo>
                  <a:lnTo>
                    <a:pt x="1505132" y="347493"/>
                  </a:lnTo>
                  <a:lnTo>
                    <a:pt x="1499659" y="347493"/>
                  </a:lnTo>
                  <a:lnTo>
                    <a:pt x="1455763" y="303597"/>
                  </a:lnTo>
                  <a:lnTo>
                    <a:pt x="1439306" y="292652"/>
                  </a:lnTo>
                  <a:lnTo>
                    <a:pt x="1400883" y="276196"/>
                  </a:lnTo>
                  <a:lnTo>
                    <a:pt x="1389938" y="270685"/>
                  </a:lnTo>
                  <a:lnTo>
                    <a:pt x="1384427" y="265212"/>
                  </a:lnTo>
                  <a:lnTo>
                    <a:pt x="1378954" y="259740"/>
                  </a:lnTo>
                  <a:lnTo>
                    <a:pt x="1373443" y="243245"/>
                  </a:lnTo>
                  <a:lnTo>
                    <a:pt x="1351515" y="182932"/>
                  </a:lnTo>
                  <a:lnTo>
                    <a:pt x="1346042" y="171948"/>
                  </a:lnTo>
                  <a:lnTo>
                    <a:pt x="1340531" y="160965"/>
                  </a:lnTo>
                  <a:lnTo>
                    <a:pt x="1335058" y="155492"/>
                  </a:lnTo>
                  <a:lnTo>
                    <a:pt x="1285690" y="89629"/>
                  </a:lnTo>
                  <a:lnTo>
                    <a:pt x="1236283" y="51244"/>
                  </a:lnTo>
                  <a:lnTo>
                    <a:pt x="1219826" y="40260"/>
                  </a:lnTo>
                  <a:lnTo>
                    <a:pt x="1197898" y="56716"/>
                  </a:lnTo>
                  <a:lnTo>
                    <a:pt x="1186914" y="56716"/>
                  </a:lnTo>
                  <a:lnTo>
                    <a:pt x="1186914" y="51244"/>
                  </a:lnTo>
                  <a:lnTo>
                    <a:pt x="1181441" y="51244"/>
                  </a:lnTo>
                  <a:lnTo>
                    <a:pt x="1175930" y="40260"/>
                  </a:lnTo>
                  <a:lnTo>
                    <a:pt x="1170458" y="34788"/>
                  </a:lnTo>
                  <a:lnTo>
                    <a:pt x="1154001" y="29277"/>
                  </a:lnTo>
                  <a:lnTo>
                    <a:pt x="1143018" y="29277"/>
                  </a:lnTo>
                  <a:lnTo>
                    <a:pt x="1137545" y="34788"/>
                  </a:lnTo>
                  <a:lnTo>
                    <a:pt x="1121089" y="40260"/>
                  </a:lnTo>
                  <a:lnTo>
                    <a:pt x="1104633" y="45771"/>
                  </a:lnTo>
                  <a:lnTo>
                    <a:pt x="1093649" y="45771"/>
                  </a:lnTo>
                  <a:lnTo>
                    <a:pt x="1055264" y="23804"/>
                  </a:lnTo>
                  <a:lnTo>
                    <a:pt x="1000384" y="18331"/>
                  </a:lnTo>
                  <a:lnTo>
                    <a:pt x="989401" y="18331"/>
                  </a:lnTo>
                  <a:lnTo>
                    <a:pt x="961961" y="23804"/>
                  </a:lnTo>
                  <a:lnTo>
                    <a:pt x="874208" y="62227"/>
                  </a:lnTo>
                  <a:lnTo>
                    <a:pt x="857752" y="62227"/>
                  </a:lnTo>
                  <a:lnTo>
                    <a:pt x="824801" y="40260"/>
                  </a:lnTo>
                  <a:lnTo>
                    <a:pt x="780943" y="12820"/>
                  </a:lnTo>
                  <a:lnTo>
                    <a:pt x="764449" y="7348"/>
                  </a:lnTo>
                  <a:lnTo>
                    <a:pt x="742520" y="7348"/>
                  </a:lnTo>
                  <a:lnTo>
                    <a:pt x="693151" y="18331"/>
                  </a:lnTo>
                  <a:lnTo>
                    <a:pt x="654727" y="18331"/>
                  </a:lnTo>
                  <a:lnTo>
                    <a:pt x="649255" y="23804"/>
                  </a:lnTo>
                  <a:lnTo>
                    <a:pt x="632798" y="29277"/>
                  </a:lnTo>
                  <a:lnTo>
                    <a:pt x="621815" y="34788"/>
                  </a:lnTo>
                  <a:lnTo>
                    <a:pt x="610831" y="40260"/>
                  </a:lnTo>
                  <a:lnTo>
                    <a:pt x="605359" y="45771"/>
                  </a:lnTo>
                  <a:lnTo>
                    <a:pt x="594375" y="56716"/>
                  </a:lnTo>
                  <a:lnTo>
                    <a:pt x="599886" y="67700"/>
                  </a:lnTo>
                  <a:lnTo>
                    <a:pt x="599886" y="73173"/>
                  </a:lnTo>
                  <a:lnTo>
                    <a:pt x="605359" y="78683"/>
                  </a:lnTo>
                  <a:lnTo>
                    <a:pt x="605359" y="89629"/>
                  </a:lnTo>
                  <a:lnTo>
                    <a:pt x="594375" y="100612"/>
                  </a:lnTo>
                  <a:lnTo>
                    <a:pt x="583430" y="106085"/>
                  </a:lnTo>
                  <a:lnTo>
                    <a:pt x="572446" y="117069"/>
                  </a:lnTo>
                  <a:lnTo>
                    <a:pt x="572446" y="122579"/>
                  </a:lnTo>
                  <a:lnTo>
                    <a:pt x="561463" y="133525"/>
                  </a:lnTo>
                  <a:lnTo>
                    <a:pt x="550479" y="144508"/>
                  </a:lnTo>
                  <a:lnTo>
                    <a:pt x="539534" y="149981"/>
                  </a:lnTo>
                  <a:lnTo>
                    <a:pt x="528550" y="149981"/>
                  </a:lnTo>
                  <a:lnTo>
                    <a:pt x="517566" y="155492"/>
                  </a:lnTo>
                  <a:lnTo>
                    <a:pt x="512094" y="166437"/>
                  </a:lnTo>
                  <a:lnTo>
                    <a:pt x="506621" y="177421"/>
                  </a:lnTo>
                  <a:lnTo>
                    <a:pt x="495638" y="188404"/>
                  </a:lnTo>
                  <a:lnTo>
                    <a:pt x="479181" y="193877"/>
                  </a:lnTo>
                  <a:lnTo>
                    <a:pt x="446269" y="193877"/>
                  </a:lnTo>
                  <a:lnTo>
                    <a:pt x="440758" y="199388"/>
                  </a:lnTo>
                  <a:lnTo>
                    <a:pt x="429813" y="199388"/>
                  </a:lnTo>
                  <a:lnTo>
                    <a:pt x="424302" y="204860"/>
                  </a:lnTo>
                  <a:lnTo>
                    <a:pt x="413318" y="210333"/>
                  </a:lnTo>
                  <a:lnTo>
                    <a:pt x="402373" y="226789"/>
                  </a:lnTo>
                  <a:lnTo>
                    <a:pt x="402373" y="243246"/>
                  </a:lnTo>
                  <a:lnTo>
                    <a:pt x="391389" y="254229"/>
                  </a:lnTo>
                  <a:lnTo>
                    <a:pt x="391389" y="259740"/>
                  </a:lnTo>
                  <a:lnTo>
                    <a:pt x="363949" y="259740"/>
                  </a:lnTo>
                  <a:lnTo>
                    <a:pt x="287142" y="254229"/>
                  </a:lnTo>
                  <a:lnTo>
                    <a:pt x="270686" y="243246"/>
                  </a:lnTo>
                  <a:lnTo>
                    <a:pt x="265213" y="243246"/>
                  </a:lnTo>
                  <a:lnTo>
                    <a:pt x="259702" y="232300"/>
                  </a:lnTo>
                  <a:lnTo>
                    <a:pt x="254230" y="215844"/>
                  </a:lnTo>
                  <a:lnTo>
                    <a:pt x="232300" y="210333"/>
                  </a:lnTo>
                  <a:lnTo>
                    <a:pt x="210333" y="221317"/>
                  </a:lnTo>
                  <a:lnTo>
                    <a:pt x="199350" y="243246"/>
                  </a:lnTo>
                  <a:lnTo>
                    <a:pt x="193877" y="281669"/>
                  </a:lnTo>
                  <a:lnTo>
                    <a:pt x="177421" y="287142"/>
                  </a:lnTo>
                  <a:lnTo>
                    <a:pt x="155492" y="287142"/>
                  </a:lnTo>
                  <a:lnTo>
                    <a:pt x="133525" y="298125"/>
                  </a:lnTo>
                  <a:lnTo>
                    <a:pt x="133525" y="314581"/>
                  </a:lnTo>
                  <a:lnTo>
                    <a:pt x="138997" y="320092"/>
                  </a:lnTo>
                  <a:lnTo>
                    <a:pt x="138997" y="331038"/>
                  </a:lnTo>
                  <a:lnTo>
                    <a:pt x="133525" y="336549"/>
                  </a:lnTo>
                  <a:lnTo>
                    <a:pt x="122541" y="331038"/>
                  </a:lnTo>
                  <a:lnTo>
                    <a:pt x="117069" y="325565"/>
                  </a:lnTo>
                  <a:lnTo>
                    <a:pt x="62189" y="325565"/>
                  </a:lnTo>
                  <a:lnTo>
                    <a:pt x="62189" y="331038"/>
                  </a:lnTo>
                  <a:lnTo>
                    <a:pt x="67700" y="342021"/>
                  </a:lnTo>
                  <a:lnTo>
                    <a:pt x="51244" y="353005"/>
                  </a:lnTo>
                  <a:lnTo>
                    <a:pt x="45733" y="358477"/>
                  </a:lnTo>
                  <a:lnTo>
                    <a:pt x="40260" y="369461"/>
                  </a:lnTo>
                  <a:lnTo>
                    <a:pt x="34788" y="369461"/>
                  </a:lnTo>
                  <a:lnTo>
                    <a:pt x="34788" y="374934"/>
                  </a:lnTo>
                  <a:lnTo>
                    <a:pt x="51244" y="385917"/>
                  </a:lnTo>
                  <a:lnTo>
                    <a:pt x="62189" y="396901"/>
                  </a:lnTo>
                  <a:lnTo>
                    <a:pt x="62189" y="402373"/>
                  </a:lnTo>
                  <a:lnTo>
                    <a:pt x="67700" y="407846"/>
                  </a:lnTo>
                  <a:lnTo>
                    <a:pt x="56717" y="418829"/>
                  </a:lnTo>
                  <a:lnTo>
                    <a:pt x="18331" y="418829"/>
                  </a:lnTo>
                  <a:lnTo>
                    <a:pt x="18331" y="457253"/>
                  </a:lnTo>
                  <a:lnTo>
                    <a:pt x="12820" y="462725"/>
                  </a:lnTo>
                  <a:lnTo>
                    <a:pt x="12820" y="473709"/>
                  </a:lnTo>
                  <a:lnTo>
                    <a:pt x="7348" y="473709"/>
                  </a:lnTo>
                  <a:lnTo>
                    <a:pt x="12820" y="484654"/>
                  </a:lnTo>
                  <a:lnTo>
                    <a:pt x="29277" y="495638"/>
                  </a:lnTo>
                  <a:lnTo>
                    <a:pt x="29277" y="506622"/>
                  </a:lnTo>
                  <a:lnTo>
                    <a:pt x="34788" y="506622"/>
                  </a:lnTo>
                  <a:lnTo>
                    <a:pt x="40260" y="517567"/>
                  </a:lnTo>
                  <a:lnTo>
                    <a:pt x="62189" y="539534"/>
                  </a:lnTo>
                  <a:lnTo>
                    <a:pt x="67700" y="561463"/>
                  </a:lnTo>
                  <a:lnTo>
                    <a:pt x="67700" y="599886"/>
                  </a:lnTo>
                  <a:lnTo>
                    <a:pt x="78645" y="616343"/>
                  </a:lnTo>
                  <a:lnTo>
                    <a:pt x="89629" y="627326"/>
                  </a:lnTo>
                  <a:lnTo>
                    <a:pt x="106085" y="638272"/>
                  </a:lnTo>
                  <a:lnTo>
                    <a:pt x="117069" y="649255"/>
                  </a:lnTo>
                  <a:lnTo>
                    <a:pt x="122541" y="665711"/>
                  </a:lnTo>
                  <a:lnTo>
                    <a:pt x="117069" y="676695"/>
                  </a:lnTo>
                  <a:lnTo>
                    <a:pt x="95140" y="704135"/>
                  </a:lnTo>
                  <a:lnTo>
                    <a:pt x="95140" y="715080"/>
                  </a:lnTo>
                  <a:lnTo>
                    <a:pt x="89629" y="715080"/>
                  </a:lnTo>
                  <a:lnTo>
                    <a:pt x="84156" y="720591"/>
                  </a:lnTo>
                  <a:lnTo>
                    <a:pt x="78645" y="726064"/>
                  </a:lnTo>
                  <a:lnTo>
                    <a:pt x="73173" y="731575"/>
                  </a:lnTo>
                  <a:lnTo>
                    <a:pt x="67700" y="753504"/>
                  </a:lnTo>
                  <a:lnTo>
                    <a:pt x="67700" y="780943"/>
                  </a:lnTo>
                  <a:lnTo>
                    <a:pt x="62189" y="786416"/>
                  </a:lnTo>
                  <a:lnTo>
                    <a:pt x="62189" y="791889"/>
                  </a:lnTo>
                  <a:lnTo>
                    <a:pt x="73173" y="797400"/>
                  </a:lnTo>
                  <a:lnTo>
                    <a:pt x="84157" y="813856"/>
                  </a:lnTo>
                  <a:lnTo>
                    <a:pt x="89629" y="824839"/>
                  </a:lnTo>
                  <a:lnTo>
                    <a:pt x="95140" y="835785"/>
                  </a:lnTo>
                  <a:lnTo>
                    <a:pt x="117069" y="835785"/>
                  </a:lnTo>
                  <a:lnTo>
                    <a:pt x="128053" y="824839"/>
                  </a:lnTo>
                  <a:lnTo>
                    <a:pt x="133525" y="813856"/>
                  </a:lnTo>
                  <a:lnTo>
                    <a:pt x="155492" y="808383"/>
                  </a:lnTo>
                  <a:lnTo>
                    <a:pt x="160965" y="802872"/>
                  </a:lnTo>
                  <a:lnTo>
                    <a:pt x="166438" y="797400"/>
                  </a:lnTo>
                  <a:lnTo>
                    <a:pt x="171948" y="797400"/>
                  </a:lnTo>
                  <a:lnTo>
                    <a:pt x="177421" y="808383"/>
                  </a:lnTo>
                  <a:lnTo>
                    <a:pt x="182894" y="813856"/>
                  </a:lnTo>
                  <a:lnTo>
                    <a:pt x="182894" y="819328"/>
                  </a:lnTo>
                  <a:lnTo>
                    <a:pt x="188404" y="819328"/>
                  </a:lnTo>
                  <a:lnTo>
                    <a:pt x="188404" y="824839"/>
                  </a:lnTo>
                  <a:lnTo>
                    <a:pt x="199350" y="835785"/>
                  </a:lnTo>
                  <a:lnTo>
                    <a:pt x="204861" y="835785"/>
                  </a:lnTo>
                  <a:lnTo>
                    <a:pt x="215806" y="841296"/>
                  </a:lnTo>
                  <a:lnTo>
                    <a:pt x="226790" y="841296"/>
                  </a:lnTo>
                  <a:lnTo>
                    <a:pt x="226790" y="846768"/>
                  </a:lnTo>
                  <a:lnTo>
                    <a:pt x="237773" y="852241"/>
                  </a:lnTo>
                  <a:lnTo>
                    <a:pt x="248757" y="868735"/>
                  </a:lnTo>
                  <a:lnTo>
                    <a:pt x="221317" y="896137"/>
                  </a:lnTo>
                  <a:lnTo>
                    <a:pt x="188404" y="890664"/>
                  </a:lnTo>
                  <a:lnTo>
                    <a:pt x="160965" y="885192"/>
                  </a:lnTo>
                  <a:lnTo>
                    <a:pt x="149981" y="918104"/>
                  </a:lnTo>
                  <a:lnTo>
                    <a:pt x="149981" y="934560"/>
                  </a:lnTo>
                  <a:lnTo>
                    <a:pt x="155492" y="940033"/>
                  </a:lnTo>
                  <a:lnTo>
                    <a:pt x="160964" y="951017"/>
                  </a:lnTo>
                  <a:lnTo>
                    <a:pt x="177421" y="967473"/>
                  </a:lnTo>
                  <a:lnTo>
                    <a:pt x="188404" y="983929"/>
                  </a:lnTo>
                  <a:lnTo>
                    <a:pt x="182894" y="989402"/>
                  </a:lnTo>
                  <a:lnTo>
                    <a:pt x="177421" y="994913"/>
                  </a:lnTo>
                  <a:lnTo>
                    <a:pt x="166437" y="1000385"/>
                  </a:lnTo>
                  <a:lnTo>
                    <a:pt x="128052" y="1022352"/>
                  </a:lnTo>
                  <a:lnTo>
                    <a:pt x="138997" y="1038809"/>
                  </a:lnTo>
                  <a:lnTo>
                    <a:pt x="144508" y="1044281"/>
                  </a:lnTo>
                  <a:lnTo>
                    <a:pt x="155492" y="1060738"/>
                  </a:lnTo>
                  <a:lnTo>
                    <a:pt x="171948" y="1071721"/>
                  </a:lnTo>
                  <a:lnTo>
                    <a:pt x="188404" y="1077194"/>
                  </a:lnTo>
                  <a:lnTo>
                    <a:pt x="232300" y="1077194"/>
                  </a:lnTo>
                  <a:lnTo>
                    <a:pt x="232300" y="1093650"/>
                  </a:lnTo>
                  <a:lnTo>
                    <a:pt x="237773" y="1104633"/>
                  </a:lnTo>
                  <a:lnTo>
                    <a:pt x="237773" y="1121090"/>
                  </a:lnTo>
                  <a:lnTo>
                    <a:pt x="265213" y="1148530"/>
                  </a:lnTo>
                  <a:lnTo>
                    <a:pt x="298126" y="1164986"/>
                  </a:lnTo>
                  <a:lnTo>
                    <a:pt x="331038" y="1175969"/>
                  </a:lnTo>
                  <a:lnTo>
                    <a:pt x="479181" y="1214355"/>
                  </a:lnTo>
                  <a:lnTo>
                    <a:pt x="490126" y="1230811"/>
                  </a:lnTo>
                  <a:lnTo>
                    <a:pt x="495637" y="1236322"/>
                  </a:lnTo>
                  <a:lnTo>
                    <a:pt x="512093" y="1247267"/>
                  </a:lnTo>
                  <a:lnTo>
                    <a:pt x="523077" y="1269234"/>
                  </a:lnTo>
                  <a:lnTo>
                    <a:pt x="523077" y="1274707"/>
                  </a:lnTo>
                  <a:lnTo>
                    <a:pt x="517566" y="1302147"/>
                  </a:lnTo>
                  <a:lnTo>
                    <a:pt x="506621" y="1313130"/>
                  </a:lnTo>
                  <a:lnTo>
                    <a:pt x="424302" y="1318603"/>
                  </a:lnTo>
                  <a:lnTo>
                    <a:pt x="424302" y="1313130"/>
                  </a:lnTo>
                  <a:lnTo>
                    <a:pt x="413318" y="1302147"/>
                  </a:lnTo>
                  <a:lnTo>
                    <a:pt x="402373" y="1302147"/>
                  </a:lnTo>
                  <a:lnTo>
                    <a:pt x="402373" y="1313130"/>
                  </a:lnTo>
                  <a:lnTo>
                    <a:pt x="396862" y="1313130"/>
                  </a:lnTo>
                  <a:lnTo>
                    <a:pt x="396862" y="1318603"/>
                  </a:lnTo>
                  <a:lnTo>
                    <a:pt x="374933" y="1324076"/>
                  </a:lnTo>
                  <a:lnTo>
                    <a:pt x="336510" y="1324076"/>
                  </a:lnTo>
                  <a:lnTo>
                    <a:pt x="320054" y="1313130"/>
                  </a:lnTo>
                  <a:lnTo>
                    <a:pt x="309108" y="1307619"/>
                  </a:lnTo>
                  <a:lnTo>
                    <a:pt x="298124" y="1291163"/>
                  </a:lnTo>
                  <a:lnTo>
                    <a:pt x="292652" y="1280218"/>
                  </a:lnTo>
                  <a:lnTo>
                    <a:pt x="281668" y="1274707"/>
                  </a:lnTo>
                  <a:lnTo>
                    <a:pt x="265212" y="1280218"/>
                  </a:lnTo>
                  <a:lnTo>
                    <a:pt x="259701" y="1280218"/>
                  </a:lnTo>
                  <a:lnTo>
                    <a:pt x="265212" y="1296674"/>
                  </a:lnTo>
                  <a:lnTo>
                    <a:pt x="276157" y="1313130"/>
                  </a:lnTo>
                  <a:lnTo>
                    <a:pt x="281668" y="1324076"/>
                  </a:lnTo>
                  <a:lnTo>
                    <a:pt x="276157" y="1346043"/>
                  </a:lnTo>
                  <a:lnTo>
                    <a:pt x="221316" y="1346043"/>
                  </a:lnTo>
                  <a:lnTo>
                    <a:pt x="204860" y="1340532"/>
                  </a:lnTo>
                  <a:lnTo>
                    <a:pt x="204860" y="1346043"/>
                  </a:lnTo>
                  <a:lnTo>
                    <a:pt x="193876" y="1357026"/>
                  </a:lnTo>
                  <a:lnTo>
                    <a:pt x="193876" y="1367972"/>
                  </a:lnTo>
                  <a:lnTo>
                    <a:pt x="199349" y="1378955"/>
                  </a:lnTo>
                  <a:lnTo>
                    <a:pt x="204860" y="1378955"/>
                  </a:lnTo>
                  <a:lnTo>
                    <a:pt x="210332" y="1384428"/>
                  </a:lnTo>
                  <a:lnTo>
                    <a:pt x="215805" y="1389939"/>
                  </a:lnTo>
                  <a:lnTo>
                    <a:pt x="215805" y="1395411"/>
                  </a:lnTo>
                  <a:lnTo>
                    <a:pt x="221316" y="1406395"/>
                  </a:lnTo>
                  <a:lnTo>
                    <a:pt x="221316" y="1411867"/>
                  </a:lnTo>
                  <a:lnTo>
                    <a:pt x="226788" y="1422851"/>
                  </a:lnTo>
                  <a:lnTo>
                    <a:pt x="226788" y="1428324"/>
                  </a:lnTo>
                  <a:lnTo>
                    <a:pt x="232299" y="1450291"/>
                  </a:lnTo>
                  <a:lnTo>
                    <a:pt x="237772" y="1488676"/>
                  </a:lnTo>
                  <a:lnTo>
                    <a:pt x="243244" y="1505132"/>
                  </a:lnTo>
                  <a:lnTo>
                    <a:pt x="237772" y="1516116"/>
                  </a:lnTo>
                  <a:lnTo>
                    <a:pt x="232299" y="1532572"/>
                  </a:lnTo>
                  <a:lnTo>
                    <a:pt x="232299" y="1560012"/>
                  </a:lnTo>
                  <a:lnTo>
                    <a:pt x="243245" y="1570995"/>
                  </a:lnTo>
                  <a:lnTo>
                    <a:pt x="259701" y="1565485"/>
                  </a:lnTo>
                  <a:lnTo>
                    <a:pt x="270684" y="1570995"/>
                  </a:lnTo>
                  <a:lnTo>
                    <a:pt x="270684" y="1592924"/>
                  </a:lnTo>
                  <a:lnTo>
                    <a:pt x="265212" y="1598397"/>
                  </a:lnTo>
                  <a:lnTo>
                    <a:pt x="254228" y="1603908"/>
                  </a:lnTo>
                  <a:lnTo>
                    <a:pt x="248756" y="1609381"/>
                  </a:lnTo>
                  <a:lnTo>
                    <a:pt x="232299" y="1636820"/>
                  </a:lnTo>
                  <a:lnTo>
                    <a:pt x="226789" y="1647804"/>
                  </a:lnTo>
                  <a:lnTo>
                    <a:pt x="215805" y="1653276"/>
                  </a:lnTo>
                  <a:lnTo>
                    <a:pt x="210332" y="1653276"/>
                  </a:lnTo>
                  <a:lnTo>
                    <a:pt x="199349" y="1647804"/>
                  </a:lnTo>
                  <a:lnTo>
                    <a:pt x="182892" y="1631348"/>
                  </a:lnTo>
                  <a:lnTo>
                    <a:pt x="171947" y="1625837"/>
                  </a:lnTo>
                  <a:lnTo>
                    <a:pt x="144507" y="1642293"/>
                  </a:lnTo>
                  <a:lnTo>
                    <a:pt x="149980" y="1664260"/>
                  </a:lnTo>
                  <a:lnTo>
                    <a:pt x="160963" y="1691700"/>
                  </a:lnTo>
                  <a:lnTo>
                    <a:pt x="166436" y="1702645"/>
                  </a:lnTo>
                  <a:lnTo>
                    <a:pt x="193876" y="1691700"/>
                  </a:lnTo>
                  <a:lnTo>
                    <a:pt x="215805" y="1691700"/>
                  </a:lnTo>
                  <a:lnTo>
                    <a:pt x="226788" y="1686189"/>
                  </a:lnTo>
                  <a:lnTo>
                    <a:pt x="309107" y="1625837"/>
                  </a:lnTo>
                  <a:lnTo>
                    <a:pt x="320052" y="1625837"/>
                  </a:lnTo>
                  <a:lnTo>
                    <a:pt x="325563" y="1631348"/>
                  </a:lnTo>
                  <a:lnTo>
                    <a:pt x="331036" y="1642293"/>
                  </a:lnTo>
                  <a:lnTo>
                    <a:pt x="336508" y="1647804"/>
                  </a:lnTo>
                  <a:lnTo>
                    <a:pt x="347492" y="1647804"/>
                  </a:lnTo>
                  <a:lnTo>
                    <a:pt x="363948" y="1642293"/>
                  </a:lnTo>
                  <a:lnTo>
                    <a:pt x="369459" y="1636820"/>
                  </a:lnTo>
                  <a:lnTo>
                    <a:pt x="413317" y="1647804"/>
                  </a:lnTo>
                  <a:lnTo>
                    <a:pt x="418828" y="1647804"/>
                  </a:lnTo>
                  <a:lnTo>
                    <a:pt x="424300" y="1642293"/>
                  </a:lnTo>
                  <a:lnTo>
                    <a:pt x="435284" y="1642293"/>
                  </a:lnTo>
                  <a:lnTo>
                    <a:pt x="451740" y="1658749"/>
                  </a:lnTo>
                  <a:lnTo>
                    <a:pt x="462724" y="1664260"/>
                  </a:lnTo>
                  <a:lnTo>
                    <a:pt x="473669" y="1664260"/>
                  </a:lnTo>
                  <a:lnTo>
                    <a:pt x="479180" y="1669733"/>
                  </a:lnTo>
                  <a:lnTo>
                    <a:pt x="484653" y="1675205"/>
                  </a:lnTo>
                  <a:lnTo>
                    <a:pt x="490125" y="1686189"/>
                  </a:lnTo>
                  <a:lnTo>
                    <a:pt x="490125" y="1713629"/>
                  </a:lnTo>
                  <a:lnTo>
                    <a:pt x="484653" y="1713629"/>
                  </a:lnTo>
                  <a:lnTo>
                    <a:pt x="479180" y="1719101"/>
                  </a:lnTo>
                  <a:lnTo>
                    <a:pt x="446268" y="1872721"/>
                  </a:lnTo>
                  <a:lnTo>
                    <a:pt x="440757" y="1900160"/>
                  </a:lnTo>
                  <a:lnTo>
                    <a:pt x="429811" y="1911144"/>
                  </a:lnTo>
                  <a:lnTo>
                    <a:pt x="413317" y="1927600"/>
                  </a:lnTo>
                  <a:lnTo>
                    <a:pt x="402372" y="1938584"/>
                  </a:lnTo>
                  <a:lnTo>
                    <a:pt x="396861" y="1949529"/>
                  </a:lnTo>
                  <a:lnTo>
                    <a:pt x="385915" y="1987953"/>
                  </a:lnTo>
                  <a:lnTo>
                    <a:pt x="342019" y="2059288"/>
                  </a:lnTo>
                  <a:lnTo>
                    <a:pt x="336508" y="2064760"/>
                  </a:lnTo>
                  <a:lnTo>
                    <a:pt x="325563" y="2070233"/>
                  </a:lnTo>
                  <a:lnTo>
                    <a:pt x="320052" y="2075744"/>
                  </a:lnTo>
                  <a:lnTo>
                    <a:pt x="320052" y="2086689"/>
                  </a:lnTo>
                  <a:lnTo>
                    <a:pt x="325563" y="2103184"/>
                  </a:lnTo>
                  <a:lnTo>
                    <a:pt x="320052" y="2114129"/>
                  </a:lnTo>
                  <a:lnTo>
                    <a:pt x="309107" y="2136096"/>
                  </a:lnTo>
                  <a:lnTo>
                    <a:pt x="303596" y="2141569"/>
                  </a:lnTo>
                  <a:lnTo>
                    <a:pt x="270683" y="2147041"/>
                  </a:lnTo>
                  <a:lnTo>
                    <a:pt x="270683" y="2169008"/>
                  </a:lnTo>
                  <a:lnTo>
                    <a:pt x="281667" y="2229361"/>
                  </a:lnTo>
                  <a:lnTo>
                    <a:pt x="281667" y="2262273"/>
                  </a:lnTo>
                  <a:lnTo>
                    <a:pt x="259700" y="2295186"/>
                  </a:lnTo>
                  <a:lnTo>
                    <a:pt x="248754" y="2322626"/>
                  </a:lnTo>
                  <a:lnTo>
                    <a:pt x="248754" y="2350065"/>
                  </a:lnTo>
                  <a:lnTo>
                    <a:pt x="259700" y="2371994"/>
                  </a:lnTo>
                  <a:lnTo>
                    <a:pt x="276156" y="2415891"/>
                  </a:lnTo>
                  <a:lnTo>
                    <a:pt x="292650" y="2437819"/>
                  </a:lnTo>
                  <a:lnTo>
                    <a:pt x="314579" y="2443330"/>
                  </a:lnTo>
                  <a:lnTo>
                    <a:pt x="352964" y="2454314"/>
                  </a:lnTo>
                  <a:lnTo>
                    <a:pt x="369459" y="2465259"/>
                  </a:lnTo>
                  <a:lnTo>
                    <a:pt x="391388" y="2465259"/>
                  </a:lnTo>
                  <a:lnTo>
                    <a:pt x="418828" y="2459787"/>
                  </a:lnTo>
                  <a:lnTo>
                    <a:pt x="429811" y="2459787"/>
                  </a:lnTo>
                  <a:lnTo>
                    <a:pt x="446268" y="2476243"/>
                  </a:lnTo>
                  <a:lnTo>
                    <a:pt x="462724" y="2498172"/>
                  </a:lnTo>
                  <a:lnTo>
                    <a:pt x="473669" y="2525612"/>
                  </a:lnTo>
                  <a:lnTo>
                    <a:pt x="473669" y="2553051"/>
                  </a:lnTo>
                  <a:lnTo>
                    <a:pt x="484653" y="2569508"/>
                  </a:lnTo>
                  <a:lnTo>
                    <a:pt x="501109" y="2585964"/>
                  </a:lnTo>
                  <a:lnTo>
                    <a:pt x="539532" y="2613404"/>
                  </a:lnTo>
                  <a:lnTo>
                    <a:pt x="550478" y="2624388"/>
                  </a:lnTo>
                  <a:lnTo>
                    <a:pt x="555989" y="2629860"/>
                  </a:lnTo>
                  <a:lnTo>
                    <a:pt x="561461" y="2624388"/>
                  </a:lnTo>
                  <a:lnTo>
                    <a:pt x="572445" y="2618877"/>
                  </a:lnTo>
                  <a:lnTo>
                    <a:pt x="577918" y="2618877"/>
                  </a:lnTo>
                  <a:lnTo>
                    <a:pt x="583428" y="2624388"/>
                  </a:lnTo>
                  <a:lnTo>
                    <a:pt x="588901" y="2646317"/>
                  </a:lnTo>
                  <a:lnTo>
                    <a:pt x="594374" y="2657300"/>
                  </a:lnTo>
                  <a:lnTo>
                    <a:pt x="605357" y="2668284"/>
                  </a:lnTo>
                  <a:lnTo>
                    <a:pt x="627286" y="2701196"/>
                  </a:lnTo>
                  <a:lnTo>
                    <a:pt x="660237" y="2717652"/>
                  </a:lnTo>
                  <a:lnTo>
                    <a:pt x="671182" y="2739581"/>
                  </a:lnTo>
                  <a:lnTo>
                    <a:pt x="682166" y="2745092"/>
                  </a:lnTo>
                  <a:lnTo>
                    <a:pt x="682166" y="2739581"/>
                  </a:lnTo>
                  <a:lnTo>
                    <a:pt x="687638" y="2734109"/>
                  </a:lnTo>
                  <a:lnTo>
                    <a:pt x="698622" y="2728636"/>
                  </a:lnTo>
                  <a:lnTo>
                    <a:pt x="709606" y="2739582"/>
                  </a:lnTo>
                  <a:lnTo>
                    <a:pt x="715078" y="2767021"/>
                  </a:lnTo>
                  <a:lnTo>
                    <a:pt x="709606" y="2783478"/>
                  </a:lnTo>
                  <a:lnTo>
                    <a:pt x="693149" y="2805445"/>
                  </a:lnTo>
                  <a:lnTo>
                    <a:pt x="654726" y="2832846"/>
                  </a:lnTo>
                  <a:lnTo>
                    <a:pt x="632797" y="2838357"/>
                  </a:lnTo>
                  <a:lnTo>
                    <a:pt x="610830" y="2838357"/>
                  </a:lnTo>
                  <a:lnTo>
                    <a:pt x="561461" y="2832846"/>
                  </a:lnTo>
                  <a:lnTo>
                    <a:pt x="512092" y="2838357"/>
                  </a:lnTo>
                  <a:lnTo>
                    <a:pt x="495636" y="2843830"/>
                  </a:lnTo>
                  <a:lnTo>
                    <a:pt x="484652" y="2843830"/>
                  </a:lnTo>
                  <a:lnTo>
                    <a:pt x="473669" y="2838357"/>
                  </a:lnTo>
                  <a:lnTo>
                    <a:pt x="446267" y="2816390"/>
                  </a:lnTo>
                  <a:lnTo>
                    <a:pt x="424300" y="2799934"/>
                  </a:lnTo>
                  <a:lnTo>
                    <a:pt x="413316" y="2794461"/>
                  </a:lnTo>
                  <a:lnTo>
                    <a:pt x="402371" y="2794461"/>
                  </a:lnTo>
                  <a:lnTo>
                    <a:pt x="380404" y="2799934"/>
                  </a:lnTo>
                  <a:lnTo>
                    <a:pt x="374931" y="2805445"/>
                  </a:lnTo>
                  <a:lnTo>
                    <a:pt x="369459" y="2816390"/>
                  </a:lnTo>
                  <a:lnTo>
                    <a:pt x="369459" y="2827374"/>
                  </a:lnTo>
                  <a:lnTo>
                    <a:pt x="374931" y="2843830"/>
                  </a:lnTo>
                  <a:lnTo>
                    <a:pt x="369459" y="2854814"/>
                  </a:lnTo>
                  <a:lnTo>
                    <a:pt x="358475" y="2865797"/>
                  </a:lnTo>
                  <a:lnTo>
                    <a:pt x="369459" y="2871270"/>
                  </a:lnTo>
                  <a:lnTo>
                    <a:pt x="402371" y="2893199"/>
                  </a:lnTo>
                  <a:lnTo>
                    <a:pt x="429811" y="2931622"/>
                  </a:lnTo>
                  <a:lnTo>
                    <a:pt x="479180" y="3008430"/>
                  </a:lnTo>
                  <a:lnTo>
                    <a:pt x="572444" y="3112681"/>
                  </a:lnTo>
                  <a:lnTo>
                    <a:pt x="588900" y="3151066"/>
                  </a:lnTo>
                  <a:lnTo>
                    <a:pt x="610829" y="3222401"/>
                  </a:lnTo>
                  <a:lnTo>
                    <a:pt x="610829" y="3255314"/>
                  </a:lnTo>
                  <a:lnTo>
                    <a:pt x="588900" y="3277281"/>
                  </a:lnTo>
                  <a:lnTo>
                    <a:pt x="588900" y="3293737"/>
                  </a:lnTo>
                  <a:lnTo>
                    <a:pt x="583427" y="3310193"/>
                  </a:lnTo>
                  <a:lnTo>
                    <a:pt x="583427" y="3332123"/>
                  </a:lnTo>
                  <a:lnTo>
                    <a:pt x="588900" y="3343106"/>
                  </a:lnTo>
                  <a:lnTo>
                    <a:pt x="599884" y="3354090"/>
                  </a:lnTo>
                  <a:lnTo>
                    <a:pt x="594373" y="3359562"/>
                  </a:lnTo>
                  <a:lnTo>
                    <a:pt x="588900" y="3365035"/>
                  </a:lnTo>
                  <a:lnTo>
                    <a:pt x="555988" y="3348578"/>
                  </a:lnTo>
                  <a:lnTo>
                    <a:pt x="545004" y="3348578"/>
                  </a:lnTo>
                  <a:lnTo>
                    <a:pt x="534020" y="3381491"/>
                  </a:lnTo>
                  <a:lnTo>
                    <a:pt x="523075" y="3387002"/>
                  </a:lnTo>
                  <a:lnTo>
                    <a:pt x="517564" y="3376018"/>
                  </a:lnTo>
                  <a:lnTo>
                    <a:pt x="512092" y="3359562"/>
                  </a:lnTo>
                  <a:lnTo>
                    <a:pt x="495635" y="3332122"/>
                  </a:lnTo>
                  <a:lnTo>
                    <a:pt x="484652" y="3310193"/>
                  </a:lnTo>
                  <a:lnTo>
                    <a:pt x="468196" y="3304682"/>
                  </a:lnTo>
                  <a:lnTo>
                    <a:pt x="457212" y="3304682"/>
                  </a:lnTo>
                  <a:lnTo>
                    <a:pt x="435283" y="3321139"/>
                  </a:lnTo>
                  <a:lnTo>
                    <a:pt x="424299" y="3332122"/>
                  </a:lnTo>
                  <a:lnTo>
                    <a:pt x="418827" y="3332122"/>
                  </a:lnTo>
                  <a:lnTo>
                    <a:pt x="391387" y="3326650"/>
                  </a:lnTo>
                  <a:lnTo>
                    <a:pt x="369458" y="3348579"/>
                  </a:lnTo>
                  <a:lnTo>
                    <a:pt x="363947" y="3381491"/>
                  </a:lnTo>
                  <a:lnTo>
                    <a:pt x="352964" y="3403458"/>
                  </a:lnTo>
                  <a:lnTo>
                    <a:pt x="331035" y="3403458"/>
                  </a:lnTo>
                  <a:lnTo>
                    <a:pt x="314578" y="3430898"/>
                  </a:lnTo>
                  <a:lnTo>
                    <a:pt x="314578" y="3463811"/>
                  </a:lnTo>
                  <a:lnTo>
                    <a:pt x="320051" y="3485740"/>
                  </a:lnTo>
                  <a:lnTo>
                    <a:pt x="325562" y="3496723"/>
                  </a:lnTo>
                  <a:lnTo>
                    <a:pt x="342018" y="3507707"/>
                  </a:lnTo>
                  <a:lnTo>
                    <a:pt x="352963" y="3518652"/>
                  </a:lnTo>
                  <a:lnTo>
                    <a:pt x="479180" y="3579004"/>
                  </a:lnTo>
                  <a:lnTo>
                    <a:pt x="495636" y="3589988"/>
                  </a:lnTo>
                  <a:lnTo>
                    <a:pt x="534021" y="3644868"/>
                  </a:lnTo>
                  <a:lnTo>
                    <a:pt x="539532" y="3650340"/>
                  </a:lnTo>
                  <a:lnTo>
                    <a:pt x="583428" y="3699709"/>
                  </a:lnTo>
                  <a:lnTo>
                    <a:pt x="594374" y="3716165"/>
                  </a:lnTo>
                  <a:lnTo>
                    <a:pt x="610830" y="3754589"/>
                  </a:lnTo>
                  <a:lnTo>
                    <a:pt x="654726" y="3798485"/>
                  </a:lnTo>
                  <a:lnTo>
                    <a:pt x="665710" y="3809430"/>
                  </a:lnTo>
                  <a:lnTo>
                    <a:pt x="682166" y="3831397"/>
                  </a:lnTo>
                  <a:lnTo>
                    <a:pt x="698622" y="3847854"/>
                  </a:lnTo>
                  <a:lnTo>
                    <a:pt x="715079" y="3858837"/>
                  </a:lnTo>
                  <a:lnTo>
                    <a:pt x="731535" y="3858837"/>
                  </a:lnTo>
                  <a:lnTo>
                    <a:pt x="758975" y="3869783"/>
                  </a:lnTo>
                  <a:lnTo>
                    <a:pt x="791887" y="3869783"/>
                  </a:lnTo>
                  <a:lnTo>
                    <a:pt x="791887" y="3864310"/>
                  </a:lnTo>
                  <a:lnTo>
                    <a:pt x="797398" y="3858837"/>
                  </a:lnTo>
                  <a:lnTo>
                    <a:pt x="802871" y="3858837"/>
                  </a:lnTo>
                  <a:lnTo>
                    <a:pt x="830311" y="3908206"/>
                  </a:lnTo>
                  <a:lnTo>
                    <a:pt x="846767" y="3930135"/>
                  </a:lnTo>
                  <a:lnTo>
                    <a:pt x="852239" y="3935646"/>
                  </a:lnTo>
                  <a:lnTo>
                    <a:pt x="868696" y="3946591"/>
                  </a:lnTo>
                  <a:lnTo>
                    <a:pt x="885152" y="3952102"/>
                  </a:lnTo>
                  <a:lnTo>
                    <a:pt x="918103" y="3957575"/>
                  </a:lnTo>
                  <a:lnTo>
                    <a:pt x="951015" y="3952102"/>
                  </a:lnTo>
                  <a:lnTo>
                    <a:pt x="956488" y="3946591"/>
                  </a:lnTo>
                  <a:lnTo>
                    <a:pt x="978455" y="3924663"/>
                  </a:lnTo>
                  <a:lnTo>
                    <a:pt x="989400" y="3919190"/>
                  </a:lnTo>
                  <a:lnTo>
                    <a:pt x="1000384" y="3924663"/>
                  </a:lnTo>
                  <a:lnTo>
                    <a:pt x="1005856" y="3935646"/>
                  </a:lnTo>
                  <a:lnTo>
                    <a:pt x="1011367" y="3946591"/>
                  </a:lnTo>
                  <a:lnTo>
                    <a:pt x="1022313" y="3957575"/>
                  </a:lnTo>
                  <a:lnTo>
                    <a:pt x="1027824" y="3968559"/>
                  </a:lnTo>
                  <a:lnTo>
                    <a:pt x="1082665" y="4006944"/>
                  </a:lnTo>
                  <a:lnTo>
                    <a:pt x="1170456" y="4094735"/>
                  </a:lnTo>
                  <a:lnTo>
                    <a:pt x="1192423" y="4100246"/>
                  </a:lnTo>
                  <a:lnTo>
                    <a:pt x="1236281" y="4105718"/>
                  </a:lnTo>
                  <a:lnTo>
                    <a:pt x="1241792" y="4105718"/>
                  </a:lnTo>
                  <a:lnTo>
                    <a:pt x="1269232" y="4116702"/>
                  </a:lnTo>
                  <a:lnTo>
                    <a:pt x="1302145" y="4144104"/>
                  </a:lnTo>
                  <a:lnTo>
                    <a:pt x="1318601" y="4155087"/>
                  </a:lnTo>
                  <a:lnTo>
                    <a:pt x="1367969" y="4177054"/>
                  </a:lnTo>
                  <a:lnTo>
                    <a:pt x="1373442" y="4182527"/>
                  </a:lnTo>
                  <a:lnTo>
                    <a:pt x="1389937" y="4198983"/>
                  </a:lnTo>
                  <a:lnTo>
                    <a:pt x="1389937" y="4231896"/>
                  </a:lnTo>
                  <a:lnTo>
                    <a:pt x="1384426" y="4275792"/>
                  </a:lnTo>
                  <a:lnTo>
                    <a:pt x="1378953" y="4275792"/>
                  </a:lnTo>
                  <a:lnTo>
                    <a:pt x="1307618" y="4292248"/>
                  </a:lnTo>
                  <a:lnTo>
                    <a:pt x="1269233" y="4303232"/>
                  </a:lnTo>
                  <a:lnTo>
                    <a:pt x="1263722" y="4308704"/>
                  </a:lnTo>
                  <a:lnTo>
                    <a:pt x="1258249" y="4325161"/>
                  </a:lnTo>
                  <a:lnTo>
                    <a:pt x="1252777" y="4336144"/>
                  </a:lnTo>
                  <a:lnTo>
                    <a:pt x="1258249" y="4347128"/>
                  </a:lnTo>
                  <a:lnTo>
                    <a:pt x="1252777" y="4358073"/>
                  </a:lnTo>
                  <a:lnTo>
                    <a:pt x="1230810" y="4385513"/>
                  </a:lnTo>
                  <a:lnTo>
                    <a:pt x="1203370" y="4374568"/>
                  </a:lnTo>
                  <a:lnTo>
                    <a:pt x="1164985" y="4352601"/>
                  </a:lnTo>
                  <a:lnTo>
                    <a:pt x="1132072" y="4347128"/>
                  </a:lnTo>
                  <a:lnTo>
                    <a:pt x="1126561" y="4352601"/>
                  </a:lnTo>
                  <a:lnTo>
                    <a:pt x="1099122" y="4374568"/>
                  </a:lnTo>
                  <a:lnTo>
                    <a:pt x="1088176" y="4385513"/>
                  </a:lnTo>
                  <a:lnTo>
                    <a:pt x="1088176" y="4412953"/>
                  </a:lnTo>
                  <a:lnTo>
                    <a:pt x="1099122" y="4429409"/>
                  </a:lnTo>
                  <a:lnTo>
                    <a:pt x="1148528" y="4478778"/>
                  </a:lnTo>
                  <a:lnTo>
                    <a:pt x="1159474" y="4495234"/>
                  </a:lnTo>
                  <a:lnTo>
                    <a:pt x="1148528" y="4528185"/>
                  </a:lnTo>
                  <a:lnTo>
                    <a:pt x="1137545" y="4550114"/>
                  </a:lnTo>
                  <a:lnTo>
                    <a:pt x="1132072" y="4561098"/>
                  </a:lnTo>
                  <a:lnTo>
                    <a:pt x="1132072" y="4610466"/>
                  </a:lnTo>
                  <a:lnTo>
                    <a:pt x="1121089" y="4626922"/>
                  </a:lnTo>
                  <a:lnTo>
                    <a:pt x="1143018" y="4648890"/>
                  </a:lnTo>
                  <a:lnTo>
                    <a:pt x="1186914" y="4676291"/>
                  </a:lnTo>
                  <a:lnTo>
                    <a:pt x="1203370" y="4692748"/>
                  </a:lnTo>
                  <a:lnTo>
                    <a:pt x="1225337" y="4758611"/>
                  </a:lnTo>
                  <a:lnTo>
                    <a:pt x="1230810" y="4764083"/>
                  </a:lnTo>
                  <a:lnTo>
                    <a:pt x="1247266" y="4775067"/>
                  </a:lnTo>
                  <a:lnTo>
                    <a:pt x="1252777" y="4786051"/>
                  </a:lnTo>
                  <a:lnTo>
                    <a:pt x="1252777" y="4791523"/>
                  </a:lnTo>
                  <a:lnTo>
                    <a:pt x="1241793" y="4807979"/>
                  </a:lnTo>
                  <a:lnTo>
                    <a:pt x="1241793" y="4818963"/>
                  </a:lnTo>
                  <a:lnTo>
                    <a:pt x="1269233" y="4846403"/>
                  </a:lnTo>
                  <a:lnTo>
                    <a:pt x="1269233" y="4879315"/>
                  </a:lnTo>
                  <a:lnTo>
                    <a:pt x="1280178" y="4901244"/>
                  </a:lnTo>
                  <a:lnTo>
                    <a:pt x="1285689" y="4912228"/>
                  </a:lnTo>
                  <a:lnTo>
                    <a:pt x="1373442" y="4912228"/>
                  </a:lnTo>
                  <a:lnTo>
                    <a:pt x="1488677" y="4994508"/>
                  </a:lnTo>
                  <a:lnTo>
                    <a:pt x="1510605" y="5021948"/>
                  </a:lnTo>
                  <a:lnTo>
                    <a:pt x="1527100" y="5043877"/>
                  </a:lnTo>
                  <a:lnTo>
                    <a:pt x="1560012" y="5120724"/>
                  </a:lnTo>
                  <a:lnTo>
                    <a:pt x="1570958" y="5148125"/>
                  </a:lnTo>
                  <a:lnTo>
                    <a:pt x="1570958" y="5208478"/>
                  </a:lnTo>
                  <a:lnTo>
                    <a:pt x="1576469" y="5235918"/>
                  </a:lnTo>
                  <a:lnTo>
                    <a:pt x="1609381" y="5307252"/>
                  </a:lnTo>
                  <a:lnTo>
                    <a:pt x="1609381" y="5334692"/>
                  </a:lnTo>
                  <a:lnTo>
                    <a:pt x="1614854" y="5351149"/>
                  </a:lnTo>
                  <a:lnTo>
                    <a:pt x="1614854" y="5367605"/>
                  </a:lnTo>
                  <a:lnTo>
                    <a:pt x="1609381" y="5389534"/>
                  </a:lnTo>
                  <a:lnTo>
                    <a:pt x="1598398" y="5395045"/>
                  </a:lnTo>
                  <a:lnTo>
                    <a:pt x="1592925" y="5400517"/>
                  </a:lnTo>
                  <a:lnTo>
                    <a:pt x="1587414" y="5411501"/>
                  </a:lnTo>
                  <a:lnTo>
                    <a:pt x="1581941" y="5422446"/>
                  </a:lnTo>
                  <a:lnTo>
                    <a:pt x="1581941" y="5433430"/>
                  </a:lnTo>
                  <a:lnTo>
                    <a:pt x="1587414" y="5449886"/>
                  </a:lnTo>
                  <a:lnTo>
                    <a:pt x="1587414" y="5455359"/>
                  </a:lnTo>
                  <a:lnTo>
                    <a:pt x="1620365" y="5488309"/>
                  </a:lnTo>
                  <a:lnTo>
                    <a:pt x="1631310" y="5482799"/>
                  </a:lnTo>
                  <a:lnTo>
                    <a:pt x="1642294" y="5477326"/>
                  </a:lnTo>
                  <a:lnTo>
                    <a:pt x="1647766" y="5460870"/>
                  </a:lnTo>
                  <a:lnTo>
                    <a:pt x="1658750" y="5455359"/>
                  </a:lnTo>
                  <a:lnTo>
                    <a:pt x="1664261" y="5460870"/>
                  </a:lnTo>
                  <a:lnTo>
                    <a:pt x="1680717" y="5488309"/>
                  </a:lnTo>
                  <a:lnTo>
                    <a:pt x="1691662" y="5493782"/>
                  </a:lnTo>
                  <a:lnTo>
                    <a:pt x="1708119" y="5488309"/>
                  </a:lnTo>
                  <a:lnTo>
                    <a:pt x="1730086" y="5466342"/>
                  </a:lnTo>
                  <a:lnTo>
                    <a:pt x="1741070" y="5438903"/>
                  </a:lnTo>
                  <a:lnTo>
                    <a:pt x="1752015" y="5416973"/>
                  </a:lnTo>
                  <a:lnTo>
                    <a:pt x="1757526" y="5389534"/>
                  </a:lnTo>
                  <a:lnTo>
                    <a:pt x="1746542" y="5340165"/>
                  </a:lnTo>
                  <a:lnTo>
                    <a:pt x="1746542" y="5312725"/>
                  </a:lnTo>
                  <a:lnTo>
                    <a:pt x="1757526" y="5252373"/>
                  </a:lnTo>
                  <a:lnTo>
                    <a:pt x="1768471" y="5224933"/>
                  </a:lnTo>
                  <a:lnTo>
                    <a:pt x="1784927" y="5203004"/>
                  </a:lnTo>
                  <a:lnTo>
                    <a:pt x="1806895" y="5186548"/>
                  </a:lnTo>
                  <a:lnTo>
                    <a:pt x="1982440" y="5126195"/>
                  </a:lnTo>
                  <a:lnTo>
                    <a:pt x="2004407" y="5115212"/>
                  </a:lnTo>
                  <a:lnTo>
                    <a:pt x="2048303" y="5076826"/>
                  </a:lnTo>
                  <a:lnTo>
                    <a:pt x="2070232" y="5060370"/>
                  </a:lnTo>
                  <a:lnTo>
                    <a:pt x="2075743" y="5060370"/>
                  </a:lnTo>
                  <a:lnTo>
                    <a:pt x="2081215" y="5065843"/>
                  </a:lnTo>
                  <a:lnTo>
                    <a:pt x="2092199" y="5071316"/>
                  </a:lnTo>
                  <a:lnTo>
                    <a:pt x="2130584" y="5098755"/>
                  </a:lnTo>
                  <a:lnTo>
                    <a:pt x="2163497" y="5131668"/>
                  </a:lnTo>
                  <a:lnTo>
                    <a:pt x="2174480" y="5153635"/>
                  </a:lnTo>
                  <a:lnTo>
                    <a:pt x="2185464" y="5170091"/>
                  </a:lnTo>
                  <a:lnTo>
                    <a:pt x="2196409" y="5181036"/>
                  </a:lnTo>
                  <a:lnTo>
                    <a:pt x="2240305" y="5192020"/>
                  </a:lnTo>
                  <a:lnTo>
                    <a:pt x="2251289" y="5192020"/>
                  </a:lnTo>
                  <a:lnTo>
                    <a:pt x="2251289" y="5137179"/>
                  </a:lnTo>
                  <a:lnTo>
                    <a:pt x="2245816" y="5126195"/>
                  </a:lnTo>
                  <a:lnTo>
                    <a:pt x="2245816" y="5120723"/>
                  </a:lnTo>
                  <a:lnTo>
                    <a:pt x="2300658" y="5032931"/>
                  </a:lnTo>
                  <a:lnTo>
                    <a:pt x="2311641" y="5027420"/>
                  </a:lnTo>
                  <a:lnTo>
                    <a:pt x="2328098" y="5027420"/>
                  </a:lnTo>
                  <a:lnTo>
                    <a:pt x="2361010" y="5038404"/>
                  </a:lnTo>
                  <a:lnTo>
                    <a:pt x="2371994" y="5038404"/>
                  </a:lnTo>
                  <a:lnTo>
                    <a:pt x="2371994" y="5027420"/>
                  </a:lnTo>
                  <a:lnTo>
                    <a:pt x="2366521" y="5016475"/>
                  </a:lnTo>
                  <a:lnTo>
                    <a:pt x="2361010" y="5005492"/>
                  </a:lnTo>
                  <a:lnTo>
                    <a:pt x="2377467" y="5000019"/>
                  </a:lnTo>
                  <a:lnTo>
                    <a:pt x="2399434" y="5010964"/>
                  </a:lnTo>
                  <a:lnTo>
                    <a:pt x="2404906" y="5016475"/>
                  </a:lnTo>
                  <a:lnTo>
                    <a:pt x="2421363" y="5000019"/>
                  </a:lnTo>
                  <a:lnTo>
                    <a:pt x="2432346" y="5010964"/>
                  </a:lnTo>
                  <a:lnTo>
                    <a:pt x="2454275" y="5010964"/>
                  </a:lnTo>
                  <a:lnTo>
                    <a:pt x="2492698" y="5000019"/>
                  </a:lnTo>
                  <a:lnTo>
                    <a:pt x="2492698" y="4994508"/>
                  </a:lnTo>
                  <a:lnTo>
                    <a:pt x="2553051" y="4994508"/>
                  </a:lnTo>
                  <a:lnTo>
                    <a:pt x="2564035" y="5000019"/>
                  </a:lnTo>
                  <a:lnTo>
                    <a:pt x="2585964" y="5005492"/>
                  </a:lnTo>
                  <a:lnTo>
                    <a:pt x="2602420" y="5005492"/>
                  </a:lnTo>
                  <a:lnTo>
                    <a:pt x="2602420" y="5000019"/>
                  </a:lnTo>
                  <a:lnTo>
                    <a:pt x="2613403" y="4994508"/>
                  </a:lnTo>
                  <a:lnTo>
                    <a:pt x="2629860" y="4978052"/>
                  </a:lnTo>
                  <a:lnTo>
                    <a:pt x="2646316" y="4972579"/>
                  </a:lnTo>
                  <a:lnTo>
                    <a:pt x="2728596" y="4917699"/>
                  </a:lnTo>
                  <a:lnTo>
                    <a:pt x="2745052" y="4912227"/>
                  </a:lnTo>
                  <a:lnTo>
                    <a:pt x="2788948" y="4912227"/>
                  </a:lnTo>
                  <a:lnTo>
                    <a:pt x="2799932" y="4906716"/>
                  </a:lnTo>
                  <a:lnTo>
                    <a:pt x="2821861" y="4884787"/>
                  </a:lnTo>
                  <a:lnTo>
                    <a:pt x="2832845" y="4879315"/>
                  </a:lnTo>
                  <a:lnTo>
                    <a:pt x="2838355" y="4884787"/>
                  </a:lnTo>
                  <a:lnTo>
                    <a:pt x="2843828" y="4884787"/>
                  </a:lnTo>
                  <a:lnTo>
                    <a:pt x="2893197" y="4906716"/>
                  </a:lnTo>
                  <a:lnTo>
                    <a:pt x="2904180" y="4912227"/>
                  </a:lnTo>
                  <a:lnTo>
                    <a:pt x="2920637" y="4923211"/>
                  </a:lnTo>
                  <a:lnTo>
                    <a:pt x="2959022" y="4923211"/>
                  </a:lnTo>
                  <a:lnTo>
                    <a:pt x="2980989" y="4917700"/>
                  </a:lnTo>
                  <a:lnTo>
                    <a:pt x="3030358" y="4895771"/>
                  </a:lnTo>
                  <a:lnTo>
                    <a:pt x="3107165" y="4862858"/>
                  </a:lnTo>
                  <a:lnTo>
                    <a:pt x="3118149" y="4857347"/>
                  </a:lnTo>
                  <a:lnTo>
                    <a:pt x="3134605" y="4840891"/>
                  </a:lnTo>
                  <a:lnTo>
                    <a:pt x="3140078" y="4840891"/>
                  </a:lnTo>
                  <a:lnTo>
                    <a:pt x="3145589" y="4846402"/>
                  </a:lnTo>
                  <a:lnTo>
                    <a:pt x="3145589" y="4873804"/>
                  </a:lnTo>
                  <a:lnTo>
                    <a:pt x="3162045" y="4890260"/>
                  </a:lnTo>
                  <a:lnTo>
                    <a:pt x="3167518" y="4895771"/>
                  </a:lnTo>
                  <a:lnTo>
                    <a:pt x="3173029" y="4901243"/>
                  </a:lnTo>
                  <a:lnTo>
                    <a:pt x="3189485" y="4906716"/>
                  </a:lnTo>
                  <a:lnTo>
                    <a:pt x="3211414" y="4906716"/>
                  </a:lnTo>
                  <a:lnTo>
                    <a:pt x="3227870" y="4901243"/>
                  </a:lnTo>
                  <a:lnTo>
                    <a:pt x="3260782" y="4901243"/>
                  </a:lnTo>
                  <a:lnTo>
                    <a:pt x="3282750" y="4895771"/>
                  </a:lnTo>
                  <a:lnTo>
                    <a:pt x="3282750" y="4890260"/>
                  </a:lnTo>
                  <a:lnTo>
                    <a:pt x="3293695" y="4873804"/>
                  </a:lnTo>
                  <a:lnTo>
                    <a:pt x="3304679" y="4829908"/>
                  </a:lnTo>
                  <a:lnTo>
                    <a:pt x="3321135" y="4813451"/>
                  </a:lnTo>
                  <a:lnTo>
                    <a:pt x="3343102" y="4802506"/>
                  </a:lnTo>
                  <a:lnTo>
                    <a:pt x="3348575" y="4802506"/>
                  </a:lnTo>
                  <a:lnTo>
                    <a:pt x="3359558" y="4796995"/>
                  </a:lnTo>
                  <a:lnTo>
                    <a:pt x="3365031" y="4775066"/>
                  </a:lnTo>
                  <a:lnTo>
                    <a:pt x="3381487" y="4731170"/>
                  </a:lnTo>
                  <a:lnTo>
                    <a:pt x="3381487" y="4687274"/>
                  </a:lnTo>
                  <a:lnTo>
                    <a:pt x="3376014" y="4681801"/>
                  </a:lnTo>
                  <a:lnTo>
                    <a:pt x="3370503" y="4670818"/>
                  </a:lnTo>
                  <a:lnTo>
                    <a:pt x="3359558" y="4654361"/>
                  </a:lnTo>
                  <a:lnTo>
                    <a:pt x="3332118" y="4637905"/>
                  </a:lnTo>
                  <a:lnTo>
                    <a:pt x="3288222" y="4588536"/>
                  </a:lnTo>
                  <a:lnTo>
                    <a:pt x="3282750" y="4588536"/>
                  </a:lnTo>
                  <a:lnTo>
                    <a:pt x="3282750" y="4566569"/>
                  </a:lnTo>
                  <a:lnTo>
                    <a:pt x="3288222" y="4555585"/>
                  </a:lnTo>
                  <a:lnTo>
                    <a:pt x="3299206" y="4500744"/>
                  </a:lnTo>
                  <a:lnTo>
                    <a:pt x="3304679" y="4473304"/>
                  </a:lnTo>
                  <a:lnTo>
                    <a:pt x="3293695" y="4456848"/>
                  </a:lnTo>
                  <a:lnTo>
                    <a:pt x="3304679" y="4440392"/>
                  </a:lnTo>
                  <a:lnTo>
                    <a:pt x="3321135" y="4407479"/>
                  </a:lnTo>
                  <a:lnTo>
                    <a:pt x="3332118" y="4396496"/>
                  </a:lnTo>
                  <a:lnTo>
                    <a:pt x="3332118" y="4380039"/>
                  </a:lnTo>
                  <a:lnTo>
                    <a:pt x="3304679" y="4352599"/>
                  </a:lnTo>
                  <a:lnTo>
                    <a:pt x="3282749" y="4297758"/>
                  </a:lnTo>
                  <a:lnTo>
                    <a:pt x="3282749" y="4292247"/>
                  </a:lnTo>
                  <a:lnTo>
                    <a:pt x="3293695" y="4275791"/>
                  </a:lnTo>
                  <a:lnTo>
                    <a:pt x="3299206" y="4270318"/>
                  </a:lnTo>
                  <a:lnTo>
                    <a:pt x="3321135" y="4253862"/>
                  </a:lnTo>
                  <a:lnTo>
                    <a:pt x="3332118" y="4248351"/>
                  </a:lnTo>
                  <a:lnTo>
                    <a:pt x="3343102" y="4226422"/>
                  </a:lnTo>
                  <a:lnTo>
                    <a:pt x="3348574" y="4220911"/>
                  </a:lnTo>
                  <a:lnTo>
                    <a:pt x="3386998" y="4220911"/>
                  </a:lnTo>
                  <a:lnTo>
                    <a:pt x="3397943" y="4209966"/>
                  </a:lnTo>
                  <a:lnTo>
                    <a:pt x="3408927" y="4204455"/>
                  </a:lnTo>
                  <a:lnTo>
                    <a:pt x="3430856" y="4198982"/>
                  </a:lnTo>
                  <a:lnTo>
                    <a:pt x="3452823" y="4204455"/>
                  </a:lnTo>
                  <a:lnTo>
                    <a:pt x="3502192" y="4220911"/>
                  </a:lnTo>
                  <a:lnTo>
                    <a:pt x="3524159" y="4215439"/>
                  </a:lnTo>
                  <a:lnTo>
                    <a:pt x="3529631" y="4209966"/>
                  </a:lnTo>
                  <a:lnTo>
                    <a:pt x="3546087" y="4204455"/>
                  </a:lnTo>
                  <a:lnTo>
                    <a:pt x="3557071" y="4198983"/>
                  </a:lnTo>
                  <a:lnTo>
                    <a:pt x="3562544" y="4193510"/>
                  </a:lnTo>
                  <a:lnTo>
                    <a:pt x="3568016" y="4187999"/>
                  </a:lnTo>
                  <a:lnTo>
                    <a:pt x="3568016" y="4182526"/>
                  </a:lnTo>
                  <a:lnTo>
                    <a:pt x="3573527" y="4171543"/>
                  </a:lnTo>
                  <a:lnTo>
                    <a:pt x="3584511" y="4122174"/>
                  </a:lnTo>
                  <a:lnTo>
                    <a:pt x="3589983" y="4111191"/>
                  </a:lnTo>
                  <a:lnTo>
                    <a:pt x="3589983" y="4105718"/>
                  </a:lnTo>
                  <a:lnTo>
                    <a:pt x="3595456" y="4094735"/>
                  </a:lnTo>
                  <a:lnTo>
                    <a:pt x="3600967" y="4083751"/>
                  </a:lnTo>
                  <a:lnTo>
                    <a:pt x="3611912" y="4078278"/>
                  </a:lnTo>
                  <a:lnTo>
                    <a:pt x="3633880" y="4072806"/>
                  </a:lnTo>
                  <a:lnTo>
                    <a:pt x="3650336" y="4067295"/>
                  </a:lnTo>
                  <a:lnTo>
                    <a:pt x="3661319" y="4050838"/>
                  </a:lnTo>
                  <a:lnTo>
                    <a:pt x="3699704" y="4012453"/>
                  </a:lnTo>
                  <a:lnTo>
                    <a:pt x="3705177" y="4006942"/>
                  </a:lnTo>
                  <a:lnTo>
                    <a:pt x="3710688" y="3985014"/>
                  </a:lnTo>
                  <a:lnTo>
                    <a:pt x="3710688" y="3979541"/>
                  </a:lnTo>
                  <a:lnTo>
                    <a:pt x="3716160" y="3974030"/>
                  </a:lnTo>
                  <a:lnTo>
                    <a:pt x="3721671" y="3968557"/>
                  </a:lnTo>
                  <a:lnTo>
                    <a:pt x="3738128" y="3957574"/>
                  </a:lnTo>
                  <a:lnTo>
                    <a:pt x="3743601" y="3957574"/>
                  </a:lnTo>
                  <a:lnTo>
                    <a:pt x="3760057" y="3935645"/>
                  </a:lnTo>
                  <a:lnTo>
                    <a:pt x="3765529" y="3924661"/>
                  </a:lnTo>
                  <a:lnTo>
                    <a:pt x="3781985" y="3886276"/>
                  </a:lnTo>
                  <a:lnTo>
                    <a:pt x="3792969" y="384238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141">
              <a:extLst>
                <a:ext uri="{FF2B5EF4-FFF2-40B4-BE49-F238E27FC236}">
                  <a16:creationId xmlns:a16="http://schemas.microsoft.com/office/drawing/2014/main" id="{7DB447EA-5734-47F0-B0B1-53CE6A8BC021}"/>
                </a:ext>
              </a:extLst>
            </p:cNvPr>
            <p:cNvSpPr/>
            <p:nvPr/>
          </p:nvSpPr>
          <p:spPr>
            <a:xfrm>
              <a:off x="2501601" y="4773303"/>
              <a:ext cx="664442" cy="376764"/>
            </a:xfrm>
            <a:custGeom>
              <a:avLst/>
              <a:gdLst>
                <a:gd name="connsiteX0" fmla="*/ 262368 w 664442"/>
                <a:gd name="connsiteY0" fmla="*/ 91759 h 376763"/>
                <a:gd name="connsiteX1" fmla="*/ 272538 w 664442"/>
                <a:gd name="connsiteY1" fmla="*/ 80791 h 376763"/>
                <a:gd name="connsiteX2" fmla="*/ 239836 w 664442"/>
                <a:gd name="connsiteY2" fmla="*/ 94506 h 376763"/>
                <a:gd name="connsiteX3" fmla="*/ 215188 w 664442"/>
                <a:gd name="connsiteY3" fmla="*/ 83964 h 376763"/>
                <a:gd name="connsiteX4" fmla="*/ 213247 w 664442"/>
                <a:gd name="connsiteY4" fmla="*/ 66407 h 376763"/>
                <a:gd name="connsiteX5" fmla="*/ 230955 w 664442"/>
                <a:gd name="connsiteY5" fmla="*/ 44042 h 376763"/>
                <a:gd name="connsiteX6" fmla="*/ 251993 w 664442"/>
                <a:gd name="connsiteY6" fmla="*/ 37287 h 376763"/>
                <a:gd name="connsiteX7" fmla="*/ 263982 w 664442"/>
                <a:gd name="connsiteY7" fmla="*/ 43040 h 376763"/>
                <a:gd name="connsiteX8" fmla="*/ 275489 w 664442"/>
                <a:gd name="connsiteY8" fmla="*/ 72662 h 376763"/>
                <a:gd name="connsiteX9" fmla="*/ 274450 w 664442"/>
                <a:gd name="connsiteY9" fmla="*/ 82183 h 376763"/>
                <a:gd name="connsiteX10" fmla="*/ 262368 w 664442"/>
                <a:gd name="connsiteY10" fmla="*/ 91759 h 376763"/>
                <a:gd name="connsiteX11" fmla="*/ 514132 w 664442"/>
                <a:gd name="connsiteY11" fmla="*/ 112936 h 376763"/>
                <a:gd name="connsiteX12" fmla="*/ 519199 w 664442"/>
                <a:gd name="connsiteY12" fmla="*/ 101930 h 376763"/>
                <a:gd name="connsiteX13" fmla="*/ 536218 w 664442"/>
                <a:gd name="connsiteY13" fmla="*/ 96678 h 376763"/>
                <a:gd name="connsiteX14" fmla="*/ 556801 w 664442"/>
                <a:gd name="connsiteY14" fmla="*/ 151225 h 376763"/>
                <a:gd name="connsiteX15" fmla="*/ 551456 w 664442"/>
                <a:gd name="connsiteY15" fmla="*/ 165683 h 376763"/>
                <a:gd name="connsiteX16" fmla="*/ 527903 w 664442"/>
                <a:gd name="connsiteY16" fmla="*/ 156682 h 376763"/>
                <a:gd name="connsiteX17" fmla="*/ 529110 w 664442"/>
                <a:gd name="connsiteY17" fmla="*/ 142873 h 376763"/>
                <a:gd name="connsiteX18" fmla="*/ 518401 w 664442"/>
                <a:gd name="connsiteY18" fmla="*/ 134373 h 376763"/>
                <a:gd name="connsiteX19" fmla="*/ 514132 w 664442"/>
                <a:gd name="connsiteY19" fmla="*/ 112936 h 376763"/>
                <a:gd name="connsiteX20" fmla="*/ 662648 w 664442"/>
                <a:gd name="connsiteY20" fmla="*/ 238994 h 376763"/>
                <a:gd name="connsiteX21" fmla="*/ 643624 w 664442"/>
                <a:gd name="connsiteY21" fmla="*/ 253081 h 376763"/>
                <a:gd name="connsiteX22" fmla="*/ 640357 w 664442"/>
                <a:gd name="connsiteY22" fmla="*/ 264644 h 376763"/>
                <a:gd name="connsiteX23" fmla="*/ 660031 w 664442"/>
                <a:gd name="connsiteY23" fmla="*/ 275984 h 376763"/>
                <a:gd name="connsiteX24" fmla="*/ 657043 w 664442"/>
                <a:gd name="connsiteY24" fmla="*/ 305364 h 376763"/>
                <a:gd name="connsiteX25" fmla="*/ 635940 w 664442"/>
                <a:gd name="connsiteY25" fmla="*/ 301077 h 376763"/>
                <a:gd name="connsiteX26" fmla="*/ 625342 w 664442"/>
                <a:gd name="connsiteY26" fmla="*/ 314663 h 376763"/>
                <a:gd name="connsiteX27" fmla="*/ 600973 w 664442"/>
                <a:gd name="connsiteY27" fmla="*/ 321938 h 376763"/>
                <a:gd name="connsiteX28" fmla="*/ 601029 w 664442"/>
                <a:gd name="connsiteY28" fmla="*/ 332981 h 376763"/>
                <a:gd name="connsiteX29" fmla="*/ 563093 w 664442"/>
                <a:gd name="connsiteY29" fmla="*/ 345824 h 376763"/>
                <a:gd name="connsiteX30" fmla="*/ 556652 w 664442"/>
                <a:gd name="connsiteY30" fmla="*/ 358761 h 376763"/>
                <a:gd name="connsiteX31" fmla="*/ 512332 w 664442"/>
                <a:gd name="connsiteY31" fmla="*/ 374314 h 376763"/>
                <a:gd name="connsiteX32" fmla="*/ 465765 w 664442"/>
                <a:gd name="connsiteY32" fmla="*/ 359614 h 376763"/>
                <a:gd name="connsiteX33" fmla="*/ 428441 w 664442"/>
                <a:gd name="connsiteY33" fmla="*/ 344284 h 376763"/>
                <a:gd name="connsiteX34" fmla="*/ 285159 w 664442"/>
                <a:gd name="connsiteY34" fmla="*/ 277784 h 376763"/>
                <a:gd name="connsiteX35" fmla="*/ 245719 w 664442"/>
                <a:gd name="connsiteY35" fmla="*/ 249184 h 376763"/>
                <a:gd name="connsiteX36" fmla="*/ 218650 w 664442"/>
                <a:gd name="connsiteY36" fmla="*/ 250093 h 376763"/>
                <a:gd name="connsiteX37" fmla="*/ 214028 w 664442"/>
                <a:gd name="connsiteY37" fmla="*/ 258482 h 376763"/>
                <a:gd name="connsiteX38" fmla="*/ 118427 w 664442"/>
                <a:gd name="connsiteY38" fmla="*/ 261786 h 376763"/>
                <a:gd name="connsiteX39" fmla="*/ 95477 w 664442"/>
                <a:gd name="connsiteY39" fmla="*/ 245880 h 376763"/>
                <a:gd name="connsiteX40" fmla="*/ 68456 w 664442"/>
                <a:gd name="connsiteY40" fmla="*/ 257833 h 376763"/>
                <a:gd name="connsiteX41" fmla="*/ 54031 w 664442"/>
                <a:gd name="connsiteY41" fmla="*/ 247365 h 376763"/>
                <a:gd name="connsiteX42" fmla="*/ 41945 w 664442"/>
                <a:gd name="connsiteY42" fmla="*/ 219525 h 376763"/>
                <a:gd name="connsiteX43" fmla="*/ 26993 w 664442"/>
                <a:gd name="connsiteY43" fmla="*/ 205754 h 376763"/>
                <a:gd name="connsiteX44" fmla="*/ 2784 w 664442"/>
                <a:gd name="connsiteY44" fmla="*/ 155178 h 376763"/>
                <a:gd name="connsiteX45" fmla="*/ 22339 w 664442"/>
                <a:gd name="connsiteY45" fmla="*/ 144414 h 376763"/>
                <a:gd name="connsiteX46" fmla="*/ 33502 w 664442"/>
                <a:gd name="connsiteY46" fmla="*/ 129028 h 376763"/>
                <a:gd name="connsiteX47" fmla="*/ 35540 w 664442"/>
                <a:gd name="connsiteY47" fmla="*/ 115089 h 376763"/>
                <a:gd name="connsiteX48" fmla="*/ 28055 w 664442"/>
                <a:gd name="connsiteY48" fmla="*/ 100130 h 376763"/>
                <a:gd name="connsiteX49" fmla="*/ 35731 w 664442"/>
                <a:gd name="connsiteY49" fmla="*/ 89551 h 376763"/>
                <a:gd name="connsiteX50" fmla="*/ 65449 w 664442"/>
                <a:gd name="connsiteY50" fmla="*/ 67818 h 376763"/>
                <a:gd name="connsiteX51" fmla="*/ 88569 w 664442"/>
                <a:gd name="connsiteY51" fmla="*/ 42019 h 376763"/>
                <a:gd name="connsiteX52" fmla="*/ 84028 w 664442"/>
                <a:gd name="connsiteY52" fmla="*/ 2784 h 376763"/>
                <a:gd name="connsiteX53" fmla="*/ 96754 w 664442"/>
                <a:gd name="connsiteY53" fmla="*/ 18616 h 376763"/>
                <a:gd name="connsiteX54" fmla="*/ 127658 w 664442"/>
                <a:gd name="connsiteY54" fmla="*/ 41760 h 376763"/>
                <a:gd name="connsiteX55" fmla="*/ 138030 w 664442"/>
                <a:gd name="connsiteY55" fmla="*/ 58816 h 376763"/>
                <a:gd name="connsiteX56" fmla="*/ 138631 w 664442"/>
                <a:gd name="connsiteY56" fmla="*/ 89347 h 376763"/>
                <a:gd name="connsiteX57" fmla="*/ 131012 w 664442"/>
                <a:gd name="connsiteY57" fmla="*/ 110969 h 376763"/>
                <a:gd name="connsiteX58" fmla="*/ 91773 w 664442"/>
                <a:gd name="connsiteY58" fmla="*/ 94247 h 376763"/>
                <a:gd name="connsiteX59" fmla="*/ 75008 w 664442"/>
                <a:gd name="connsiteY59" fmla="*/ 101169 h 376763"/>
                <a:gd name="connsiteX60" fmla="*/ 63185 w 664442"/>
                <a:gd name="connsiteY60" fmla="*/ 112398 h 376763"/>
                <a:gd name="connsiteX61" fmla="*/ 71856 w 664442"/>
                <a:gd name="connsiteY61" fmla="*/ 134837 h 376763"/>
                <a:gd name="connsiteX62" fmla="*/ 66726 w 664442"/>
                <a:gd name="connsiteY62" fmla="*/ 156051 h 376763"/>
                <a:gd name="connsiteX63" fmla="*/ 82339 w 664442"/>
                <a:gd name="connsiteY63" fmla="*/ 173979 h 376763"/>
                <a:gd name="connsiteX64" fmla="*/ 120259 w 664442"/>
                <a:gd name="connsiteY64" fmla="*/ 182406 h 376763"/>
                <a:gd name="connsiteX65" fmla="*/ 128236 w 664442"/>
                <a:gd name="connsiteY65" fmla="*/ 168374 h 376763"/>
                <a:gd name="connsiteX66" fmla="*/ 145170 w 664442"/>
                <a:gd name="connsiteY66" fmla="*/ 157183 h 376763"/>
                <a:gd name="connsiteX67" fmla="*/ 147038 w 664442"/>
                <a:gd name="connsiteY67" fmla="*/ 147532 h 376763"/>
                <a:gd name="connsiteX68" fmla="*/ 178490 w 664442"/>
                <a:gd name="connsiteY68" fmla="*/ 152729 h 376763"/>
                <a:gd name="connsiteX69" fmla="*/ 185732 w 664442"/>
                <a:gd name="connsiteY69" fmla="*/ 144785 h 376763"/>
                <a:gd name="connsiteX70" fmla="*/ 211245 w 664442"/>
                <a:gd name="connsiteY70" fmla="*/ 150074 h 376763"/>
                <a:gd name="connsiteX71" fmla="*/ 256484 w 664442"/>
                <a:gd name="connsiteY71" fmla="*/ 140330 h 376763"/>
                <a:gd name="connsiteX72" fmla="*/ 259064 w 664442"/>
                <a:gd name="connsiteY72" fmla="*/ 145861 h 376763"/>
                <a:gd name="connsiteX73" fmla="*/ 301046 w 664442"/>
                <a:gd name="connsiteY73" fmla="*/ 147699 h 376763"/>
                <a:gd name="connsiteX74" fmla="*/ 291135 w 664442"/>
                <a:gd name="connsiteY74" fmla="*/ 160319 h 376763"/>
                <a:gd name="connsiteX75" fmla="*/ 310178 w 664442"/>
                <a:gd name="connsiteY75" fmla="*/ 162398 h 376763"/>
                <a:gd name="connsiteX76" fmla="*/ 303403 w 664442"/>
                <a:gd name="connsiteY76" fmla="*/ 146474 h 376763"/>
                <a:gd name="connsiteX77" fmla="*/ 344309 w 664442"/>
                <a:gd name="connsiteY77" fmla="*/ 141667 h 376763"/>
                <a:gd name="connsiteX78" fmla="*/ 356522 w 664442"/>
                <a:gd name="connsiteY78" fmla="*/ 154176 h 376763"/>
                <a:gd name="connsiteX79" fmla="*/ 341804 w 664442"/>
                <a:gd name="connsiteY79" fmla="*/ 163326 h 376763"/>
                <a:gd name="connsiteX80" fmla="*/ 333192 w 664442"/>
                <a:gd name="connsiteY80" fmla="*/ 189347 h 376763"/>
                <a:gd name="connsiteX81" fmla="*/ 324710 w 664442"/>
                <a:gd name="connsiteY81" fmla="*/ 178805 h 376763"/>
                <a:gd name="connsiteX82" fmla="*/ 315412 w 664442"/>
                <a:gd name="connsiteY82" fmla="*/ 184521 h 376763"/>
                <a:gd name="connsiteX83" fmla="*/ 333545 w 664442"/>
                <a:gd name="connsiteY83" fmla="*/ 196956 h 376763"/>
                <a:gd name="connsiteX84" fmla="*/ 345850 w 664442"/>
                <a:gd name="connsiteY84" fmla="*/ 194135 h 376763"/>
                <a:gd name="connsiteX85" fmla="*/ 356225 w 664442"/>
                <a:gd name="connsiteY85" fmla="*/ 211192 h 376763"/>
                <a:gd name="connsiteX86" fmla="*/ 365041 w 664442"/>
                <a:gd name="connsiteY86" fmla="*/ 197049 h 376763"/>
                <a:gd name="connsiteX87" fmla="*/ 400843 w 664442"/>
                <a:gd name="connsiteY87" fmla="*/ 192205 h 376763"/>
                <a:gd name="connsiteX88" fmla="*/ 434232 w 664442"/>
                <a:gd name="connsiteY88" fmla="*/ 214941 h 376763"/>
                <a:gd name="connsiteX89" fmla="*/ 461125 w 664442"/>
                <a:gd name="connsiteY89" fmla="*/ 202172 h 376763"/>
                <a:gd name="connsiteX90" fmla="*/ 489039 w 664442"/>
                <a:gd name="connsiteY90" fmla="*/ 201132 h 376763"/>
                <a:gd name="connsiteX91" fmla="*/ 496871 w 664442"/>
                <a:gd name="connsiteY91" fmla="*/ 223701 h 376763"/>
                <a:gd name="connsiteX92" fmla="*/ 482729 w 664442"/>
                <a:gd name="connsiteY92" fmla="*/ 231051 h 376763"/>
                <a:gd name="connsiteX93" fmla="*/ 478478 w 664442"/>
                <a:gd name="connsiteY93" fmla="*/ 247031 h 376763"/>
                <a:gd name="connsiteX94" fmla="*/ 492064 w 664442"/>
                <a:gd name="connsiteY94" fmla="*/ 257628 h 376763"/>
                <a:gd name="connsiteX95" fmla="*/ 503033 w 664442"/>
                <a:gd name="connsiteY95" fmla="*/ 251633 h 376763"/>
                <a:gd name="connsiteX96" fmla="*/ 503831 w 664442"/>
                <a:gd name="connsiteY96" fmla="*/ 235338 h 376763"/>
                <a:gd name="connsiteX97" fmla="*/ 523839 w 664442"/>
                <a:gd name="connsiteY97" fmla="*/ 238104 h 376763"/>
                <a:gd name="connsiteX98" fmla="*/ 541730 w 664442"/>
                <a:gd name="connsiteY98" fmla="*/ 227617 h 376763"/>
                <a:gd name="connsiteX99" fmla="*/ 547094 w 664442"/>
                <a:gd name="connsiteY99" fmla="*/ 213159 h 376763"/>
                <a:gd name="connsiteX100" fmla="*/ 538705 w 664442"/>
                <a:gd name="connsiteY100" fmla="*/ 208538 h 376763"/>
                <a:gd name="connsiteX101" fmla="*/ 538965 w 664442"/>
                <a:gd name="connsiteY101" fmla="*/ 172773 h 376763"/>
                <a:gd name="connsiteX102" fmla="*/ 554871 w 664442"/>
                <a:gd name="connsiteY102" fmla="*/ 171103 h 376763"/>
                <a:gd name="connsiteX103" fmla="*/ 562406 w 664442"/>
                <a:gd name="connsiteY103" fmla="*/ 159688 h 376763"/>
                <a:gd name="connsiteX104" fmla="*/ 608768 w 664442"/>
                <a:gd name="connsiteY104" fmla="*/ 183779 h 376763"/>
                <a:gd name="connsiteX105" fmla="*/ 643661 w 664442"/>
                <a:gd name="connsiteY105" fmla="*/ 210542 h 376763"/>
                <a:gd name="connsiteX106" fmla="*/ 662648 w 664442"/>
                <a:gd name="connsiteY106" fmla="*/ 238994 h 37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64442" h="376763">
                  <a:moveTo>
                    <a:pt x="262368" y="91759"/>
                  </a:moveTo>
                  <a:lnTo>
                    <a:pt x="272538" y="80791"/>
                  </a:lnTo>
                  <a:lnTo>
                    <a:pt x="239836" y="94506"/>
                  </a:lnTo>
                  <a:lnTo>
                    <a:pt x="215188" y="83964"/>
                  </a:lnTo>
                  <a:lnTo>
                    <a:pt x="213247" y="66407"/>
                  </a:lnTo>
                  <a:lnTo>
                    <a:pt x="230955" y="44042"/>
                  </a:lnTo>
                  <a:lnTo>
                    <a:pt x="251993" y="37287"/>
                  </a:lnTo>
                  <a:lnTo>
                    <a:pt x="263982" y="43040"/>
                  </a:lnTo>
                  <a:lnTo>
                    <a:pt x="275489" y="72662"/>
                  </a:lnTo>
                  <a:lnTo>
                    <a:pt x="274450" y="82183"/>
                  </a:lnTo>
                  <a:lnTo>
                    <a:pt x="262368" y="91759"/>
                  </a:lnTo>
                  <a:close/>
                  <a:moveTo>
                    <a:pt x="514132" y="112936"/>
                  </a:moveTo>
                  <a:lnTo>
                    <a:pt x="519199" y="101930"/>
                  </a:lnTo>
                  <a:lnTo>
                    <a:pt x="536218" y="96678"/>
                  </a:lnTo>
                  <a:lnTo>
                    <a:pt x="556801" y="151225"/>
                  </a:lnTo>
                  <a:lnTo>
                    <a:pt x="551456" y="165683"/>
                  </a:lnTo>
                  <a:lnTo>
                    <a:pt x="527903" y="156682"/>
                  </a:lnTo>
                  <a:lnTo>
                    <a:pt x="529110" y="142873"/>
                  </a:lnTo>
                  <a:lnTo>
                    <a:pt x="518401" y="134373"/>
                  </a:lnTo>
                  <a:lnTo>
                    <a:pt x="514132" y="112936"/>
                  </a:lnTo>
                  <a:close/>
                  <a:moveTo>
                    <a:pt x="662648" y="238994"/>
                  </a:moveTo>
                  <a:lnTo>
                    <a:pt x="643624" y="253081"/>
                  </a:lnTo>
                  <a:lnTo>
                    <a:pt x="640357" y="264644"/>
                  </a:lnTo>
                  <a:lnTo>
                    <a:pt x="660031" y="275984"/>
                  </a:lnTo>
                  <a:lnTo>
                    <a:pt x="657043" y="305364"/>
                  </a:lnTo>
                  <a:lnTo>
                    <a:pt x="635940" y="301077"/>
                  </a:lnTo>
                  <a:lnTo>
                    <a:pt x="625342" y="314663"/>
                  </a:lnTo>
                  <a:lnTo>
                    <a:pt x="600973" y="321938"/>
                  </a:lnTo>
                  <a:lnTo>
                    <a:pt x="601029" y="332981"/>
                  </a:lnTo>
                  <a:lnTo>
                    <a:pt x="563093" y="345824"/>
                  </a:lnTo>
                  <a:lnTo>
                    <a:pt x="556652" y="358761"/>
                  </a:lnTo>
                  <a:lnTo>
                    <a:pt x="512332" y="374314"/>
                  </a:lnTo>
                  <a:lnTo>
                    <a:pt x="465765" y="359614"/>
                  </a:lnTo>
                  <a:lnTo>
                    <a:pt x="428441" y="344284"/>
                  </a:lnTo>
                  <a:lnTo>
                    <a:pt x="285159" y="277784"/>
                  </a:lnTo>
                  <a:lnTo>
                    <a:pt x="245719" y="249184"/>
                  </a:lnTo>
                  <a:lnTo>
                    <a:pt x="218650" y="250093"/>
                  </a:lnTo>
                  <a:lnTo>
                    <a:pt x="214028" y="258482"/>
                  </a:lnTo>
                  <a:lnTo>
                    <a:pt x="118427" y="261786"/>
                  </a:lnTo>
                  <a:lnTo>
                    <a:pt x="95477" y="245880"/>
                  </a:lnTo>
                  <a:lnTo>
                    <a:pt x="68456" y="257833"/>
                  </a:lnTo>
                  <a:lnTo>
                    <a:pt x="54031" y="247365"/>
                  </a:lnTo>
                  <a:lnTo>
                    <a:pt x="41945" y="219525"/>
                  </a:lnTo>
                  <a:lnTo>
                    <a:pt x="26993" y="205754"/>
                  </a:lnTo>
                  <a:lnTo>
                    <a:pt x="2784" y="155178"/>
                  </a:lnTo>
                  <a:lnTo>
                    <a:pt x="22339" y="144414"/>
                  </a:lnTo>
                  <a:lnTo>
                    <a:pt x="33502" y="129028"/>
                  </a:lnTo>
                  <a:lnTo>
                    <a:pt x="35540" y="115089"/>
                  </a:lnTo>
                  <a:lnTo>
                    <a:pt x="28055" y="100130"/>
                  </a:lnTo>
                  <a:lnTo>
                    <a:pt x="35731" y="89551"/>
                  </a:lnTo>
                  <a:lnTo>
                    <a:pt x="65449" y="67818"/>
                  </a:lnTo>
                  <a:lnTo>
                    <a:pt x="88569" y="42019"/>
                  </a:lnTo>
                  <a:lnTo>
                    <a:pt x="84028" y="2784"/>
                  </a:lnTo>
                  <a:lnTo>
                    <a:pt x="96754" y="18616"/>
                  </a:lnTo>
                  <a:lnTo>
                    <a:pt x="127658" y="41760"/>
                  </a:lnTo>
                  <a:lnTo>
                    <a:pt x="138030" y="58816"/>
                  </a:lnTo>
                  <a:lnTo>
                    <a:pt x="138631" y="89347"/>
                  </a:lnTo>
                  <a:lnTo>
                    <a:pt x="131012" y="110969"/>
                  </a:lnTo>
                  <a:lnTo>
                    <a:pt x="91773" y="94247"/>
                  </a:lnTo>
                  <a:lnTo>
                    <a:pt x="75008" y="101169"/>
                  </a:lnTo>
                  <a:lnTo>
                    <a:pt x="63185" y="112398"/>
                  </a:lnTo>
                  <a:lnTo>
                    <a:pt x="71856" y="134837"/>
                  </a:lnTo>
                  <a:lnTo>
                    <a:pt x="66726" y="156051"/>
                  </a:lnTo>
                  <a:lnTo>
                    <a:pt x="82339" y="173979"/>
                  </a:lnTo>
                  <a:lnTo>
                    <a:pt x="120259" y="182406"/>
                  </a:lnTo>
                  <a:lnTo>
                    <a:pt x="128236" y="168374"/>
                  </a:lnTo>
                  <a:lnTo>
                    <a:pt x="145170" y="157183"/>
                  </a:lnTo>
                  <a:lnTo>
                    <a:pt x="147038" y="147532"/>
                  </a:lnTo>
                  <a:lnTo>
                    <a:pt x="178490" y="152729"/>
                  </a:lnTo>
                  <a:lnTo>
                    <a:pt x="185732" y="144785"/>
                  </a:lnTo>
                  <a:lnTo>
                    <a:pt x="211245" y="150074"/>
                  </a:lnTo>
                  <a:lnTo>
                    <a:pt x="256484" y="140330"/>
                  </a:lnTo>
                  <a:lnTo>
                    <a:pt x="259064" y="145861"/>
                  </a:lnTo>
                  <a:lnTo>
                    <a:pt x="301046" y="147699"/>
                  </a:lnTo>
                  <a:lnTo>
                    <a:pt x="291135" y="160319"/>
                  </a:lnTo>
                  <a:lnTo>
                    <a:pt x="310178" y="162398"/>
                  </a:lnTo>
                  <a:lnTo>
                    <a:pt x="303403" y="146474"/>
                  </a:lnTo>
                  <a:lnTo>
                    <a:pt x="344309" y="141667"/>
                  </a:lnTo>
                  <a:lnTo>
                    <a:pt x="356522" y="154176"/>
                  </a:lnTo>
                  <a:lnTo>
                    <a:pt x="341804" y="163326"/>
                  </a:lnTo>
                  <a:lnTo>
                    <a:pt x="333192" y="189347"/>
                  </a:lnTo>
                  <a:lnTo>
                    <a:pt x="324710" y="178805"/>
                  </a:lnTo>
                  <a:lnTo>
                    <a:pt x="315412" y="184521"/>
                  </a:lnTo>
                  <a:lnTo>
                    <a:pt x="333545" y="196956"/>
                  </a:lnTo>
                  <a:lnTo>
                    <a:pt x="345850" y="194135"/>
                  </a:lnTo>
                  <a:lnTo>
                    <a:pt x="356225" y="211192"/>
                  </a:lnTo>
                  <a:lnTo>
                    <a:pt x="365041" y="197049"/>
                  </a:lnTo>
                  <a:lnTo>
                    <a:pt x="400843" y="192205"/>
                  </a:lnTo>
                  <a:lnTo>
                    <a:pt x="434232" y="214941"/>
                  </a:lnTo>
                  <a:lnTo>
                    <a:pt x="461125" y="202172"/>
                  </a:lnTo>
                  <a:lnTo>
                    <a:pt x="489039" y="201132"/>
                  </a:lnTo>
                  <a:lnTo>
                    <a:pt x="496871" y="223701"/>
                  </a:lnTo>
                  <a:lnTo>
                    <a:pt x="482729" y="231051"/>
                  </a:lnTo>
                  <a:lnTo>
                    <a:pt x="478478" y="247031"/>
                  </a:lnTo>
                  <a:lnTo>
                    <a:pt x="492064" y="257628"/>
                  </a:lnTo>
                  <a:lnTo>
                    <a:pt x="503033" y="251633"/>
                  </a:lnTo>
                  <a:lnTo>
                    <a:pt x="503831" y="235338"/>
                  </a:lnTo>
                  <a:lnTo>
                    <a:pt x="523839" y="238104"/>
                  </a:lnTo>
                  <a:lnTo>
                    <a:pt x="541730" y="227617"/>
                  </a:lnTo>
                  <a:lnTo>
                    <a:pt x="547094" y="213159"/>
                  </a:lnTo>
                  <a:lnTo>
                    <a:pt x="538705" y="208538"/>
                  </a:lnTo>
                  <a:lnTo>
                    <a:pt x="538965" y="172773"/>
                  </a:lnTo>
                  <a:lnTo>
                    <a:pt x="554871" y="171103"/>
                  </a:lnTo>
                  <a:lnTo>
                    <a:pt x="562406" y="159688"/>
                  </a:lnTo>
                  <a:lnTo>
                    <a:pt x="608768" y="183779"/>
                  </a:lnTo>
                  <a:lnTo>
                    <a:pt x="643661" y="210542"/>
                  </a:lnTo>
                  <a:lnTo>
                    <a:pt x="662648" y="23899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145">
              <a:extLst>
                <a:ext uri="{FF2B5EF4-FFF2-40B4-BE49-F238E27FC236}">
                  <a16:creationId xmlns:a16="http://schemas.microsoft.com/office/drawing/2014/main" id="{0D586755-BA93-44D6-88CF-7BD6FAB5A3D2}"/>
                </a:ext>
              </a:extLst>
            </p:cNvPr>
            <p:cNvSpPr/>
            <p:nvPr/>
          </p:nvSpPr>
          <p:spPr>
            <a:xfrm>
              <a:off x="3116512" y="5858122"/>
              <a:ext cx="285822" cy="404603"/>
            </a:xfrm>
            <a:custGeom>
              <a:avLst/>
              <a:gdLst>
                <a:gd name="connsiteX0" fmla="*/ 27190 w 285821"/>
                <a:gd name="connsiteY0" fmla="*/ 190702 h 404603"/>
                <a:gd name="connsiteX1" fmla="*/ 25390 w 285821"/>
                <a:gd name="connsiteY1" fmla="*/ 190126 h 404603"/>
                <a:gd name="connsiteX2" fmla="*/ 27487 w 285821"/>
                <a:gd name="connsiteY2" fmla="*/ 187250 h 404603"/>
                <a:gd name="connsiteX3" fmla="*/ 28304 w 285821"/>
                <a:gd name="connsiteY3" fmla="*/ 187120 h 404603"/>
                <a:gd name="connsiteX4" fmla="*/ 27190 w 285821"/>
                <a:gd name="connsiteY4" fmla="*/ 190702 h 404603"/>
                <a:gd name="connsiteX5" fmla="*/ 24388 w 285821"/>
                <a:gd name="connsiteY5" fmla="*/ 194544 h 404603"/>
                <a:gd name="connsiteX6" fmla="*/ 22476 w 285821"/>
                <a:gd name="connsiteY6" fmla="*/ 193152 h 404603"/>
                <a:gd name="connsiteX7" fmla="*/ 24128 w 285821"/>
                <a:gd name="connsiteY7" fmla="*/ 192892 h 404603"/>
                <a:gd name="connsiteX8" fmla="*/ 25909 w 285821"/>
                <a:gd name="connsiteY8" fmla="*/ 193449 h 404603"/>
                <a:gd name="connsiteX9" fmla="*/ 24388 w 285821"/>
                <a:gd name="connsiteY9" fmla="*/ 194544 h 404603"/>
                <a:gd name="connsiteX10" fmla="*/ 238197 w 285821"/>
                <a:gd name="connsiteY10" fmla="*/ 362083 h 404603"/>
                <a:gd name="connsiteX11" fmla="*/ 203806 w 285821"/>
                <a:gd name="connsiteY11" fmla="*/ 381162 h 404603"/>
                <a:gd name="connsiteX12" fmla="*/ 191389 w 285821"/>
                <a:gd name="connsiteY12" fmla="*/ 378026 h 404603"/>
                <a:gd name="connsiteX13" fmla="*/ 175019 w 285821"/>
                <a:gd name="connsiteY13" fmla="*/ 387435 h 404603"/>
                <a:gd name="connsiteX14" fmla="*/ 170639 w 285821"/>
                <a:gd name="connsiteY14" fmla="*/ 402599 h 404603"/>
                <a:gd name="connsiteX15" fmla="*/ 148776 w 285821"/>
                <a:gd name="connsiteY15" fmla="*/ 388215 h 404603"/>
                <a:gd name="connsiteX16" fmla="*/ 121753 w 285821"/>
                <a:gd name="connsiteY16" fmla="*/ 400167 h 404603"/>
                <a:gd name="connsiteX17" fmla="*/ 114570 w 285821"/>
                <a:gd name="connsiteY17" fmla="*/ 381756 h 404603"/>
                <a:gd name="connsiteX18" fmla="*/ 131849 w 285821"/>
                <a:gd name="connsiteY18" fmla="*/ 361990 h 404603"/>
                <a:gd name="connsiteX19" fmla="*/ 109782 w 285821"/>
                <a:gd name="connsiteY19" fmla="*/ 356997 h 404603"/>
                <a:gd name="connsiteX20" fmla="*/ 106403 w 285821"/>
                <a:gd name="connsiteY20" fmla="*/ 346474 h 404603"/>
                <a:gd name="connsiteX21" fmla="*/ 90423 w 285821"/>
                <a:gd name="connsiteY21" fmla="*/ 342224 h 404603"/>
                <a:gd name="connsiteX22" fmla="*/ 80216 w 285821"/>
                <a:gd name="connsiteY22" fmla="*/ 358297 h 404603"/>
                <a:gd name="connsiteX23" fmla="*/ 73274 w 285821"/>
                <a:gd name="connsiteY23" fmla="*/ 325390 h 404603"/>
                <a:gd name="connsiteX24" fmla="*/ 64198 w 285821"/>
                <a:gd name="connsiteY24" fmla="*/ 337881 h 404603"/>
                <a:gd name="connsiteX25" fmla="*/ 50743 w 285821"/>
                <a:gd name="connsiteY25" fmla="*/ 328118 h 404603"/>
                <a:gd name="connsiteX26" fmla="*/ 46826 w 285821"/>
                <a:gd name="connsiteY26" fmla="*/ 335542 h 404603"/>
                <a:gd name="connsiteX27" fmla="*/ 28508 w 285821"/>
                <a:gd name="connsiteY27" fmla="*/ 327413 h 404603"/>
                <a:gd name="connsiteX28" fmla="*/ 21010 w 285821"/>
                <a:gd name="connsiteY28" fmla="*/ 333705 h 404603"/>
                <a:gd name="connsiteX29" fmla="*/ 13957 w 285821"/>
                <a:gd name="connsiteY29" fmla="*/ 316110 h 404603"/>
                <a:gd name="connsiteX30" fmla="*/ 23608 w 285821"/>
                <a:gd name="connsiteY30" fmla="*/ 317985 h 404603"/>
                <a:gd name="connsiteX31" fmla="*/ 28953 w 285821"/>
                <a:gd name="connsiteY31" fmla="*/ 287361 h 404603"/>
                <a:gd name="connsiteX32" fmla="*/ 21381 w 285821"/>
                <a:gd name="connsiteY32" fmla="*/ 282610 h 404603"/>
                <a:gd name="connsiteX33" fmla="*/ 23756 w 285821"/>
                <a:gd name="connsiteY33" fmla="*/ 260134 h 404603"/>
                <a:gd name="connsiteX34" fmla="*/ 19339 w 285821"/>
                <a:gd name="connsiteY34" fmla="*/ 242966 h 404603"/>
                <a:gd name="connsiteX35" fmla="*/ 2784 w 285821"/>
                <a:gd name="connsiteY35" fmla="*/ 240498 h 404603"/>
                <a:gd name="connsiteX36" fmla="*/ 4640 w 285821"/>
                <a:gd name="connsiteY36" fmla="*/ 230847 h 404603"/>
                <a:gd name="connsiteX37" fmla="*/ 20044 w 285821"/>
                <a:gd name="connsiteY37" fmla="*/ 220750 h 404603"/>
                <a:gd name="connsiteX38" fmla="*/ 11377 w 285821"/>
                <a:gd name="connsiteY38" fmla="*/ 198311 h 404603"/>
                <a:gd name="connsiteX39" fmla="*/ 29362 w 285821"/>
                <a:gd name="connsiteY39" fmla="*/ 193746 h 404603"/>
                <a:gd name="connsiteX40" fmla="*/ 30382 w 285821"/>
                <a:gd name="connsiteY40" fmla="*/ 168077 h 404603"/>
                <a:gd name="connsiteX41" fmla="*/ 45008 w 285821"/>
                <a:gd name="connsiteY41" fmla="*/ 153007 h 404603"/>
                <a:gd name="connsiteX42" fmla="*/ 48126 w 285821"/>
                <a:gd name="connsiteY42" fmla="*/ 140590 h 404603"/>
                <a:gd name="connsiteX43" fmla="*/ 71325 w 285821"/>
                <a:gd name="connsiteY43" fmla="*/ 142001 h 404603"/>
                <a:gd name="connsiteX44" fmla="*/ 77636 w 285821"/>
                <a:gd name="connsiteY44" fmla="*/ 128248 h 404603"/>
                <a:gd name="connsiteX45" fmla="*/ 67242 w 285821"/>
                <a:gd name="connsiteY45" fmla="*/ 116296 h 404603"/>
                <a:gd name="connsiteX46" fmla="*/ 57610 w 285821"/>
                <a:gd name="connsiteY46" fmla="*/ 93170 h 404603"/>
                <a:gd name="connsiteX47" fmla="*/ 40145 w 285821"/>
                <a:gd name="connsiteY47" fmla="*/ 101039 h 404603"/>
                <a:gd name="connsiteX48" fmla="*/ 30475 w 285821"/>
                <a:gd name="connsiteY48" fmla="*/ 83018 h 404603"/>
                <a:gd name="connsiteX49" fmla="*/ 42261 w 285821"/>
                <a:gd name="connsiteY49" fmla="*/ 76893 h 404603"/>
                <a:gd name="connsiteX50" fmla="*/ 35375 w 285821"/>
                <a:gd name="connsiteY50" fmla="*/ 55030 h 404603"/>
                <a:gd name="connsiteX51" fmla="*/ 37806 w 285821"/>
                <a:gd name="connsiteY51" fmla="*/ 43597 h 404603"/>
                <a:gd name="connsiteX52" fmla="*/ 64495 w 285821"/>
                <a:gd name="connsiteY52" fmla="*/ 2784 h 404603"/>
                <a:gd name="connsiteX53" fmla="*/ 80401 w 285821"/>
                <a:gd name="connsiteY53" fmla="*/ 17261 h 404603"/>
                <a:gd name="connsiteX54" fmla="*/ 74573 w 285821"/>
                <a:gd name="connsiteY54" fmla="*/ 39440 h 404603"/>
                <a:gd name="connsiteX55" fmla="*/ 107165 w 285821"/>
                <a:gd name="connsiteY55" fmla="*/ 41054 h 404603"/>
                <a:gd name="connsiteX56" fmla="*/ 112751 w 285821"/>
                <a:gd name="connsiteY56" fmla="*/ 49517 h 404603"/>
                <a:gd name="connsiteX57" fmla="*/ 142558 w 285821"/>
                <a:gd name="connsiteY57" fmla="*/ 54993 h 404603"/>
                <a:gd name="connsiteX58" fmla="*/ 153935 w 285821"/>
                <a:gd name="connsiteY58" fmla="*/ 46381 h 404603"/>
                <a:gd name="connsiteX59" fmla="*/ 201950 w 285821"/>
                <a:gd name="connsiteY59" fmla="*/ 54046 h 404603"/>
                <a:gd name="connsiteX60" fmla="*/ 244025 w 285821"/>
                <a:gd name="connsiteY60" fmla="*/ 24388 h 404603"/>
                <a:gd name="connsiteX61" fmla="*/ 251671 w 285821"/>
                <a:gd name="connsiteY61" fmla="*/ 35078 h 404603"/>
                <a:gd name="connsiteX62" fmla="*/ 241556 w 285821"/>
                <a:gd name="connsiteY62" fmla="*/ 40943 h 404603"/>
                <a:gd name="connsiteX63" fmla="*/ 240313 w 285821"/>
                <a:gd name="connsiteY63" fmla="*/ 59855 h 404603"/>
                <a:gd name="connsiteX64" fmla="*/ 257870 w 285821"/>
                <a:gd name="connsiteY64" fmla="*/ 74054 h 404603"/>
                <a:gd name="connsiteX65" fmla="*/ 257722 w 285821"/>
                <a:gd name="connsiteY65" fmla="*/ 94488 h 404603"/>
                <a:gd name="connsiteX66" fmla="*/ 278472 w 285821"/>
                <a:gd name="connsiteY66" fmla="*/ 128619 h 404603"/>
                <a:gd name="connsiteX67" fmla="*/ 283149 w 285821"/>
                <a:gd name="connsiteY67" fmla="*/ 168690 h 404603"/>
                <a:gd name="connsiteX68" fmla="*/ 261452 w 285821"/>
                <a:gd name="connsiteY68" fmla="*/ 187454 h 404603"/>
                <a:gd name="connsiteX69" fmla="*/ 271419 w 285821"/>
                <a:gd name="connsiteY69" fmla="*/ 185858 h 404603"/>
                <a:gd name="connsiteX70" fmla="*/ 281052 w 285821"/>
                <a:gd name="connsiteY70" fmla="*/ 209002 h 404603"/>
                <a:gd name="connsiteX71" fmla="*/ 255754 w 285821"/>
                <a:gd name="connsiteY71" fmla="*/ 210468 h 404603"/>
                <a:gd name="connsiteX72" fmla="*/ 221586 w 285821"/>
                <a:gd name="connsiteY72" fmla="*/ 236303 h 404603"/>
                <a:gd name="connsiteX73" fmla="*/ 229864 w 285821"/>
                <a:gd name="connsiteY73" fmla="*/ 256255 h 404603"/>
                <a:gd name="connsiteX74" fmla="*/ 219303 w 285821"/>
                <a:gd name="connsiteY74" fmla="*/ 264737 h 404603"/>
                <a:gd name="connsiteX75" fmla="*/ 248553 w 285821"/>
                <a:gd name="connsiteY75" fmla="*/ 325576 h 404603"/>
                <a:gd name="connsiteX76" fmla="*/ 241612 w 285821"/>
                <a:gd name="connsiteY76" fmla="*/ 330067 h 404603"/>
                <a:gd name="connsiteX77" fmla="*/ 238197 w 285821"/>
                <a:gd name="connsiteY77" fmla="*/ 362083 h 40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85821" h="404603">
                  <a:moveTo>
                    <a:pt x="27190" y="190702"/>
                  </a:moveTo>
                  <a:lnTo>
                    <a:pt x="25390" y="190126"/>
                  </a:lnTo>
                  <a:lnTo>
                    <a:pt x="27487" y="187250"/>
                  </a:lnTo>
                  <a:lnTo>
                    <a:pt x="28304" y="187120"/>
                  </a:lnTo>
                  <a:lnTo>
                    <a:pt x="27190" y="190702"/>
                  </a:lnTo>
                  <a:close/>
                  <a:moveTo>
                    <a:pt x="24388" y="194544"/>
                  </a:moveTo>
                  <a:lnTo>
                    <a:pt x="22476" y="193152"/>
                  </a:lnTo>
                  <a:lnTo>
                    <a:pt x="24128" y="192892"/>
                  </a:lnTo>
                  <a:lnTo>
                    <a:pt x="25909" y="193449"/>
                  </a:lnTo>
                  <a:lnTo>
                    <a:pt x="24388" y="194544"/>
                  </a:lnTo>
                  <a:close/>
                  <a:moveTo>
                    <a:pt x="238197" y="362083"/>
                  </a:moveTo>
                  <a:lnTo>
                    <a:pt x="203806" y="381162"/>
                  </a:lnTo>
                  <a:lnTo>
                    <a:pt x="191389" y="378026"/>
                  </a:lnTo>
                  <a:lnTo>
                    <a:pt x="175019" y="387435"/>
                  </a:lnTo>
                  <a:lnTo>
                    <a:pt x="170639" y="402599"/>
                  </a:lnTo>
                  <a:lnTo>
                    <a:pt x="148776" y="388215"/>
                  </a:lnTo>
                  <a:lnTo>
                    <a:pt x="121753" y="400167"/>
                  </a:lnTo>
                  <a:lnTo>
                    <a:pt x="114570" y="381756"/>
                  </a:lnTo>
                  <a:lnTo>
                    <a:pt x="131849" y="361990"/>
                  </a:lnTo>
                  <a:lnTo>
                    <a:pt x="109782" y="356997"/>
                  </a:lnTo>
                  <a:lnTo>
                    <a:pt x="106403" y="346474"/>
                  </a:lnTo>
                  <a:lnTo>
                    <a:pt x="90423" y="342224"/>
                  </a:lnTo>
                  <a:lnTo>
                    <a:pt x="80216" y="358297"/>
                  </a:lnTo>
                  <a:lnTo>
                    <a:pt x="73274" y="325390"/>
                  </a:lnTo>
                  <a:lnTo>
                    <a:pt x="64198" y="337881"/>
                  </a:lnTo>
                  <a:lnTo>
                    <a:pt x="50743" y="328118"/>
                  </a:lnTo>
                  <a:lnTo>
                    <a:pt x="46826" y="335542"/>
                  </a:lnTo>
                  <a:lnTo>
                    <a:pt x="28508" y="327413"/>
                  </a:lnTo>
                  <a:lnTo>
                    <a:pt x="21010" y="333705"/>
                  </a:lnTo>
                  <a:lnTo>
                    <a:pt x="13957" y="316110"/>
                  </a:lnTo>
                  <a:lnTo>
                    <a:pt x="23608" y="317985"/>
                  </a:lnTo>
                  <a:lnTo>
                    <a:pt x="28953" y="287361"/>
                  </a:lnTo>
                  <a:lnTo>
                    <a:pt x="21381" y="282610"/>
                  </a:lnTo>
                  <a:lnTo>
                    <a:pt x="23756" y="260134"/>
                  </a:lnTo>
                  <a:lnTo>
                    <a:pt x="19339" y="242966"/>
                  </a:lnTo>
                  <a:lnTo>
                    <a:pt x="2784" y="240498"/>
                  </a:lnTo>
                  <a:lnTo>
                    <a:pt x="4640" y="230847"/>
                  </a:lnTo>
                  <a:lnTo>
                    <a:pt x="20044" y="220750"/>
                  </a:lnTo>
                  <a:lnTo>
                    <a:pt x="11377" y="198311"/>
                  </a:lnTo>
                  <a:lnTo>
                    <a:pt x="29362" y="193746"/>
                  </a:lnTo>
                  <a:lnTo>
                    <a:pt x="30382" y="168077"/>
                  </a:lnTo>
                  <a:lnTo>
                    <a:pt x="45008" y="153007"/>
                  </a:lnTo>
                  <a:lnTo>
                    <a:pt x="48126" y="140590"/>
                  </a:lnTo>
                  <a:lnTo>
                    <a:pt x="71325" y="142001"/>
                  </a:lnTo>
                  <a:lnTo>
                    <a:pt x="77636" y="128248"/>
                  </a:lnTo>
                  <a:lnTo>
                    <a:pt x="67242" y="116296"/>
                  </a:lnTo>
                  <a:lnTo>
                    <a:pt x="57610" y="93170"/>
                  </a:lnTo>
                  <a:lnTo>
                    <a:pt x="40145" y="101039"/>
                  </a:lnTo>
                  <a:lnTo>
                    <a:pt x="30475" y="83018"/>
                  </a:lnTo>
                  <a:lnTo>
                    <a:pt x="42261" y="76893"/>
                  </a:lnTo>
                  <a:lnTo>
                    <a:pt x="35375" y="55030"/>
                  </a:lnTo>
                  <a:lnTo>
                    <a:pt x="37806" y="43597"/>
                  </a:lnTo>
                  <a:lnTo>
                    <a:pt x="64495" y="2784"/>
                  </a:lnTo>
                  <a:lnTo>
                    <a:pt x="80401" y="17261"/>
                  </a:lnTo>
                  <a:lnTo>
                    <a:pt x="74573" y="39440"/>
                  </a:lnTo>
                  <a:lnTo>
                    <a:pt x="107165" y="41054"/>
                  </a:lnTo>
                  <a:lnTo>
                    <a:pt x="112751" y="49517"/>
                  </a:lnTo>
                  <a:lnTo>
                    <a:pt x="142558" y="54993"/>
                  </a:lnTo>
                  <a:lnTo>
                    <a:pt x="153935" y="46381"/>
                  </a:lnTo>
                  <a:lnTo>
                    <a:pt x="201950" y="54046"/>
                  </a:lnTo>
                  <a:lnTo>
                    <a:pt x="244025" y="24388"/>
                  </a:lnTo>
                  <a:lnTo>
                    <a:pt x="251671" y="35078"/>
                  </a:lnTo>
                  <a:lnTo>
                    <a:pt x="241556" y="40943"/>
                  </a:lnTo>
                  <a:lnTo>
                    <a:pt x="240313" y="59855"/>
                  </a:lnTo>
                  <a:lnTo>
                    <a:pt x="257870" y="74054"/>
                  </a:lnTo>
                  <a:lnTo>
                    <a:pt x="257722" y="94488"/>
                  </a:lnTo>
                  <a:lnTo>
                    <a:pt x="278472" y="128619"/>
                  </a:lnTo>
                  <a:lnTo>
                    <a:pt x="283149" y="168690"/>
                  </a:lnTo>
                  <a:lnTo>
                    <a:pt x="261452" y="187454"/>
                  </a:lnTo>
                  <a:lnTo>
                    <a:pt x="271419" y="185858"/>
                  </a:lnTo>
                  <a:lnTo>
                    <a:pt x="281052" y="209002"/>
                  </a:lnTo>
                  <a:lnTo>
                    <a:pt x="255754" y="210468"/>
                  </a:lnTo>
                  <a:lnTo>
                    <a:pt x="221586" y="236303"/>
                  </a:lnTo>
                  <a:lnTo>
                    <a:pt x="229864" y="256255"/>
                  </a:lnTo>
                  <a:lnTo>
                    <a:pt x="219303" y="264737"/>
                  </a:lnTo>
                  <a:lnTo>
                    <a:pt x="248553" y="325576"/>
                  </a:lnTo>
                  <a:lnTo>
                    <a:pt x="241612" y="330067"/>
                  </a:lnTo>
                  <a:lnTo>
                    <a:pt x="238197" y="36208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147">
              <a:extLst>
                <a:ext uri="{FF2B5EF4-FFF2-40B4-BE49-F238E27FC236}">
                  <a16:creationId xmlns:a16="http://schemas.microsoft.com/office/drawing/2014/main" id="{13CB944D-34CB-4906-A4D1-995E81ED771A}"/>
                </a:ext>
              </a:extLst>
            </p:cNvPr>
            <p:cNvSpPr/>
            <p:nvPr/>
          </p:nvSpPr>
          <p:spPr>
            <a:xfrm>
              <a:off x="2172253" y="4452770"/>
              <a:ext cx="317373" cy="402747"/>
            </a:xfrm>
            <a:custGeom>
              <a:avLst/>
              <a:gdLst>
                <a:gd name="connsiteX0" fmla="*/ 75301 w 317373"/>
                <a:gd name="connsiteY0" fmla="*/ 224876 h 402747"/>
                <a:gd name="connsiteX1" fmla="*/ 82599 w 317373"/>
                <a:gd name="connsiteY1" fmla="*/ 227957 h 402747"/>
                <a:gd name="connsiteX2" fmla="*/ 76791 w 317373"/>
                <a:gd name="connsiteY2" fmla="*/ 228885 h 402747"/>
                <a:gd name="connsiteX3" fmla="*/ 75433 w 317373"/>
                <a:gd name="connsiteY3" fmla="*/ 225693 h 402747"/>
                <a:gd name="connsiteX4" fmla="*/ 75301 w 317373"/>
                <a:gd name="connsiteY4" fmla="*/ 224876 h 402747"/>
                <a:gd name="connsiteX5" fmla="*/ 2784 w 317373"/>
                <a:gd name="connsiteY5" fmla="*/ 132652 h 402747"/>
                <a:gd name="connsiteX6" fmla="*/ 19397 w 317373"/>
                <a:gd name="connsiteY6" fmla="*/ 108747 h 402747"/>
                <a:gd name="connsiteX7" fmla="*/ 66257 w 317373"/>
                <a:gd name="connsiteY7" fmla="*/ 103848 h 402747"/>
                <a:gd name="connsiteX8" fmla="*/ 78872 w 317373"/>
                <a:gd name="connsiteY8" fmla="*/ 97593 h 402747"/>
                <a:gd name="connsiteX9" fmla="*/ 89226 w 317373"/>
                <a:gd name="connsiteY9" fmla="*/ 61073 h 402747"/>
                <a:gd name="connsiteX10" fmla="*/ 85099 w 317373"/>
                <a:gd name="connsiteY10" fmla="*/ 40468 h 402747"/>
                <a:gd name="connsiteX11" fmla="*/ 100713 w 317373"/>
                <a:gd name="connsiteY11" fmla="*/ 20976 h 402747"/>
                <a:gd name="connsiteX12" fmla="*/ 125904 w 317373"/>
                <a:gd name="connsiteY12" fmla="*/ 13567 h 402747"/>
                <a:gd name="connsiteX13" fmla="*/ 124189 w 317373"/>
                <a:gd name="connsiteY13" fmla="*/ 2784 h 402747"/>
                <a:gd name="connsiteX14" fmla="*/ 150929 w 317373"/>
                <a:gd name="connsiteY14" fmla="*/ 10436 h 402747"/>
                <a:gd name="connsiteX15" fmla="*/ 162714 w 317373"/>
                <a:gd name="connsiteY15" fmla="*/ 4310 h 402747"/>
                <a:gd name="connsiteX16" fmla="*/ 178666 w 317373"/>
                <a:gd name="connsiteY16" fmla="*/ 13677 h 402747"/>
                <a:gd name="connsiteX17" fmla="*/ 199973 w 317373"/>
                <a:gd name="connsiteY17" fmla="*/ 8588 h 402747"/>
                <a:gd name="connsiteX18" fmla="*/ 205235 w 317373"/>
                <a:gd name="connsiteY18" fmla="*/ 25609 h 402747"/>
                <a:gd name="connsiteX19" fmla="*/ 220810 w 317373"/>
                <a:gd name="connsiteY19" fmla="*/ 11225 h 402747"/>
                <a:gd name="connsiteX20" fmla="*/ 225504 w 317373"/>
                <a:gd name="connsiteY20" fmla="*/ 30037 h 402747"/>
                <a:gd name="connsiteX21" fmla="*/ 241193 w 317373"/>
                <a:gd name="connsiteY21" fmla="*/ 37747 h 402747"/>
                <a:gd name="connsiteX22" fmla="*/ 252583 w 317373"/>
                <a:gd name="connsiteY22" fmla="*/ 29131 h 402747"/>
                <a:gd name="connsiteX23" fmla="*/ 254240 w 317373"/>
                <a:gd name="connsiteY23" fmla="*/ 66286 h 402747"/>
                <a:gd name="connsiteX24" fmla="*/ 244717 w 317373"/>
                <a:gd name="connsiteY24" fmla="*/ 65251 h 402747"/>
                <a:gd name="connsiteX25" fmla="*/ 235875 w 317373"/>
                <a:gd name="connsiteY25" fmla="*/ 47097 h 402747"/>
                <a:gd name="connsiteX26" fmla="*/ 234931 w 317373"/>
                <a:gd name="connsiteY26" fmla="*/ 62556 h 402747"/>
                <a:gd name="connsiteX27" fmla="*/ 242982 w 317373"/>
                <a:gd name="connsiteY27" fmla="*/ 75731 h 402747"/>
                <a:gd name="connsiteX28" fmla="*/ 232065 w 317373"/>
                <a:gd name="connsiteY28" fmla="*/ 76618 h 402747"/>
                <a:gd name="connsiteX29" fmla="*/ 248149 w 317373"/>
                <a:gd name="connsiteY29" fmla="*/ 86815 h 402747"/>
                <a:gd name="connsiteX30" fmla="*/ 254502 w 317373"/>
                <a:gd name="connsiteY30" fmla="*/ 105369 h 402747"/>
                <a:gd name="connsiteX31" fmla="*/ 282067 w 317373"/>
                <a:gd name="connsiteY31" fmla="*/ 150303 h 402747"/>
                <a:gd name="connsiteX32" fmla="*/ 292529 w 317373"/>
                <a:gd name="connsiteY32" fmla="*/ 210715 h 402747"/>
                <a:gd name="connsiteX33" fmla="*/ 290473 w 317373"/>
                <a:gd name="connsiteY33" fmla="*/ 245923 h 402747"/>
                <a:gd name="connsiteX34" fmla="*/ 295846 w 317373"/>
                <a:gd name="connsiteY34" fmla="*/ 247612 h 402747"/>
                <a:gd name="connsiteX35" fmla="*/ 299860 w 317373"/>
                <a:gd name="connsiteY35" fmla="*/ 283543 h 402747"/>
                <a:gd name="connsiteX36" fmla="*/ 307911 w 317373"/>
                <a:gd name="connsiteY36" fmla="*/ 296721 h 402747"/>
                <a:gd name="connsiteX37" fmla="*/ 314944 w 317373"/>
                <a:gd name="connsiteY37" fmla="*/ 335566 h 402747"/>
                <a:gd name="connsiteX38" fmla="*/ 295669 w 317373"/>
                <a:gd name="connsiteY38" fmla="*/ 364148 h 402747"/>
                <a:gd name="connsiteX39" fmla="*/ 289315 w 317373"/>
                <a:gd name="connsiteY39" fmla="*/ 383024 h 402747"/>
                <a:gd name="connsiteX40" fmla="*/ 274474 w 317373"/>
                <a:gd name="connsiteY40" fmla="*/ 391339 h 402747"/>
                <a:gd name="connsiteX41" fmla="*/ 236835 w 317373"/>
                <a:gd name="connsiteY41" fmla="*/ 400711 h 402747"/>
                <a:gd name="connsiteX42" fmla="*/ 196426 w 317373"/>
                <a:gd name="connsiteY42" fmla="*/ 392693 h 402747"/>
                <a:gd name="connsiteX43" fmla="*/ 173176 w 317373"/>
                <a:gd name="connsiteY43" fmla="*/ 380240 h 402747"/>
                <a:gd name="connsiteX44" fmla="*/ 159488 w 317373"/>
                <a:gd name="connsiteY44" fmla="*/ 363703 h 402747"/>
                <a:gd name="connsiteX45" fmla="*/ 145517 w 317373"/>
                <a:gd name="connsiteY45" fmla="*/ 329349 h 402747"/>
                <a:gd name="connsiteX46" fmla="*/ 134410 w 317373"/>
                <a:gd name="connsiteY46" fmla="*/ 318361 h 402747"/>
                <a:gd name="connsiteX47" fmla="*/ 117649 w 317373"/>
                <a:gd name="connsiteY47" fmla="*/ 287868 h 402747"/>
                <a:gd name="connsiteX48" fmla="*/ 116444 w 317373"/>
                <a:gd name="connsiteY48" fmla="*/ 264241 h 402747"/>
                <a:gd name="connsiteX49" fmla="*/ 104601 w 317373"/>
                <a:gd name="connsiteY49" fmla="*/ 259323 h 402747"/>
                <a:gd name="connsiteX50" fmla="*/ 106639 w 317373"/>
                <a:gd name="connsiteY50" fmla="*/ 245403 h 402747"/>
                <a:gd name="connsiteX51" fmla="*/ 93516 w 317373"/>
                <a:gd name="connsiteY51" fmla="*/ 227066 h 402747"/>
                <a:gd name="connsiteX52" fmla="*/ 94273 w 317373"/>
                <a:gd name="connsiteY52" fmla="*/ 199746 h 402747"/>
                <a:gd name="connsiteX53" fmla="*/ 99986 w 317373"/>
                <a:gd name="connsiteY53" fmla="*/ 192879 h 402747"/>
                <a:gd name="connsiteX54" fmla="*/ 90841 w 317373"/>
                <a:gd name="connsiteY54" fmla="*/ 178180 h 402747"/>
                <a:gd name="connsiteX55" fmla="*/ 79959 w 317373"/>
                <a:gd name="connsiteY55" fmla="*/ 211364 h 402747"/>
                <a:gd name="connsiteX56" fmla="*/ 85125 w 317373"/>
                <a:gd name="connsiteY56" fmla="*/ 222463 h 402747"/>
                <a:gd name="connsiteX57" fmla="*/ 72981 w 317373"/>
                <a:gd name="connsiteY57" fmla="*/ 220978 h 402747"/>
                <a:gd name="connsiteX58" fmla="*/ 65854 w 317373"/>
                <a:gd name="connsiteY58" fmla="*/ 213610 h 402747"/>
                <a:gd name="connsiteX59" fmla="*/ 47998 w 317373"/>
                <a:gd name="connsiteY59" fmla="*/ 219011 h 402747"/>
                <a:gd name="connsiteX60" fmla="*/ 38682 w 317373"/>
                <a:gd name="connsiteY60" fmla="*/ 208580 h 402747"/>
                <a:gd name="connsiteX61" fmla="*/ 48527 w 317373"/>
                <a:gd name="connsiteY61" fmla="*/ 184898 h 402747"/>
                <a:gd name="connsiteX62" fmla="*/ 40475 w 317373"/>
                <a:gd name="connsiteY62" fmla="*/ 171721 h 402747"/>
                <a:gd name="connsiteX63" fmla="*/ 2784 w 317373"/>
                <a:gd name="connsiteY63" fmla="*/ 132652 h 40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17373" h="402747">
                  <a:moveTo>
                    <a:pt x="75301" y="224876"/>
                  </a:moveTo>
                  <a:lnTo>
                    <a:pt x="82599" y="227957"/>
                  </a:lnTo>
                  <a:lnTo>
                    <a:pt x="76791" y="228885"/>
                  </a:lnTo>
                  <a:lnTo>
                    <a:pt x="75433" y="225693"/>
                  </a:lnTo>
                  <a:lnTo>
                    <a:pt x="75301" y="224876"/>
                  </a:lnTo>
                  <a:close/>
                  <a:moveTo>
                    <a:pt x="2784" y="132652"/>
                  </a:moveTo>
                  <a:lnTo>
                    <a:pt x="19397" y="108747"/>
                  </a:lnTo>
                  <a:lnTo>
                    <a:pt x="66257" y="103848"/>
                  </a:lnTo>
                  <a:lnTo>
                    <a:pt x="78872" y="97593"/>
                  </a:lnTo>
                  <a:lnTo>
                    <a:pt x="89226" y="61073"/>
                  </a:lnTo>
                  <a:lnTo>
                    <a:pt x="85099" y="40468"/>
                  </a:lnTo>
                  <a:lnTo>
                    <a:pt x="100713" y="20976"/>
                  </a:lnTo>
                  <a:lnTo>
                    <a:pt x="125904" y="13567"/>
                  </a:lnTo>
                  <a:lnTo>
                    <a:pt x="124189" y="2784"/>
                  </a:lnTo>
                  <a:lnTo>
                    <a:pt x="150929" y="10436"/>
                  </a:lnTo>
                  <a:lnTo>
                    <a:pt x="162714" y="4310"/>
                  </a:lnTo>
                  <a:lnTo>
                    <a:pt x="178666" y="13677"/>
                  </a:lnTo>
                  <a:lnTo>
                    <a:pt x="199973" y="8588"/>
                  </a:lnTo>
                  <a:lnTo>
                    <a:pt x="205235" y="25609"/>
                  </a:lnTo>
                  <a:lnTo>
                    <a:pt x="220810" y="11225"/>
                  </a:lnTo>
                  <a:lnTo>
                    <a:pt x="225504" y="30037"/>
                  </a:lnTo>
                  <a:lnTo>
                    <a:pt x="241193" y="37747"/>
                  </a:lnTo>
                  <a:lnTo>
                    <a:pt x="252583" y="29131"/>
                  </a:lnTo>
                  <a:lnTo>
                    <a:pt x="254240" y="66286"/>
                  </a:lnTo>
                  <a:lnTo>
                    <a:pt x="244717" y="65251"/>
                  </a:lnTo>
                  <a:lnTo>
                    <a:pt x="235875" y="47097"/>
                  </a:lnTo>
                  <a:lnTo>
                    <a:pt x="234931" y="62556"/>
                  </a:lnTo>
                  <a:lnTo>
                    <a:pt x="242982" y="75731"/>
                  </a:lnTo>
                  <a:lnTo>
                    <a:pt x="232065" y="76618"/>
                  </a:lnTo>
                  <a:lnTo>
                    <a:pt x="248149" y="86815"/>
                  </a:lnTo>
                  <a:lnTo>
                    <a:pt x="254502" y="105369"/>
                  </a:lnTo>
                  <a:lnTo>
                    <a:pt x="282067" y="150303"/>
                  </a:lnTo>
                  <a:lnTo>
                    <a:pt x="292529" y="210715"/>
                  </a:lnTo>
                  <a:lnTo>
                    <a:pt x="290473" y="245923"/>
                  </a:lnTo>
                  <a:lnTo>
                    <a:pt x="295846" y="247612"/>
                  </a:lnTo>
                  <a:lnTo>
                    <a:pt x="299860" y="283543"/>
                  </a:lnTo>
                  <a:lnTo>
                    <a:pt x="307911" y="296721"/>
                  </a:lnTo>
                  <a:lnTo>
                    <a:pt x="314944" y="335566"/>
                  </a:lnTo>
                  <a:lnTo>
                    <a:pt x="295669" y="364148"/>
                  </a:lnTo>
                  <a:lnTo>
                    <a:pt x="289315" y="383024"/>
                  </a:lnTo>
                  <a:lnTo>
                    <a:pt x="274474" y="391339"/>
                  </a:lnTo>
                  <a:lnTo>
                    <a:pt x="236835" y="400711"/>
                  </a:lnTo>
                  <a:lnTo>
                    <a:pt x="196426" y="392693"/>
                  </a:lnTo>
                  <a:lnTo>
                    <a:pt x="173176" y="380240"/>
                  </a:lnTo>
                  <a:lnTo>
                    <a:pt x="159488" y="363703"/>
                  </a:lnTo>
                  <a:lnTo>
                    <a:pt x="145517" y="329349"/>
                  </a:lnTo>
                  <a:lnTo>
                    <a:pt x="134410" y="318361"/>
                  </a:lnTo>
                  <a:lnTo>
                    <a:pt x="117649" y="287868"/>
                  </a:lnTo>
                  <a:lnTo>
                    <a:pt x="116444" y="264241"/>
                  </a:lnTo>
                  <a:lnTo>
                    <a:pt x="104601" y="259323"/>
                  </a:lnTo>
                  <a:lnTo>
                    <a:pt x="106639" y="245403"/>
                  </a:lnTo>
                  <a:lnTo>
                    <a:pt x="93516" y="227066"/>
                  </a:lnTo>
                  <a:lnTo>
                    <a:pt x="94273" y="199746"/>
                  </a:lnTo>
                  <a:lnTo>
                    <a:pt x="99986" y="192879"/>
                  </a:lnTo>
                  <a:lnTo>
                    <a:pt x="90841" y="178180"/>
                  </a:lnTo>
                  <a:lnTo>
                    <a:pt x="79959" y="211364"/>
                  </a:lnTo>
                  <a:lnTo>
                    <a:pt x="85125" y="222463"/>
                  </a:lnTo>
                  <a:lnTo>
                    <a:pt x="72981" y="220978"/>
                  </a:lnTo>
                  <a:lnTo>
                    <a:pt x="65854" y="213610"/>
                  </a:lnTo>
                  <a:lnTo>
                    <a:pt x="47998" y="219011"/>
                  </a:lnTo>
                  <a:lnTo>
                    <a:pt x="38682" y="208580"/>
                  </a:lnTo>
                  <a:lnTo>
                    <a:pt x="48527" y="184898"/>
                  </a:lnTo>
                  <a:lnTo>
                    <a:pt x="40475" y="171721"/>
                  </a:lnTo>
                  <a:lnTo>
                    <a:pt x="2784" y="13265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148">
              <a:extLst>
                <a:ext uri="{FF2B5EF4-FFF2-40B4-BE49-F238E27FC236}">
                  <a16:creationId xmlns:a16="http://schemas.microsoft.com/office/drawing/2014/main" id="{8FE9179A-DE7D-42F0-A1A2-4CFBD86D19A1}"/>
                </a:ext>
              </a:extLst>
            </p:cNvPr>
            <p:cNvSpPr/>
            <p:nvPr/>
          </p:nvSpPr>
          <p:spPr>
            <a:xfrm>
              <a:off x="1671064" y="4822839"/>
              <a:ext cx="341501" cy="296956"/>
            </a:xfrm>
            <a:custGeom>
              <a:avLst/>
              <a:gdLst>
                <a:gd name="connsiteX0" fmla="*/ 2784 w 341501"/>
                <a:gd name="connsiteY0" fmla="*/ 71919 h 296956"/>
                <a:gd name="connsiteX1" fmla="*/ 26450 w 341501"/>
                <a:gd name="connsiteY1" fmla="*/ 65609 h 296956"/>
                <a:gd name="connsiteX2" fmla="*/ 22094 w 341501"/>
                <a:gd name="connsiteY2" fmla="*/ 75668 h 296956"/>
                <a:gd name="connsiteX3" fmla="*/ 36463 w 341501"/>
                <a:gd name="connsiteY3" fmla="*/ 75074 h 296956"/>
                <a:gd name="connsiteX4" fmla="*/ 40592 w 341501"/>
                <a:gd name="connsiteY4" fmla="*/ 58259 h 296956"/>
                <a:gd name="connsiteX5" fmla="*/ 59883 w 341501"/>
                <a:gd name="connsiteY5" fmla="*/ 45843 h 296956"/>
                <a:gd name="connsiteX6" fmla="*/ 60731 w 341501"/>
                <a:gd name="connsiteY6" fmla="*/ 61860 h 296956"/>
                <a:gd name="connsiteX7" fmla="*/ 76099 w 341501"/>
                <a:gd name="connsiteY7" fmla="*/ 56867 h 296956"/>
                <a:gd name="connsiteX8" fmla="*/ 85507 w 341501"/>
                <a:gd name="connsiteY8" fmla="*/ 73218 h 296956"/>
                <a:gd name="connsiteX9" fmla="*/ 100574 w 341501"/>
                <a:gd name="connsiteY9" fmla="*/ 71678 h 296956"/>
                <a:gd name="connsiteX10" fmla="*/ 110511 w 341501"/>
                <a:gd name="connsiteY10" fmla="*/ 91351 h 296956"/>
                <a:gd name="connsiteX11" fmla="*/ 105700 w 341501"/>
                <a:gd name="connsiteY11" fmla="*/ 125297 h 296956"/>
                <a:gd name="connsiteX12" fmla="*/ 128158 w 341501"/>
                <a:gd name="connsiteY12" fmla="*/ 132777 h 296956"/>
                <a:gd name="connsiteX13" fmla="*/ 127140 w 341501"/>
                <a:gd name="connsiteY13" fmla="*/ 121028 h 296956"/>
                <a:gd name="connsiteX14" fmla="*/ 139002 w 341501"/>
                <a:gd name="connsiteY14" fmla="*/ 104677 h 296956"/>
                <a:gd name="connsiteX15" fmla="*/ 128180 w 341501"/>
                <a:gd name="connsiteY15" fmla="*/ 74091 h 296956"/>
                <a:gd name="connsiteX16" fmla="*/ 116734 w 341501"/>
                <a:gd name="connsiteY16" fmla="*/ 71660 h 296956"/>
                <a:gd name="connsiteX17" fmla="*/ 108551 w 341501"/>
                <a:gd name="connsiteY17" fmla="*/ 57647 h 296956"/>
                <a:gd name="connsiteX18" fmla="*/ 113078 w 341501"/>
                <a:gd name="connsiteY18" fmla="*/ 43319 h 296956"/>
                <a:gd name="connsiteX19" fmla="*/ 107044 w 341501"/>
                <a:gd name="connsiteY19" fmla="*/ 37491 h 296956"/>
                <a:gd name="connsiteX20" fmla="*/ 115719 w 341501"/>
                <a:gd name="connsiteY20" fmla="*/ 22494 h 296956"/>
                <a:gd name="connsiteX21" fmla="*/ 117699 w 341501"/>
                <a:gd name="connsiteY21" fmla="*/ 34930 h 296956"/>
                <a:gd name="connsiteX22" fmla="*/ 132708 w 341501"/>
                <a:gd name="connsiteY22" fmla="*/ 22346 h 296956"/>
                <a:gd name="connsiteX23" fmla="*/ 109553 w 341501"/>
                <a:gd name="connsiteY23" fmla="*/ 15832 h 296956"/>
                <a:gd name="connsiteX24" fmla="*/ 100672 w 341501"/>
                <a:gd name="connsiteY24" fmla="*/ 2784 h 296956"/>
                <a:gd name="connsiteX25" fmla="*/ 156977 w 341501"/>
                <a:gd name="connsiteY25" fmla="*/ 9131 h 296956"/>
                <a:gd name="connsiteX26" fmla="*/ 181528 w 341501"/>
                <a:gd name="connsiteY26" fmla="*/ 13734 h 296956"/>
                <a:gd name="connsiteX27" fmla="*/ 180585 w 341501"/>
                <a:gd name="connsiteY27" fmla="*/ 29195 h 296956"/>
                <a:gd name="connsiteX28" fmla="*/ 187976 w 341501"/>
                <a:gd name="connsiteY28" fmla="*/ 38215 h 296956"/>
                <a:gd name="connsiteX29" fmla="*/ 229550 w 341501"/>
                <a:gd name="connsiteY29" fmla="*/ 149815 h 296956"/>
                <a:gd name="connsiteX30" fmla="*/ 244973 w 341501"/>
                <a:gd name="connsiteY30" fmla="*/ 155865 h 296956"/>
                <a:gd name="connsiteX31" fmla="*/ 270129 w 341501"/>
                <a:gd name="connsiteY31" fmla="*/ 153564 h 296956"/>
                <a:gd name="connsiteX32" fmla="*/ 274597 w 341501"/>
                <a:gd name="connsiteY32" fmla="*/ 165609 h 296956"/>
                <a:gd name="connsiteX33" fmla="*/ 285118 w 341501"/>
                <a:gd name="connsiteY33" fmla="*/ 162231 h 296956"/>
                <a:gd name="connsiteX34" fmla="*/ 277501 w 341501"/>
                <a:gd name="connsiteY34" fmla="*/ 146437 h 296956"/>
                <a:gd name="connsiteX35" fmla="*/ 284838 w 341501"/>
                <a:gd name="connsiteY35" fmla="*/ 144414 h 296956"/>
                <a:gd name="connsiteX36" fmla="*/ 314610 w 341501"/>
                <a:gd name="connsiteY36" fmla="*/ 171140 h 296956"/>
                <a:gd name="connsiteX37" fmla="*/ 336124 w 341501"/>
                <a:gd name="connsiteY37" fmla="*/ 194080 h 296956"/>
                <a:gd name="connsiteX38" fmla="*/ 338801 w 341501"/>
                <a:gd name="connsiteY38" fmla="*/ 205568 h 296956"/>
                <a:gd name="connsiteX39" fmla="*/ 316191 w 341501"/>
                <a:gd name="connsiteY39" fmla="*/ 218523 h 296956"/>
                <a:gd name="connsiteX40" fmla="*/ 302822 w 341501"/>
                <a:gd name="connsiteY40" fmla="*/ 214700 h 296956"/>
                <a:gd name="connsiteX41" fmla="*/ 296373 w 341501"/>
                <a:gd name="connsiteY41" fmla="*/ 227617 h 296956"/>
                <a:gd name="connsiteX42" fmla="*/ 260411 w 341501"/>
                <a:gd name="connsiteY42" fmla="*/ 252896 h 296956"/>
                <a:gd name="connsiteX43" fmla="*/ 267369 w 341501"/>
                <a:gd name="connsiteY43" fmla="*/ 264551 h 296956"/>
                <a:gd name="connsiteX44" fmla="*/ 252716 w 341501"/>
                <a:gd name="connsiteY44" fmla="*/ 284744 h 296956"/>
                <a:gd name="connsiteX45" fmla="*/ 238969 w 341501"/>
                <a:gd name="connsiteY45" fmla="*/ 294581 h 296956"/>
                <a:gd name="connsiteX46" fmla="*/ 200049 w 341501"/>
                <a:gd name="connsiteY46" fmla="*/ 290572 h 296956"/>
                <a:gd name="connsiteX47" fmla="*/ 180535 w 341501"/>
                <a:gd name="connsiteY47" fmla="*/ 258816 h 296956"/>
                <a:gd name="connsiteX48" fmla="*/ 179990 w 341501"/>
                <a:gd name="connsiteY48" fmla="*/ 239329 h 296956"/>
                <a:gd name="connsiteX49" fmla="*/ 167432 w 341501"/>
                <a:gd name="connsiteY49" fmla="*/ 219228 h 296956"/>
                <a:gd name="connsiteX50" fmla="*/ 142974 w 341501"/>
                <a:gd name="connsiteY50" fmla="*/ 220565 h 296956"/>
                <a:gd name="connsiteX51" fmla="*/ 136979 w 341501"/>
                <a:gd name="connsiteY51" fmla="*/ 209614 h 296956"/>
                <a:gd name="connsiteX52" fmla="*/ 143165 w 341501"/>
                <a:gd name="connsiteY52" fmla="*/ 195026 h 296956"/>
                <a:gd name="connsiteX53" fmla="*/ 126157 w 341501"/>
                <a:gd name="connsiteY53" fmla="*/ 179009 h 296956"/>
                <a:gd name="connsiteX54" fmla="*/ 116294 w 341501"/>
                <a:gd name="connsiteY54" fmla="*/ 186544 h 296956"/>
                <a:gd name="connsiteX55" fmla="*/ 95288 w 341501"/>
                <a:gd name="connsiteY55" fmla="*/ 188178 h 296956"/>
                <a:gd name="connsiteX56" fmla="*/ 98248 w 341501"/>
                <a:gd name="connsiteY56" fmla="*/ 180048 h 296956"/>
                <a:gd name="connsiteX57" fmla="*/ 66060 w 341501"/>
                <a:gd name="connsiteY57" fmla="*/ 180921 h 296956"/>
                <a:gd name="connsiteX58" fmla="*/ 52938 w 341501"/>
                <a:gd name="connsiteY58" fmla="*/ 162602 h 296956"/>
                <a:gd name="connsiteX59" fmla="*/ 39455 w 341501"/>
                <a:gd name="connsiteY59" fmla="*/ 174091 h 296956"/>
                <a:gd name="connsiteX60" fmla="*/ 28970 w 341501"/>
                <a:gd name="connsiteY60" fmla="*/ 172365 h 296956"/>
                <a:gd name="connsiteX61" fmla="*/ 19562 w 341501"/>
                <a:gd name="connsiteY61" fmla="*/ 155995 h 296956"/>
                <a:gd name="connsiteX62" fmla="*/ 24182 w 341501"/>
                <a:gd name="connsiteY62" fmla="*/ 147606 h 296956"/>
                <a:gd name="connsiteX63" fmla="*/ 23976 w 341501"/>
                <a:gd name="connsiteY63" fmla="*/ 119581 h 296956"/>
                <a:gd name="connsiteX64" fmla="*/ 9100 w 341501"/>
                <a:gd name="connsiteY64" fmla="*/ 95583 h 296956"/>
                <a:gd name="connsiteX65" fmla="*/ 13324 w 341501"/>
                <a:gd name="connsiteY65" fmla="*/ 84707 h 296956"/>
                <a:gd name="connsiteX66" fmla="*/ 2784 w 341501"/>
                <a:gd name="connsiteY66" fmla="*/ 71919 h 296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41501" h="296956">
                  <a:moveTo>
                    <a:pt x="2784" y="71919"/>
                  </a:moveTo>
                  <a:lnTo>
                    <a:pt x="26450" y="65609"/>
                  </a:lnTo>
                  <a:lnTo>
                    <a:pt x="22094" y="75668"/>
                  </a:lnTo>
                  <a:lnTo>
                    <a:pt x="36463" y="75074"/>
                  </a:lnTo>
                  <a:lnTo>
                    <a:pt x="40592" y="58259"/>
                  </a:lnTo>
                  <a:lnTo>
                    <a:pt x="59883" y="45843"/>
                  </a:lnTo>
                  <a:lnTo>
                    <a:pt x="60731" y="61860"/>
                  </a:lnTo>
                  <a:lnTo>
                    <a:pt x="76099" y="56867"/>
                  </a:lnTo>
                  <a:lnTo>
                    <a:pt x="85507" y="73218"/>
                  </a:lnTo>
                  <a:lnTo>
                    <a:pt x="100574" y="71678"/>
                  </a:lnTo>
                  <a:lnTo>
                    <a:pt x="110511" y="91351"/>
                  </a:lnTo>
                  <a:lnTo>
                    <a:pt x="105700" y="125297"/>
                  </a:lnTo>
                  <a:lnTo>
                    <a:pt x="128158" y="132777"/>
                  </a:lnTo>
                  <a:lnTo>
                    <a:pt x="127140" y="121028"/>
                  </a:lnTo>
                  <a:lnTo>
                    <a:pt x="139002" y="104677"/>
                  </a:lnTo>
                  <a:lnTo>
                    <a:pt x="128180" y="74091"/>
                  </a:lnTo>
                  <a:lnTo>
                    <a:pt x="116734" y="71660"/>
                  </a:lnTo>
                  <a:lnTo>
                    <a:pt x="108551" y="57647"/>
                  </a:lnTo>
                  <a:lnTo>
                    <a:pt x="113078" y="43319"/>
                  </a:lnTo>
                  <a:lnTo>
                    <a:pt x="107044" y="37491"/>
                  </a:lnTo>
                  <a:lnTo>
                    <a:pt x="115719" y="22494"/>
                  </a:lnTo>
                  <a:lnTo>
                    <a:pt x="117699" y="34930"/>
                  </a:lnTo>
                  <a:lnTo>
                    <a:pt x="132708" y="22346"/>
                  </a:lnTo>
                  <a:lnTo>
                    <a:pt x="109553" y="15832"/>
                  </a:lnTo>
                  <a:lnTo>
                    <a:pt x="100672" y="2784"/>
                  </a:lnTo>
                  <a:lnTo>
                    <a:pt x="156977" y="9131"/>
                  </a:lnTo>
                  <a:lnTo>
                    <a:pt x="181528" y="13734"/>
                  </a:lnTo>
                  <a:lnTo>
                    <a:pt x="180585" y="29195"/>
                  </a:lnTo>
                  <a:lnTo>
                    <a:pt x="187976" y="38215"/>
                  </a:lnTo>
                  <a:lnTo>
                    <a:pt x="229550" y="149815"/>
                  </a:lnTo>
                  <a:lnTo>
                    <a:pt x="244973" y="155865"/>
                  </a:lnTo>
                  <a:lnTo>
                    <a:pt x="270129" y="153564"/>
                  </a:lnTo>
                  <a:lnTo>
                    <a:pt x="274597" y="165609"/>
                  </a:lnTo>
                  <a:lnTo>
                    <a:pt x="285118" y="162231"/>
                  </a:lnTo>
                  <a:lnTo>
                    <a:pt x="277501" y="146437"/>
                  </a:lnTo>
                  <a:lnTo>
                    <a:pt x="284838" y="144414"/>
                  </a:lnTo>
                  <a:lnTo>
                    <a:pt x="314610" y="171140"/>
                  </a:lnTo>
                  <a:lnTo>
                    <a:pt x="336124" y="194080"/>
                  </a:lnTo>
                  <a:lnTo>
                    <a:pt x="338801" y="205568"/>
                  </a:lnTo>
                  <a:lnTo>
                    <a:pt x="316191" y="218523"/>
                  </a:lnTo>
                  <a:lnTo>
                    <a:pt x="302822" y="214700"/>
                  </a:lnTo>
                  <a:lnTo>
                    <a:pt x="296373" y="227617"/>
                  </a:lnTo>
                  <a:lnTo>
                    <a:pt x="260411" y="252896"/>
                  </a:lnTo>
                  <a:lnTo>
                    <a:pt x="267369" y="264551"/>
                  </a:lnTo>
                  <a:lnTo>
                    <a:pt x="252716" y="284744"/>
                  </a:lnTo>
                  <a:lnTo>
                    <a:pt x="238969" y="294581"/>
                  </a:lnTo>
                  <a:lnTo>
                    <a:pt x="200049" y="290572"/>
                  </a:lnTo>
                  <a:lnTo>
                    <a:pt x="180535" y="258816"/>
                  </a:lnTo>
                  <a:lnTo>
                    <a:pt x="179990" y="239329"/>
                  </a:lnTo>
                  <a:lnTo>
                    <a:pt x="167432" y="219228"/>
                  </a:lnTo>
                  <a:lnTo>
                    <a:pt x="142974" y="220565"/>
                  </a:lnTo>
                  <a:lnTo>
                    <a:pt x="136979" y="209614"/>
                  </a:lnTo>
                  <a:lnTo>
                    <a:pt x="143165" y="195026"/>
                  </a:lnTo>
                  <a:lnTo>
                    <a:pt x="126157" y="179009"/>
                  </a:lnTo>
                  <a:lnTo>
                    <a:pt x="116294" y="186544"/>
                  </a:lnTo>
                  <a:lnTo>
                    <a:pt x="95288" y="188178"/>
                  </a:lnTo>
                  <a:lnTo>
                    <a:pt x="98248" y="180048"/>
                  </a:lnTo>
                  <a:lnTo>
                    <a:pt x="66060" y="180921"/>
                  </a:lnTo>
                  <a:lnTo>
                    <a:pt x="52938" y="162602"/>
                  </a:lnTo>
                  <a:lnTo>
                    <a:pt x="39455" y="174091"/>
                  </a:lnTo>
                  <a:lnTo>
                    <a:pt x="28970" y="172365"/>
                  </a:lnTo>
                  <a:lnTo>
                    <a:pt x="19562" y="155995"/>
                  </a:lnTo>
                  <a:lnTo>
                    <a:pt x="24182" y="147606"/>
                  </a:lnTo>
                  <a:lnTo>
                    <a:pt x="23976" y="119581"/>
                  </a:lnTo>
                  <a:lnTo>
                    <a:pt x="9100" y="95583"/>
                  </a:lnTo>
                  <a:lnTo>
                    <a:pt x="13324" y="84707"/>
                  </a:lnTo>
                  <a:lnTo>
                    <a:pt x="2784" y="71919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164">
              <a:extLst>
                <a:ext uri="{FF2B5EF4-FFF2-40B4-BE49-F238E27FC236}">
                  <a16:creationId xmlns:a16="http://schemas.microsoft.com/office/drawing/2014/main" id="{5D1CE03C-F479-40A4-A370-66BB098811B5}"/>
                </a:ext>
              </a:extLst>
            </p:cNvPr>
            <p:cNvSpPr/>
            <p:nvPr/>
          </p:nvSpPr>
          <p:spPr>
            <a:xfrm>
              <a:off x="1678414" y="5272932"/>
              <a:ext cx="185598" cy="230141"/>
            </a:xfrm>
            <a:custGeom>
              <a:avLst/>
              <a:gdLst>
                <a:gd name="connsiteX0" fmla="*/ 178809 w 185598"/>
                <a:gd name="connsiteY0" fmla="*/ 73998 h 230141"/>
                <a:gd name="connsiteX1" fmla="*/ 177943 w 185598"/>
                <a:gd name="connsiteY1" fmla="*/ 79232 h 230141"/>
                <a:gd name="connsiteX2" fmla="*/ 179167 w 185598"/>
                <a:gd name="connsiteY2" fmla="*/ 81589 h 230141"/>
                <a:gd name="connsiteX3" fmla="*/ 167079 w 185598"/>
                <a:gd name="connsiteY3" fmla="*/ 91166 h 230141"/>
                <a:gd name="connsiteX4" fmla="*/ 149390 w 185598"/>
                <a:gd name="connsiteY4" fmla="*/ 129696 h 230141"/>
                <a:gd name="connsiteX5" fmla="*/ 161853 w 185598"/>
                <a:gd name="connsiteY5" fmla="*/ 143875 h 230141"/>
                <a:gd name="connsiteX6" fmla="*/ 165021 w 185598"/>
                <a:gd name="connsiteY6" fmla="*/ 163790 h 230141"/>
                <a:gd name="connsiteX7" fmla="*/ 184555 w 185598"/>
                <a:gd name="connsiteY7" fmla="*/ 174276 h 230141"/>
                <a:gd name="connsiteX8" fmla="*/ 183574 w 185598"/>
                <a:gd name="connsiteY8" fmla="*/ 194859 h 230141"/>
                <a:gd name="connsiteX9" fmla="*/ 172503 w 185598"/>
                <a:gd name="connsiteY9" fmla="*/ 216166 h 230141"/>
                <a:gd name="connsiteX10" fmla="*/ 146161 w 185598"/>
                <a:gd name="connsiteY10" fmla="*/ 211006 h 230141"/>
                <a:gd name="connsiteX11" fmla="*/ 149969 w 185598"/>
                <a:gd name="connsiteY11" fmla="*/ 218913 h 230141"/>
                <a:gd name="connsiteX12" fmla="*/ 122100 w 185598"/>
                <a:gd name="connsiteY12" fmla="*/ 214829 h 230141"/>
                <a:gd name="connsiteX13" fmla="*/ 103809 w 185598"/>
                <a:gd name="connsiteY13" fmla="*/ 222847 h 230141"/>
                <a:gd name="connsiteX14" fmla="*/ 88423 w 185598"/>
                <a:gd name="connsiteY14" fmla="*/ 211693 h 230141"/>
                <a:gd name="connsiteX15" fmla="*/ 82105 w 185598"/>
                <a:gd name="connsiteY15" fmla="*/ 225446 h 230141"/>
                <a:gd name="connsiteX16" fmla="*/ 64549 w 185598"/>
                <a:gd name="connsiteY16" fmla="*/ 227394 h 230141"/>
                <a:gd name="connsiteX17" fmla="*/ 68189 w 185598"/>
                <a:gd name="connsiteY17" fmla="*/ 202153 h 230141"/>
                <a:gd name="connsiteX18" fmla="*/ 77883 w 185598"/>
                <a:gd name="connsiteY18" fmla="*/ 198905 h 230141"/>
                <a:gd name="connsiteX19" fmla="*/ 66418 w 185598"/>
                <a:gd name="connsiteY19" fmla="*/ 180327 h 230141"/>
                <a:gd name="connsiteX20" fmla="*/ 69115 w 185598"/>
                <a:gd name="connsiteY20" fmla="*/ 170546 h 230141"/>
                <a:gd name="connsiteX21" fmla="*/ 51069 w 185598"/>
                <a:gd name="connsiteY21" fmla="*/ 164050 h 230141"/>
                <a:gd name="connsiteX22" fmla="*/ 45112 w 185598"/>
                <a:gd name="connsiteY22" fmla="*/ 147996 h 230141"/>
                <a:gd name="connsiteX23" fmla="*/ 46810 w 185598"/>
                <a:gd name="connsiteY23" fmla="*/ 142614 h 230141"/>
                <a:gd name="connsiteX24" fmla="*/ 49072 w 185598"/>
                <a:gd name="connsiteY24" fmla="*/ 135449 h 230141"/>
                <a:gd name="connsiteX25" fmla="*/ 69380 w 185598"/>
                <a:gd name="connsiteY25" fmla="*/ 134781 h 230141"/>
                <a:gd name="connsiteX26" fmla="*/ 115826 w 185598"/>
                <a:gd name="connsiteY26" fmla="*/ 111229 h 230141"/>
                <a:gd name="connsiteX27" fmla="*/ 105155 w 185598"/>
                <a:gd name="connsiteY27" fmla="*/ 97625 h 230141"/>
                <a:gd name="connsiteX28" fmla="*/ 93330 w 185598"/>
                <a:gd name="connsiteY28" fmla="*/ 108853 h 230141"/>
                <a:gd name="connsiteX29" fmla="*/ 74380 w 185598"/>
                <a:gd name="connsiteY29" fmla="*/ 112714 h 230141"/>
                <a:gd name="connsiteX30" fmla="*/ 68950 w 185598"/>
                <a:gd name="connsiteY30" fmla="*/ 99982 h 230141"/>
                <a:gd name="connsiteX31" fmla="*/ 53504 w 185598"/>
                <a:gd name="connsiteY31" fmla="*/ 115201 h 230141"/>
                <a:gd name="connsiteX32" fmla="*/ 42608 w 185598"/>
                <a:gd name="connsiteY32" fmla="*/ 94822 h 230141"/>
                <a:gd name="connsiteX33" fmla="*/ 29068 w 185598"/>
                <a:gd name="connsiteY33" fmla="*/ 95268 h 230141"/>
                <a:gd name="connsiteX34" fmla="*/ 12004 w 185598"/>
                <a:gd name="connsiteY34" fmla="*/ 68226 h 230141"/>
                <a:gd name="connsiteX35" fmla="*/ 2784 w 185598"/>
                <a:gd name="connsiteY35" fmla="*/ 63734 h 230141"/>
                <a:gd name="connsiteX36" fmla="*/ 3651 w 185598"/>
                <a:gd name="connsiteY36" fmla="*/ 58500 h 230141"/>
                <a:gd name="connsiteX37" fmla="*/ 31316 w 185598"/>
                <a:gd name="connsiteY37" fmla="*/ 34540 h 230141"/>
                <a:gd name="connsiteX38" fmla="*/ 35011 w 185598"/>
                <a:gd name="connsiteY38" fmla="*/ 20342 h 230141"/>
                <a:gd name="connsiteX39" fmla="*/ 70501 w 185598"/>
                <a:gd name="connsiteY39" fmla="*/ 2784 h 230141"/>
                <a:gd name="connsiteX40" fmla="*/ 85774 w 185598"/>
                <a:gd name="connsiteY40" fmla="*/ 29269 h 230141"/>
                <a:gd name="connsiteX41" fmla="*/ 122298 w 185598"/>
                <a:gd name="connsiteY41" fmla="*/ 39625 h 230141"/>
                <a:gd name="connsiteX42" fmla="*/ 125672 w 185598"/>
                <a:gd name="connsiteY42" fmla="*/ 50130 h 230141"/>
                <a:gd name="connsiteX43" fmla="*/ 139551 w 185598"/>
                <a:gd name="connsiteY43" fmla="*/ 41129 h 230141"/>
                <a:gd name="connsiteX44" fmla="*/ 154542 w 185598"/>
                <a:gd name="connsiteY44" fmla="*/ 49796 h 230141"/>
                <a:gd name="connsiteX45" fmla="*/ 171268 w 185598"/>
                <a:gd name="connsiteY45" fmla="*/ 47977 h 230141"/>
                <a:gd name="connsiteX46" fmla="*/ 170721 w 185598"/>
                <a:gd name="connsiteY46" fmla="*/ 65924 h 230141"/>
                <a:gd name="connsiteX47" fmla="*/ 178809 w 185598"/>
                <a:gd name="connsiteY47" fmla="*/ 73998 h 230141"/>
                <a:gd name="connsiteX48" fmla="*/ 84715 w 185598"/>
                <a:gd name="connsiteY48" fmla="*/ 97476 h 230141"/>
                <a:gd name="connsiteX49" fmla="*/ 88863 w 185598"/>
                <a:gd name="connsiteY49" fmla="*/ 96808 h 230141"/>
                <a:gd name="connsiteX50" fmla="*/ 82961 w 185598"/>
                <a:gd name="connsiteY50" fmla="*/ 91797 h 230141"/>
                <a:gd name="connsiteX51" fmla="*/ 79906 w 185598"/>
                <a:gd name="connsiteY51" fmla="*/ 93987 h 230141"/>
                <a:gd name="connsiteX52" fmla="*/ 84715 w 185598"/>
                <a:gd name="connsiteY52" fmla="*/ 97476 h 230141"/>
                <a:gd name="connsiteX53" fmla="*/ 106758 w 185598"/>
                <a:gd name="connsiteY53" fmla="*/ 86303 h 230141"/>
                <a:gd name="connsiteX54" fmla="*/ 107493 w 185598"/>
                <a:gd name="connsiteY54" fmla="*/ 80234 h 230141"/>
                <a:gd name="connsiteX55" fmla="*/ 102779 w 185598"/>
                <a:gd name="connsiteY55" fmla="*/ 82684 h 230141"/>
                <a:gd name="connsiteX56" fmla="*/ 103440 w 185598"/>
                <a:gd name="connsiteY56" fmla="*/ 86841 h 230141"/>
                <a:gd name="connsiteX57" fmla="*/ 106758 w 185598"/>
                <a:gd name="connsiteY57" fmla="*/ 86303 h 23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85598" h="230141">
                  <a:moveTo>
                    <a:pt x="178809" y="73998"/>
                  </a:moveTo>
                  <a:lnTo>
                    <a:pt x="177943" y="79232"/>
                  </a:lnTo>
                  <a:lnTo>
                    <a:pt x="179167" y="81589"/>
                  </a:lnTo>
                  <a:lnTo>
                    <a:pt x="167079" y="91166"/>
                  </a:lnTo>
                  <a:lnTo>
                    <a:pt x="149390" y="129696"/>
                  </a:lnTo>
                  <a:lnTo>
                    <a:pt x="161853" y="143875"/>
                  </a:lnTo>
                  <a:lnTo>
                    <a:pt x="165021" y="163790"/>
                  </a:lnTo>
                  <a:lnTo>
                    <a:pt x="184555" y="174276"/>
                  </a:lnTo>
                  <a:lnTo>
                    <a:pt x="183574" y="194859"/>
                  </a:lnTo>
                  <a:lnTo>
                    <a:pt x="172503" y="216166"/>
                  </a:lnTo>
                  <a:lnTo>
                    <a:pt x="146161" y="211006"/>
                  </a:lnTo>
                  <a:lnTo>
                    <a:pt x="149969" y="218913"/>
                  </a:lnTo>
                  <a:lnTo>
                    <a:pt x="122100" y="214829"/>
                  </a:lnTo>
                  <a:lnTo>
                    <a:pt x="103809" y="222847"/>
                  </a:lnTo>
                  <a:lnTo>
                    <a:pt x="88423" y="211693"/>
                  </a:lnTo>
                  <a:lnTo>
                    <a:pt x="82105" y="225446"/>
                  </a:lnTo>
                  <a:lnTo>
                    <a:pt x="64549" y="227394"/>
                  </a:lnTo>
                  <a:lnTo>
                    <a:pt x="68189" y="202153"/>
                  </a:lnTo>
                  <a:lnTo>
                    <a:pt x="77883" y="198905"/>
                  </a:lnTo>
                  <a:lnTo>
                    <a:pt x="66418" y="180327"/>
                  </a:lnTo>
                  <a:lnTo>
                    <a:pt x="69115" y="170546"/>
                  </a:lnTo>
                  <a:lnTo>
                    <a:pt x="51069" y="164050"/>
                  </a:lnTo>
                  <a:lnTo>
                    <a:pt x="45112" y="147996"/>
                  </a:lnTo>
                  <a:lnTo>
                    <a:pt x="46810" y="142614"/>
                  </a:lnTo>
                  <a:lnTo>
                    <a:pt x="49072" y="135449"/>
                  </a:lnTo>
                  <a:lnTo>
                    <a:pt x="69380" y="134781"/>
                  </a:lnTo>
                  <a:lnTo>
                    <a:pt x="115826" y="111229"/>
                  </a:lnTo>
                  <a:lnTo>
                    <a:pt x="105155" y="97625"/>
                  </a:lnTo>
                  <a:lnTo>
                    <a:pt x="93330" y="108853"/>
                  </a:lnTo>
                  <a:lnTo>
                    <a:pt x="74380" y="112714"/>
                  </a:lnTo>
                  <a:lnTo>
                    <a:pt x="68950" y="99982"/>
                  </a:lnTo>
                  <a:lnTo>
                    <a:pt x="53504" y="115201"/>
                  </a:lnTo>
                  <a:lnTo>
                    <a:pt x="42608" y="94822"/>
                  </a:lnTo>
                  <a:lnTo>
                    <a:pt x="29068" y="95268"/>
                  </a:lnTo>
                  <a:lnTo>
                    <a:pt x="12004" y="68226"/>
                  </a:lnTo>
                  <a:lnTo>
                    <a:pt x="2784" y="63734"/>
                  </a:lnTo>
                  <a:lnTo>
                    <a:pt x="3651" y="58500"/>
                  </a:lnTo>
                  <a:lnTo>
                    <a:pt x="31316" y="34540"/>
                  </a:lnTo>
                  <a:lnTo>
                    <a:pt x="35011" y="20342"/>
                  </a:lnTo>
                  <a:lnTo>
                    <a:pt x="70501" y="2784"/>
                  </a:lnTo>
                  <a:lnTo>
                    <a:pt x="85774" y="29269"/>
                  </a:lnTo>
                  <a:lnTo>
                    <a:pt x="122298" y="39625"/>
                  </a:lnTo>
                  <a:lnTo>
                    <a:pt x="125672" y="50130"/>
                  </a:lnTo>
                  <a:lnTo>
                    <a:pt x="139551" y="41129"/>
                  </a:lnTo>
                  <a:lnTo>
                    <a:pt x="154542" y="49796"/>
                  </a:lnTo>
                  <a:lnTo>
                    <a:pt x="171268" y="47977"/>
                  </a:lnTo>
                  <a:lnTo>
                    <a:pt x="170721" y="65924"/>
                  </a:lnTo>
                  <a:lnTo>
                    <a:pt x="178809" y="73998"/>
                  </a:lnTo>
                  <a:close/>
                  <a:moveTo>
                    <a:pt x="84715" y="97476"/>
                  </a:moveTo>
                  <a:lnTo>
                    <a:pt x="88863" y="96808"/>
                  </a:lnTo>
                  <a:lnTo>
                    <a:pt x="82961" y="91797"/>
                  </a:lnTo>
                  <a:lnTo>
                    <a:pt x="79906" y="93987"/>
                  </a:lnTo>
                  <a:lnTo>
                    <a:pt x="84715" y="97476"/>
                  </a:lnTo>
                  <a:close/>
                  <a:moveTo>
                    <a:pt x="106758" y="86303"/>
                  </a:moveTo>
                  <a:lnTo>
                    <a:pt x="107493" y="80234"/>
                  </a:lnTo>
                  <a:lnTo>
                    <a:pt x="102779" y="82684"/>
                  </a:lnTo>
                  <a:lnTo>
                    <a:pt x="103440" y="86841"/>
                  </a:lnTo>
                  <a:lnTo>
                    <a:pt x="106758" y="8630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172">
              <a:extLst>
                <a:ext uri="{FF2B5EF4-FFF2-40B4-BE49-F238E27FC236}">
                  <a16:creationId xmlns:a16="http://schemas.microsoft.com/office/drawing/2014/main" id="{4933C09C-4BE3-4897-B10B-0C547FD12844}"/>
                </a:ext>
              </a:extLst>
            </p:cNvPr>
            <p:cNvSpPr/>
            <p:nvPr/>
          </p:nvSpPr>
          <p:spPr>
            <a:xfrm>
              <a:off x="2119147" y="5872784"/>
              <a:ext cx="502972" cy="432443"/>
            </a:xfrm>
            <a:custGeom>
              <a:avLst/>
              <a:gdLst>
                <a:gd name="connsiteX0" fmla="*/ 394710 w 502971"/>
                <a:gd name="connsiteY0" fmla="*/ 270286 h 432442"/>
                <a:gd name="connsiteX1" fmla="*/ 406741 w 502971"/>
                <a:gd name="connsiteY1" fmla="*/ 287083 h 432442"/>
                <a:gd name="connsiteX2" fmla="*/ 415811 w 502971"/>
                <a:gd name="connsiteY2" fmla="*/ 274573 h 432442"/>
                <a:gd name="connsiteX3" fmla="*/ 441153 w 502971"/>
                <a:gd name="connsiteY3" fmla="*/ 284150 h 432442"/>
                <a:gd name="connsiteX4" fmla="*/ 456541 w 502971"/>
                <a:gd name="connsiteY4" fmla="*/ 295305 h 432442"/>
                <a:gd name="connsiteX5" fmla="*/ 452315 w 502971"/>
                <a:gd name="connsiteY5" fmla="*/ 306199 h 432442"/>
                <a:gd name="connsiteX6" fmla="*/ 437342 w 502971"/>
                <a:gd name="connsiteY6" fmla="*/ 313679 h 432442"/>
                <a:gd name="connsiteX7" fmla="*/ 439623 w 502971"/>
                <a:gd name="connsiteY7" fmla="*/ 322662 h 432442"/>
                <a:gd name="connsiteX8" fmla="*/ 456028 w 502971"/>
                <a:gd name="connsiteY8" fmla="*/ 345564 h 432442"/>
                <a:gd name="connsiteX9" fmla="*/ 446732 w 502971"/>
                <a:gd name="connsiteY9" fmla="*/ 351299 h 432442"/>
                <a:gd name="connsiteX10" fmla="*/ 473695 w 502971"/>
                <a:gd name="connsiteY10" fmla="*/ 365720 h 432442"/>
                <a:gd name="connsiteX11" fmla="*/ 474581 w 502971"/>
                <a:gd name="connsiteY11" fmla="*/ 376634 h 432442"/>
                <a:gd name="connsiteX12" fmla="*/ 495210 w 502971"/>
                <a:gd name="connsiteY12" fmla="*/ 388660 h 432442"/>
                <a:gd name="connsiteX13" fmla="*/ 500902 w 502971"/>
                <a:gd name="connsiteY13" fmla="*/ 403063 h 432442"/>
                <a:gd name="connsiteX14" fmla="*/ 490513 w 502971"/>
                <a:gd name="connsiteY14" fmla="*/ 407276 h 432442"/>
                <a:gd name="connsiteX15" fmla="*/ 474729 w 502971"/>
                <a:gd name="connsiteY15" fmla="*/ 431032 h 432442"/>
                <a:gd name="connsiteX16" fmla="*/ 438693 w 502971"/>
                <a:gd name="connsiteY16" fmla="*/ 429121 h 432442"/>
                <a:gd name="connsiteX17" fmla="*/ 418330 w 502971"/>
                <a:gd name="connsiteY17" fmla="*/ 418746 h 432442"/>
                <a:gd name="connsiteX18" fmla="*/ 409619 w 502971"/>
                <a:gd name="connsiteY18" fmla="*/ 401429 h 432442"/>
                <a:gd name="connsiteX19" fmla="*/ 388630 w 502971"/>
                <a:gd name="connsiteY19" fmla="*/ 419228 h 432442"/>
                <a:gd name="connsiteX20" fmla="*/ 373998 w 502971"/>
                <a:gd name="connsiteY20" fmla="*/ 418152 h 432442"/>
                <a:gd name="connsiteX21" fmla="*/ 374640 w 502971"/>
                <a:gd name="connsiteY21" fmla="*/ 406144 h 432442"/>
                <a:gd name="connsiteX22" fmla="*/ 350428 w 502971"/>
                <a:gd name="connsiteY22" fmla="*/ 392985 h 432442"/>
                <a:gd name="connsiteX23" fmla="*/ 338700 w 502971"/>
                <a:gd name="connsiteY23" fmla="*/ 372736 h 432442"/>
                <a:gd name="connsiteX24" fmla="*/ 343886 w 502971"/>
                <a:gd name="connsiteY24" fmla="*/ 362565 h 432442"/>
                <a:gd name="connsiteX25" fmla="*/ 333912 w 502971"/>
                <a:gd name="connsiteY25" fmla="*/ 347996 h 432442"/>
                <a:gd name="connsiteX26" fmla="*/ 322429 w 502971"/>
                <a:gd name="connsiteY26" fmla="*/ 350668 h 432442"/>
                <a:gd name="connsiteX27" fmla="*/ 306911 w 502971"/>
                <a:gd name="connsiteY27" fmla="*/ 338679 h 432442"/>
                <a:gd name="connsiteX28" fmla="*/ 296312 w 502971"/>
                <a:gd name="connsiteY28" fmla="*/ 352265 h 432442"/>
                <a:gd name="connsiteX29" fmla="*/ 280059 w 502971"/>
                <a:gd name="connsiteY29" fmla="*/ 346344 h 432442"/>
                <a:gd name="connsiteX30" fmla="*/ 277156 w 502971"/>
                <a:gd name="connsiteY30" fmla="*/ 328100 h 432442"/>
                <a:gd name="connsiteX31" fmla="*/ 244647 w 502971"/>
                <a:gd name="connsiteY31" fmla="*/ 316259 h 432442"/>
                <a:gd name="connsiteX32" fmla="*/ 223904 w 502971"/>
                <a:gd name="connsiteY32" fmla="*/ 319562 h 432442"/>
                <a:gd name="connsiteX33" fmla="*/ 213609 w 502971"/>
                <a:gd name="connsiteY33" fmla="*/ 329715 h 432442"/>
                <a:gd name="connsiteX34" fmla="*/ 186926 w 502971"/>
                <a:gd name="connsiteY34" fmla="*/ 333111 h 432442"/>
                <a:gd name="connsiteX35" fmla="*/ 173935 w 502971"/>
                <a:gd name="connsiteY35" fmla="*/ 315609 h 432442"/>
                <a:gd name="connsiteX36" fmla="*/ 168976 w 502971"/>
                <a:gd name="connsiteY36" fmla="*/ 295138 h 432442"/>
                <a:gd name="connsiteX37" fmla="*/ 154062 w 502971"/>
                <a:gd name="connsiteY37" fmla="*/ 276244 h 432442"/>
                <a:gd name="connsiteX38" fmla="*/ 142521 w 502971"/>
                <a:gd name="connsiteY38" fmla="*/ 305308 h 432442"/>
                <a:gd name="connsiteX39" fmla="*/ 128492 w 502971"/>
                <a:gd name="connsiteY39" fmla="*/ 297328 h 432442"/>
                <a:gd name="connsiteX40" fmla="*/ 140880 w 502971"/>
                <a:gd name="connsiteY40" fmla="*/ 284299 h 432442"/>
                <a:gd name="connsiteX41" fmla="*/ 130906 w 502971"/>
                <a:gd name="connsiteY41" fmla="*/ 269729 h 432442"/>
                <a:gd name="connsiteX42" fmla="*/ 126779 w 502971"/>
                <a:gd name="connsiteY42" fmla="*/ 249128 h 432442"/>
                <a:gd name="connsiteX43" fmla="*/ 116068 w 502971"/>
                <a:gd name="connsiteY43" fmla="*/ 240628 h 432442"/>
                <a:gd name="connsiteX44" fmla="*/ 118501 w 502971"/>
                <a:gd name="connsiteY44" fmla="*/ 229176 h 432442"/>
                <a:gd name="connsiteX45" fmla="*/ 110186 w 502971"/>
                <a:gd name="connsiteY45" fmla="*/ 214347 h 432442"/>
                <a:gd name="connsiteX46" fmla="*/ 89520 w 502971"/>
                <a:gd name="connsiteY46" fmla="*/ 207424 h 432442"/>
                <a:gd name="connsiteX47" fmla="*/ 70552 w 502971"/>
                <a:gd name="connsiteY47" fmla="*/ 195138 h 432442"/>
                <a:gd name="connsiteX48" fmla="*/ 72927 w 502971"/>
                <a:gd name="connsiteY48" fmla="*/ 172643 h 432442"/>
                <a:gd name="connsiteX49" fmla="*/ 49074 w 502971"/>
                <a:gd name="connsiteY49" fmla="*/ 167094 h 432442"/>
                <a:gd name="connsiteX50" fmla="*/ 38647 w 502971"/>
                <a:gd name="connsiteY50" fmla="*/ 176411 h 432442"/>
                <a:gd name="connsiteX51" fmla="*/ 15661 w 502971"/>
                <a:gd name="connsiteY51" fmla="*/ 165609 h 432442"/>
                <a:gd name="connsiteX52" fmla="*/ 24562 w 502971"/>
                <a:gd name="connsiteY52" fmla="*/ 157387 h 432442"/>
                <a:gd name="connsiteX53" fmla="*/ 2784 w 502971"/>
                <a:gd name="connsiteY53" fmla="*/ 132777 h 432442"/>
                <a:gd name="connsiteX54" fmla="*/ 43571 w 502971"/>
                <a:gd name="connsiteY54" fmla="*/ 127153 h 432442"/>
                <a:gd name="connsiteX55" fmla="*/ 52944 w 502971"/>
                <a:gd name="connsiteY55" fmla="*/ 111191 h 432442"/>
                <a:gd name="connsiteX56" fmla="*/ 63597 w 502971"/>
                <a:gd name="connsiteY56" fmla="*/ 108649 h 432442"/>
                <a:gd name="connsiteX57" fmla="*/ 71311 w 502971"/>
                <a:gd name="connsiteY57" fmla="*/ 92966 h 432442"/>
                <a:gd name="connsiteX58" fmla="*/ 79004 w 502971"/>
                <a:gd name="connsiteY58" fmla="*/ 98552 h 432442"/>
                <a:gd name="connsiteX59" fmla="*/ 83926 w 502971"/>
                <a:gd name="connsiteY59" fmla="*/ 86711 h 432442"/>
                <a:gd name="connsiteX60" fmla="*/ 104932 w 502971"/>
                <a:gd name="connsiteY60" fmla="*/ 85059 h 432442"/>
                <a:gd name="connsiteX61" fmla="*/ 124564 w 502971"/>
                <a:gd name="connsiteY61" fmla="*/ 64087 h 432442"/>
                <a:gd name="connsiteX62" fmla="*/ 124507 w 502971"/>
                <a:gd name="connsiteY62" fmla="*/ 53044 h 432442"/>
                <a:gd name="connsiteX63" fmla="*/ 137124 w 502971"/>
                <a:gd name="connsiteY63" fmla="*/ 46789 h 432442"/>
                <a:gd name="connsiteX64" fmla="*/ 160205 w 502971"/>
                <a:gd name="connsiteY64" fmla="*/ 26095 h 432442"/>
                <a:gd name="connsiteX65" fmla="*/ 155435 w 502971"/>
                <a:gd name="connsiteY65" fmla="*/ 17502 h 432442"/>
                <a:gd name="connsiteX66" fmla="*/ 162451 w 502971"/>
                <a:gd name="connsiteY66" fmla="*/ 2784 h 432442"/>
                <a:gd name="connsiteX67" fmla="*/ 174858 w 502971"/>
                <a:gd name="connsiteY67" fmla="*/ 5902 h 432442"/>
                <a:gd name="connsiteX68" fmla="*/ 195277 w 502971"/>
                <a:gd name="connsiteY68" fmla="*/ 27320 h 432442"/>
                <a:gd name="connsiteX69" fmla="*/ 186773 w 502971"/>
                <a:gd name="connsiteY69" fmla="*/ 38029 h 432442"/>
                <a:gd name="connsiteX70" fmla="*/ 203819 w 502971"/>
                <a:gd name="connsiteY70" fmla="*/ 48924 h 432442"/>
                <a:gd name="connsiteX71" fmla="*/ 201705 w 502971"/>
                <a:gd name="connsiteY71" fmla="*/ 73070 h 432442"/>
                <a:gd name="connsiteX72" fmla="*/ 210170 w 502971"/>
                <a:gd name="connsiteY72" fmla="*/ 104900 h 432442"/>
                <a:gd name="connsiteX73" fmla="*/ 237323 w 502971"/>
                <a:gd name="connsiteY73" fmla="*/ 131180 h 432442"/>
                <a:gd name="connsiteX74" fmla="*/ 237321 w 502971"/>
                <a:gd name="connsiteY74" fmla="*/ 168616 h 432442"/>
                <a:gd name="connsiteX75" fmla="*/ 249030 w 502971"/>
                <a:gd name="connsiteY75" fmla="*/ 172699 h 432442"/>
                <a:gd name="connsiteX76" fmla="*/ 240241 w 502971"/>
                <a:gd name="connsiteY76" fmla="*/ 203007 h 432442"/>
                <a:gd name="connsiteX77" fmla="*/ 250517 w 502971"/>
                <a:gd name="connsiteY77" fmla="*/ 214124 h 432442"/>
                <a:gd name="connsiteX78" fmla="*/ 274654 w 502971"/>
                <a:gd name="connsiteY78" fmla="*/ 200093 h 432442"/>
                <a:gd name="connsiteX79" fmla="*/ 282271 w 502971"/>
                <a:gd name="connsiteY79" fmla="*/ 215887 h 432442"/>
                <a:gd name="connsiteX80" fmla="*/ 280367 w 502971"/>
                <a:gd name="connsiteY80" fmla="*/ 230642 h 432442"/>
                <a:gd name="connsiteX81" fmla="*/ 264602 w 502971"/>
                <a:gd name="connsiteY81" fmla="*/ 233148 h 432442"/>
                <a:gd name="connsiteX82" fmla="*/ 277802 w 502971"/>
                <a:gd name="connsiteY82" fmla="*/ 241259 h 432442"/>
                <a:gd name="connsiteX83" fmla="*/ 280666 w 502971"/>
                <a:gd name="connsiteY83" fmla="*/ 264607 h 432442"/>
                <a:gd name="connsiteX84" fmla="*/ 272633 w 502971"/>
                <a:gd name="connsiteY84" fmla="*/ 267595 h 432442"/>
                <a:gd name="connsiteX85" fmla="*/ 288414 w 502971"/>
                <a:gd name="connsiteY85" fmla="*/ 281236 h 432442"/>
                <a:gd name="connsiteX86" fmla="*/ 292449 w 502971"/>
                <a:gd name="connsiteY86" fmla="*/ 295898 h 432442"/>
                <a:gd name="connsiteX87" fmla="*/ 323186 w 502971"/>
                <a:gd name="connsiteY87" fmla="*/ 285913 h 432442"/>
                <a:gd name="connsiteX88" fmla="*/ 343079 w 502971"/>
                <a:gd name="connsiteY88" fmla="*/ 304009 h 432442"/>
                <a:gd name="connsiteX89" fmla="*/ 361124 w 502971"/>
                <a:gd name="connsiteY89" fmla="*/ 310486 h 432442"/>
                <a:gd name="connsiteX90" fmla="*/ 378096 w 502971"/>
                <a:gd name="connsiteY90" fmla="*/ 294191 h 432442"/>
                <a:gd name="connsiteX91" fmla="*/ 377210 w 502971"/>
                <a:gd name="connsiteY91" fmla="*/ 283278 h 432442"/>
                <a:gd name="connsiteX92" fmla="*/ 396425 w 502971"/>
                <a:gd name="connsiteY92" fmla="*/ 281069 h 432442"/>
                <a:gd name="connsiteX93" fmla="*/ 394710 w 502971"/>
                <a:gd name="connsiteY93" fmla="*/ 270286 h 432442"/>
                <a:gd name="connsiteX94" fmla="*/ 127712 w 502971"/>
                <a:gd name="connsiteY94" fmla="*/ 67836 h 432442"/>
                <a:gd name="connsiteX95" fmla="*/ 129108 w 502971"/>
                <a:gd name="connsiteY95" fmla="*/ 65906 h 432442"/>
                <a:gd name="connsiteX96" fmla="*/ 127883 w 502971"/>
                <a:gd name="connsiteY96" fmla="*/ 63549 h 432442"/>
                <a:gd name="connsiteX97" fmla="*/ 125658 w 502971"/>
                <a:gd name="connsiteY97" fmla="*/ 65609 h 432442"/>
                <a:gd name="connsiteX98" fmla="*/ 127712 w 502971"/>
                <a:gd name="connsiteY98" fmla="*/ 67836 h 43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502971" h="432442">
                  <a:moveTo>
                    <a:pt x="394710" y="270286"/>
                  </a:moveTo>
                  <a:lnTo>
                    <a:pt x="406741" y="287083"/>
                  </a:lnTo>
                  <a:lnTo>
                    <a:pt x="415811" y="274573"/>
                  </a:lnTo>
                  <a:lnTo>
                    <a:pt x="441153" y="284150"/>
                  </a:lnTo>
                  <a:lnTo>
                    <a:pt x="456541" y="295305"/>
                  </a:lnTo>
                  <a:lnTo>
                    <a:pt x="452315" y="306199"/>
                  </a:lnTo>
                  <a:lnTo>
                    <a:pt x="437342" y="313679"/>
                  </a:lnTo>
                  <a:lnTo>
                    <a:pt x="439623" y="322662"/>
                  </a:lnTo>
                  <a:lnTo>
                    <a:pt x="456028" y="345564"/>
                  </a:lnTo>
                  <a:lnTo>
                    <a:pt x="446732" y="351299"/>
                  </a:lnTo>
                  <a:lnTo>
                    <a:pt x="473695" y="365720"/>
                  </a:lnTo>
                  <a:lnTo>
                    <a:pt x="474581" y="376634"/>
                  </a:lnTo>
                  <a:lnTo>
                    <a:pt x="495210" y="388660"/>
                  </a:lnTo>
                  <a:lnTo>
                    <a:pt x="500902" y="403063"/>
                  </a:lnTo>
                  <a:lnTo>
                    <a:pt x="490513" y="407276"/>
                  </a:lnTo>
                  <a:lnTo>
                    <a:pt x="474729" y="431032"/>
                  </a:lnTo>
                  <a:lnTo>
                    <a:pt x="438693" y="429121"/>
                  </a:lnTo>
                  <a:lnTo>
                    <a:pt x="418330" y="418746"/>
                  </a:lnTo>
                  <a:lnTo>
                    <a:pt x="409619" y="401429"/>
                  </a:lnTo>
                  <a:lnTo>
                    <a:pt x="388630" y="419228"/>
                  </a:lnTo>
                  <a:lnTo>
                    <a:pt x="373998" y="418152"/>
                  </a:lnTo>
                  <a:lnTo>
                    <a:pt x="374640" y="406144"/>
                  </a:lnTo>
                  <a:lnTo>
                    <a:pt x="350428" y="392985"/>
                  </a:lnTo>
                  <a:lnTo>
                    <a:pt x="338700" y="372736"/>
                  </a:lnTo>
                  <a:lnTo>
                    <a:pt x="343886" y="362565"/>
                  </a:lnTo>
                  <a:lnTo>
                    <a:pt x="333912" y="347996"/>
                  </a:lnTo>
                  <a:lnTo>
                    <a:pt x="322429" y="350668"/>
                  </a:lnTo>
                  <a:lnTo>
                    <a:pt x="306911" y="338679"/>
                  </a:lnTo>
                  <a:lnTo>
                    <a:pt x="296312" y="352265"/>
                  </a:lnTo>
                  <a:lnTo>
                    <a:pt x="280059" y="346344"/>
                  </a:lnTo>
                  <a:lnTo>
                    <a:pt x="277156" y="328100"/>
                  </a:lnTo>
                  <a:lnTo>
                    <a:pt x="244647" y="316259"/>
                  </a:lnTo>
                  <a:lnTo>
                    <a:pt x="223904" y="319562"/>
                  </a:lnTo>
                  <a:lnTo>
                    <a:pt x="213609" y="329715"/>
                  </a:lnTo>
                  <a:lnTo>
                    <a:pt x="186926" y="333111"/>
                  </a:lnTo>
                  <a:lnTo>
                    <a:pt x="173935" y="315609"/>
                  </a:lnTo>
                  <a:lnTo>
                    <a:pt x="168976" y="295138"/>
                  </a:lnTo>
                  <a:lnTo>
                    <a:pt x="154062" y="276244"/>
                  </a:lnTo>
                  <a:lnTo>
                    <a:pt x="142521" y="305308"/>
                  </a:lnTo>
                  <a:lnTo>
                    <a:pt x="128492" y="297328"/>
                  </a:lnTo>
                  <a:lnTo>
                    <a:pt x="140880" y="284299"/>
                  </a:lnTo>
                  <a:lnTo>
                    <a:pt x="130906" y="269729"/>
                  </a:lnTo>
                  <a:lnTo>
                    <a:pt x="126779" y="249128"/>
                  </a:lnTo>
                  <a:lnTo>
                    <a:pt x="116068" y="240628"/>
                  </a:lnTo>
                  <a:lnTo>
                    <a:pt x="118501" y="229176"/>
                  </a:lnTo>
                  <a:lnTo>
                    <a:pt x="110186" y="214347"/>
                  </a:lnTo>
                  <a:lnTo>
                    <a:pt x="89520" y="207424"/>
                  </a:lnTo>
                  <a:lnTo>
                    <a:pt x="70552" y="195138"/>
                  </a:lnTo>
                  <a:lnTo>
                    <a:pt x="72927" y="172643"/>
                  </a:lnTo>
                  <a:lnTo>
                    <a:pt x="49074" y="167094"/>
                  </a:lnTo>
                  <a:lnTo>
                    <a:pt x="38647" y="176411"/>
                  </a:lnTo>
                  <a:lnTo>
                    <a:pt x="15661" y="165609"/>
                  </a:lnTo>
                  <a:lnTo>
                    <a:pt x="24562" y="157387"/>
                  </a:lnTo>
                  <a:lnTo>
                    <a:pt x="2784" y="132777"/>
                  </a:lnTo>
                  <a:lnTo>
                    <a:pt x="43571" y="127153"/>
                  </a:lnTo>
                  <a:lnTo>
                    <a:pt x="52944" y="111191"/>
                  </a:lnTo>
                  <a:lnTo>
                    <a:pt x="63597" y="108649"/>
                  </a:lnTo>
                  <a:lnTo>
                    <a:pt x="71311" y="92966"/>
                  </a:lnTo>
                  <a:lnTo>
                    <a:pt x="79004" y="98552"/>
                  </a:lnTo>
                  <a:lnTo>
                    <a:pt x="83926" y="86711"/>
                  </a:lnTo>
                  <a:lnTo>
                    <a:pt x="104932" y="85059"/>
                  </a:lnTo>
                  <a:lnTo>
                    <a:pt x="124564" y="64087"/>
                  </a:lnTo>
                  <a:lnTo>
                    <a:pt x="124507" y="53044"/>
                  </a:lnTo>
                  <a:lnTo>
                    <a:pt x="137124" y="46789"/>
                  </a:lnTo>
                  <a:lnTo>
                    <a:pt x="160205" y="26095"/>
                  </a:lnTo>
                  <a:lnTo>
                    <a:pt x="155435" y="17502"/>
                  </a:lnTo>
                  <a:lnTo>
                    <a:pt x="162451" y="2784"/>
                  </a:lnTo>
                  <a:lnTo>
                    <a:pt x="174858" y="5902"/>
                  </a:lnTo>
                  <a:lnTo>
                    <a:pt x="195277" y="27320"/>
                  </a:lnTo>
                  <a:lnTo>
                    <a:pt x="186773" y="38029"/>
                  </a:lnTo>
                  <a:lnTo>
                    <a:pt x="203819" y="48924"/>
                  </a:lnTo>
                  <a:lnTo>
                    <a:pt x="201705" y="73070"/>
                  </a:lnTo>
                  <a:lnTo>
                    <a:pt x="210170" y="104900"/>
                  </a:lnTo>
                  <a:lnTo>
                    <a:pt x="237323" y="131180"/>
                  </a:lnTo>
                  <a:lnTo>
                    <a:pt x="237321" y="168616"/>
                  </a:lnTo>
                  <a:lnTo>
                    <a:pt x="249030" y="172699"/>
                  </a:lnTo>
                  <a:lnTo>
                    <a:pt x="240241" y="203007"/>
                  </a:lnTo>
                  <a:lnTo>
                    <a:pt x="250517" y="214124"/>
                  </a:lnTo>
                  <a:lnTo>
                    <a:pt x="274654" y="200093"/>
                  </a:lnTo>
                  <a:lnTo>
                    <a:pt x="282271" y="215887"/>
                  </a:lnTo>
                  <a:lnTo>
                    <a:pt x="280367" y="230642"/>
                  </a:lnTo>
                  <a:lnTo>
                    <a:pt x="264602" y="233148"/>
                  </a:lnTo>
                  <a:lnTo>
                    <a:pt x="277802" y="241259"/>
                  </a:lnTo>
                  <a:lnTo>
                    <a:pt x="280666" y="264607"/>
                  </a:lnTo>
                  <a:lnTo>
                    <a:pt x="272633" y="267595"/>
                  </a:lnTo>
                  <a:lnTo>
                    <a:pt x="288414" y="281236"/>
                  </a:lnTo>
                  <a:lnTo>
                    <a:pt x="292449" y="295898"/>
                  </a:lnTo>
                  <a:lnTo>
                    <a:pt x="323186" y="285913"/>
                  </a:lnTo>
                  <a:lnTo>
                    <a:pt x="343079" y="304009"/>
                  </a:lnTo>
                  <a:lnTo>
                    <a:pt x="361124" y="310486"/>
                  </a:lnTo>
                  <a:lnTo>
                    <a:pt x="378096" y="294191"/>
                  </a:lnTo>
                  <a:lnTo>
                    <a:pt x="377210" y="283278"/>
                  </a:lnTo>
                  <a:lnTo>
                    <a:pt x="396425" y="281069"/>
                  </a:lnTo>
                  <a:lnTo>
                    <a:pt x="394710" y="270286"/>
                  </a:lnTo>
                  <a:close/>
                  <a:moveTo>
                    <a:pt x="127712" y="67836"/>
                  </a:moveTo>
                  <a:lnTo>
                    <a:pt x="129108" y="65906"/>
                  </a:lnTo>
                  <a:lnTo>
                    <a:pt x="127883" y="63549"/>
                  </a:lnTo>
                  <a:lnTo>
                    <a:pt x="125658" y="65609"/>
                  </a:lnTo>
                  <a:lnTo>
                    <a:pt x="127712" y="67836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175">
              <a:extLst>
                <a:ext uri="{FF2B5EF4-FFF2-40B4-BE49-F238E27FC236}">
                  <a16:creationId xmlns:a16="http://schemas.microsoft.com/office/drawing/2014/main" id="{26D43B7D-E08F-476A-B48E-699FAA7FE8DE}"/>
                </a:ext>
              </a:extLst>
            </p:cNvPr>
            <p:cNvSpPr/>
            <p:nvPr/>
          </p:nvSpPr>
          <p:spPr>
            <a:xfrm>
              <a:off x="3354023" y="5702387"/>
              <a:ext cx="627323" cy="408315"/>
            </a:xfrm>
            <a:custGeom>
              <a:avLst/>
              <a:gdLst>
                <a:gd name="connsiteX0" fmla="*/ 6515 w 627322"/>
                <a:gd name="connsiteY0" fmla="*/ 180123 h 408315"/>
                <a:gd name="connsiteX1" fmla="*/ 9428 w 627322"/>
                <a:gd name="connsiteY1" fmla="*/ 177116 h 408315"/>
                <a:gd name="connsiteX2" fmla="*/ 9874 w 627322"/>
                <a:gd name="connsiteY2" fmla="*/ 174481 h 408315"/>
                <a:gd name="connsiteX3" fmla="*/ 32684 w 627322"/>
                <a:gd name="connsiteY3" fmla="*/ 152153 h 408315"/>
                <a:gd name="connsiteX4" fmla="*/ 33797 w 627322"/>
                <a:gd name="connsiteY4" fmla="*/ 132405 h 408315"/>
                <a:gd name="connsiteX5" fmla="*/ 58538 w 627322"/>
                <a:gd name="connsiteY5" fmla="*/ 111470 h 408315"/>
                <a:gd name="connsiteX6" fmla="*/ 77877 w 627322"/>
                <a:gd name="connsiteY6" fmla="*/ 110097 h 408315"/>
                <a:gd name="connsiteX7" fmla="*/ 90145 w 627322"/>
                <a:gd name="connsiteY7" fmla="*/ 58816 h 408315"/>
                <a:gd name="connsiteX8" fmla="*/ 88735 w 627322"/>
                <a:gd name="connsiteY8" fmla="*/ 44581 h 408315"/>
                <a:gd name="connsiteX9" fmla="*/ 98163 w 627322"/>
                <a:gd name="connsiteY9" fmla="*/ 39681 h 408315"/>
                <a:gd name="connsiteX10" fmla="*/ 104418 w 627322"/>
                <a:gd name="connsiteY10" fmla="*/ 14866 h 408315"/>
                <a:gd name="connsiteX11" fmla="*/ 170509 w 627322"/>
                <a:gd name="connsiteY11" fmla="*/ 23924 h 408315"/>
                <a:gd name="connsiteX12" fmla="*/ 185190 w 627322"/>
                <a:gd name="connsiteY12" fmla="*/ 19878 h 408315"/>
                <a:gd name="connsiteX13" fmla="*/ 192410 w 627322"/>
                <a:gd name="connsiteY13" fmla="*/ 33185 h 408315"/>
                <a:gd name="connsiteX14" fmla="*/ 224853 w 627322"/>
                <a:gd name="connsiteY14" fmla="*/ 33983 h 408315"/>
                <a:gd name="connsiteX15" fmla="*/ 247161 w 627322"/>
                <a:gd name="connsiteY15" fmla="*/ 24480 h 408315"/>
                <a:gd name="connsiteX16" fmla="*/ 263513 w 627322"/>
                <a:gd name="connsiteY16" fmla="*/ 36340 h 408315"/>
                <a:gd name="connsiteX17" fmla="*/ 291427 w 627322"/>
                <a:gd name="connsiteY17" fmla="*/ 35301 h 408315"/>
                <a:gd name="connsiteX18" fmla="*/ 303788 w 627322"/>
                <a:gd name="connsiteY18" fmla="*/ 43541 h 408315"/>
                <a:gd name="connsiteX19" fmla="*/ 314255 w 627322"/>
                <a:gd name="connsiteY19" fmla="*/ 29120 h 408315"/>
                <a:gd name="connsiteX20" fmla="*/ 342745 w 627322"/>
                <a:gd name="connsiteY20" fmla="*/ 5030 h 408315"/>
                <a:gd name="connsiteX21" fmla="*/ 356850 w 627322"/>
                <a:gd name="connsiteY21" fmla="*/ 2784 h 408315"/>
                <a:gd name="connsiteX22" fmla="*/ 377322 w 627322"/>
                <a:gd name="connsiteY22" fmla="*/ 19080 h 408315"/>
                <a:gd name="connsiteX23" fmla="*/ 387845 w 627322"/>
                <a:gd name="connsiteY23" fmla="*/ 15702 h 408315"/>
                <a:gd name="connsiteX24" fmla="*/ 410507 w 627322"/>
                <a:gd name="connsiteY24" fmla="*/ 51225 h 408315"/>
                <a:gd name="connsiteX25" fmla="*/ 402674 w 627322"/>
                <a:gd name="connsiteY25" fmla="*/ 82239 h 408315"/>
                <a:gd name="connsiteX26" fmla="*/ 409411 w 627322"/>
                <a:gd name="connsiteY26" fmla="*/ 87120 h 408315"/>
                <a:gd name="connsiteX27" fmla="*/ 442430 w 627322"/>
                <a:gd name="connsiteY27" fmla="*/ 86117 h 408315"/>
                <a:gd name="connsiteX28" fmla="*/ 460841 w 627322"/>
                <a:gd name="connsiteY28" fmla="*/ 78935 h 408315"/>
                <a:gd name="connsiteX29" fmla="*/ 506962 w 627322"/>
                <a:gd name="connsiteY29" fmla="*/ 80104 h 408315"/>
                <a:gd name="connsiteX30" fmla="*/ 514460 w 627322"/>
                <a:gd name="connsiteY30" fmla="*/ 95063 h 408315"/>
                <a:gd name="connsiteX31" fmla="*/ 528250 w 627322"/>
                <a:gd name="connsiteY31" fmla="*/ 96270 h 408315"/>
                <a:gd name="connsiteX32" fmla="*/ 547812 w 627322"/>
                <a:gd name="connsiteY32" fmla="*/ 122921 h 408315"/>
                <a:gd name="connsiteX33" fmla="*/ 574093 w 627322"/>
                <a:gd name="connsiteY33" fmla="*/ 117038 h 408315"/>
                <a:gd name="connsiteX34" fmla="*/ 587215 w 627322"/>
                <a:gd name="connsiteY34" fmla="*/ 135375 h 408315"/>
                <a:gd name="connsiteX35" fmla="*/ 569583 w 627322"/>
                <a:gd name="connsiteY35" fmla="*/ 147532 h 408315"/>
                <a:gd name="connsiteX36" fmla="*/ 554160 w 627322"/>
                <a:gd name="connsiteY36" fmla="*/ 178898 h 408315"/>
                <a:gd name="connsiteX37" fmla="*/ 567467 w 627322"/>
                <a:gd name="connsiteY37" fmla="*/ 209095 h 408315"/>
                <a:gd name="connsiteX38" fmla="*/ 599186 w 627322"/>
                <a:gd name="connsiteY38" fmla="*/ 215962 h 408315"/>
                <a:gd name="connsiteX39" fmla="*/ 620066 w 627322"/>
                <a:gd name="connsiteY39" fmla="*/ 213475 h 408315"/>
                <a:gd name="connsiteX40" fmla="*/ 625541 w 627322"/>
                <a:gd name="connsiteY40" fmla="*/ 237268 h 408315"/>
                <a:gd name="connsiteX41" fmla="*/ 604698 w 627322"/>
                <a:gd name="connsiteY41" fmla="*/ 255902 h 408315"/>
                <a:gd name="connsiteX42" fmla="*/ 593581 w 627322"/>
                <a:gd name="connsiteY42" fmla="*/ 282331 h 408315"/>
                <a:gd name="connsiteX43" fmla="*/ 602137 w 627322"/>
                <a:gd name="connsiteY43" fmla="*/ 282666 h 408315"/>
                <a:gd name="connsiteX44" fmla="*/ 600893 w 627322"/>
                <a:gd name="connsiteY44" fmla="*/ 301578 h 408315"/>
                <a:gd name="connsiteX45" fmla="*/ 591781 w 627322"/>
                <a:gd name="connsiteY45" fmla="*/ 303026 h 408315"/>
                <a:gd name="connsiteX46" fmla="*/ 565073 w 627322"/>
                <a:gd name="connsiteY46" fmla="*/ 327692 h 408315"/>
                <a:gd name="connsiteX47" fmla="*/ 536806 w 627322"/>
                <a:gd name="connsiteY47" fmla="*/ 321121 h 408315"/>
                <a:gd name="connsiteX48" fmla="*/ 531888 w 627322"/>
                <a:gd name="connsiteY48" fmla="*/ 332963 h 408315"/>
                <a:gd name="connsiteX49" fmla="*/ 516465 w 627322"/>
                <a:gd name="connsiteY49" fmla="*/ 326912 h 408315"/>
                <a:gd name="connsiteX50" fmla="*/ 489701 w 627322"/>
                <a:gd name="connsiteY50" fmla="*/ 340516 h 408315"/>
                <a:gd name="connsiteX51" fmla="*/ 466780 w 627322"/>
                <a:gd name="connsiteY51" fmla="*/ 356923 h 408315"/>
                <a:gd name="connsiteX52" fmla="*/ 415109 w 627322"/>
                <a:gd name="connsiteY52" fmla="*/ 379603 h 408315"/>
                <a:gd name="connsiteX53" fmla="*/ 394490 w 627322"/>
                <a:gd name="connsiteY53" fmla="*/ 383742 h 408315"/>
                <a:gd name="connsiteX54" fmla="*/ 381201 w 627322"/>
                <a:gd name="connsiteY54" fmla="*/ 407109 h 408315"/>
                <a:gd name="connsiteX55" fmla="*/ 361323 w 627322"/>
                <a:gd name="connsiteY55" fmla="*/ 405179 h 408315"/>
                <a:gd name="connsiteX56" fmla="*/ 369694 w 627322"/>
                <a:gd name="connsiteY56" fmla="*/ 393634 h 408315"/>
                <a:gd name="connsiteX57" fmla="*/ 352897 w 627322"/>
                <a:gd name="connsiteY57" fmla="*/ 368245 h 408315"/>
                <a:gd name="connsiteX58" fmla="*/ 360339 w 627322"/>
                <a:gd name="connsiteY58" fmla="*/ 350891 h 408315"/>
                <a:gd name="connsiteX59" fmla="*/ 353342 w 627322"/>
                <a:gd name="connsiteY59" fmla="*/ 344358 h 408315"/>
                <a:gd name="connsiteX60" fmla="*/ 319248 w 627322"/>
                <a:gd name="connsiteY60" fmla="*/ 359986 h 408315"/>
                <a:gd name="connsiteX61" fmla="*/ 283966 w 627322"/>
                <a:gd name="connsiteY61" fmla="*/ 368152 h 408315"/>
                <a:gd name="connsiteX62" fmla="*/ 263680 w 627322"/>
                <a:gd name="connsiteY62" fmla="*/ 347569 h 408315"/>
                <a:gd name="connsiteX63" fmla="*/ 226486 w 627322"/>
                <a:gd name="connsiteY63" fmla="*/ 354343 h 408315"/>
                <a:gd name="connsiteX64" fmla="*/ 194990 w 627322"/>
                <a:gd name="connsiteY64" fmla="*/ 316816 h 408315"/>
                <a:gd name="connsiteX65" fmla="*/ 143876 w 627322"/>
                <a:gd name="connsiteY65" fmla="*/ 300297 h 408315"/>
                <a:gd name="connsiteX66" fmla="*/ 144303 w 627322"/>
                <a:gd name="connsiteY66" fmla="*/ 297680 h 408315"/>
                <a:gd name="connsiteX67" fmla="*/ 76114 w 627322"/>
                <a:gd name="connsiteY67" fmla="*/ 291519 h 408315"/>
                <a:gd name="connsiteX68" fmla="*/ 40961 w 627322"/>
                <a:gd name="connsiteY68" fmla="*/ 284355 h 408315"/>
                <a:gd name="connsiteX69" fmla="*/ 20212 w 627322"/>
                <a:gd name="connsiteY69" fmla="*/ 250223 h 408315"/>
                <a:gd name="connsiteX70" fmla="*/ 20360 w 627322"/>
                <a:gd name="connsiteY70" fmla="*/ 229789 h 408315"/>
                <a:gd name="connsiteX71" fmla="*/ 2784 w 627322"/>
                <a:gd name="connsiteY71" fmla="*/ 215590 h 408315"/>
                <a:gd name="connsiteX72" fmla="*/ 4046 w 627322"/>
                <a:gd name="connsiteY72" fmla="*/ 196678 h 408315"/>
                <a:gd name="connsiteX73" fmla="*/ 14161 w 627322"/>
                <a:gd name="connsiteY73" fmla="*/ 190813 h 408315"/>
                <a:gd name="connsiteX74" fmla="*/ 6515 w 627322"/>
                <a:gd name="connsiteY74" fmla="*/ 180123 h 40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627322" h="408315">
                  <a:moveTo>
                    <a:pt x="6515" y="180123"/>
                  </a:moveTo>
                  <a:lnTo>
                    <a:pt x="9428" y="177116"/>
                  </a:lnTo>
                  <a:lnTo>
                    <a:pt x="9874" y="174481"/>
                  </a:lnTo>
                  <a:lnTo>
                    <a:pt x="32684" y="152153"/>
                  </a:lnTo>
                  <a:lnTo>
                    <a:pt x="33797" y="132405"/>
                  </a:lnTo>
                  <a:lnTo>
                    <a:pt x="58538" y="111470"/>
                  </a:lnTo>
                  <a:lnTo>
                    <a:pt x="77877" y="110097"/>
                  </a:lnTo>
                  <a:lnTo>
                    <a:pt x="90145" y="58816"/>
                  </a:lnTo>
                  <a:lnTo>
                    <a:pt x="88735" y="44581"/>
                  </a:lnTo>
                  <a:lnTo>
                    <a:pt x="98163" y="39681"/>
                  </a:lnTo>
                  <a:lnTo>
                    <a:pt x="104418" y="14866"/>
                  </a:lnTo>
                  <a:lnTo>
                    <a:pt x="170509" y="23924"/>
                  </a:lnTo>
                  <a:lnTo>
                    <a:pt x="185190" y="19878"/>
                  </a:lnTo>
                  <a:lnTo>
                    <a:pt x="192410" y="33185"/>
                  </a:lnTo>
                  <a:lnTo>
                    <a:pt x="224853" y="33983"/>
                  </a:lnTo>
                  <a:lnTo>
                    <a:pt x="247161" y="24480"/>
                  </a:lnTo>
                  <a:lnTo>
                    <a:pt x="263513" y="36340"/>
                  </a:lnTo>
                  <a:lnTo>
                    <a:pt x="291427" y="35301"/>
                  </a:lnTo>
                  <a:lnTo>
                    <a:pt x="303788" y="43541"/>
                  </a:lnTo>
                  <a:lnTo>
                    <a:pt x="314255" y="29120"/>
                  </a:lnTo>
                  <a:lnTo>
                    <a:pt x="342745" y="5030"/>
                  </a:lnTo>
                  <a:lnTo>
                    <a:pt x="356850" y="2784"/>
                  </a:lnTo>
                  <a:lnTo>
                    <a:pt x="377322" y="19080"/>
                  </a:lnTo>
                  <a:lnTo>
                    <a:pt x="387845" y="15702"/>
                  </a:lnTo>
                  <a:lnTo>
                    <a:pt x="410507" y="51225"/>
                  </a:lnTo>
                  <a:lnTo>
                    <a:pt x="402674" y="82239"/>
                  </a:lnTo>
                  <a:lnTo>
                    <a:pt x="409411" y="87120"/>
                  </a:lnTo>
                  <a:lnTo>
                    <a:pt x="442430" y="86117"/>
                  </a:lnTo>
                  <a:lnTo>
                    <a:pt x="460841" y="78935"/>
                  </a:lnTo>
                  <a:lnTo>
                    <a:pt x="506962" y="80104"/>
                  </a:lnTo>
                  <a:lnTo>
                    <a:pt x="514460" y="95063"/>
                  </a:lnTo>
                  <a:lnTo>
                    <a:pt x="528250" y="96270"/>
                  </a:lnTo>
                  <a:lnTo>
                    <a:pt x="547812" y="122921"/>
                  </a:lnTo>
                  <a:lnTo>
                    <a:pt x="574093" y="117038"/>
                  </a:lnTo>
                  <a:lnTo>
                    <a:pt x="587215" y="135375"/>
                  </a:lnTo>
                  <a:lnTo>
                    <a:pt x="569583" y="147532"/>
                  </a:lnTo>
                  <a:lnTo>
                    <a:pt x="554160" y="178898"/>
                  </a:lnTo>
                  <a:lnTo>
                    <a:pt x="567467" y="209095"/>
                  </a:lnTo>
                  <a:lnTo>
                    <a:pt x="599186" y="215962"/>
                  </a:lnTo>
                  <a:lnTo>
                    <a:pt x="620066" y="213475"/>
                  </a:lnTo>
                  <a:lnTo>
                    <a:pt x="625541" y="237268"/>
                  </a:lnTo>
                  <a:lnTo>
                    <a:pt x="604698" y="255902"/>
                  </a:lnTo>
                  <a:lnTo>
                    <a:pt x="593581" y="282331"/>
                  </a:lnTo>
                  <a:lnTo>
                    <a:pt x="602137" y="282666"/>
                  </a:lnTo>
                  <a:lnTo>
                    <a:pt x="600893" y="301578"/>
                  </a:lnTo>
                  <a:lnTo>
                    <a:pt x="591781" y="303026"/>
                  </a:lnTo>
                  <a:lnTo>
                    <a:pt x="565073" y="327692"/>
                  </a:lnTo>
                  <a:lnTo>
                    <a:pt x="536806" y="321121"/>
                  </a:lnTo>
                  <a:lnTo>
                    <a:pt x="531888" y="332963"/>
                  </a:lnTo>
                  <a:lnTo>
                    <a:pt x="516465" y="326912"/>
                  </a:lnTo>
                  <a:lnTo>
                    <a:pt x="489701" y="340516"/>
                  </a:lnTo>
                  <a:lnTo>
                    <a:pt x="466780" y="356923"/>
                  </a:lnTo>
                  <a:lnTo>
                    <a:pt x="415109" y="379603"/>
                  </a:lnTo>
                  <a:lnTo>
                    <a:pt x="394490" y="383742"/>
                  </a:lnTo>
                  <a:lnTo>
                    <a:pt x="381201" y="407109"/>
                  </a:lnTo>
                  <a:lnTo>
                    <a:pt x="361323" y="405179"/>
                  </a:lnTo>
                  <a:lnTo>
                    <a:pt x="369694" y="393634"/>
                  </a:lnTo>
                  <a:lnTo>
                    <a:pt x="352897" y="368245"/>
                  </a:lnTo>
                  <a:lnTo>
                    <a:pt x="360339" y="350891"/>
                  </a:lnTo>
                  <a:lnTo>
                    <a:pt x="353342" y="344358"/>
                  </a:lnTo>
                  <a:lnTo>
                    <a:pt x="319248" y="359986"/>
                  </a:lnTo>
                  <a:lnTo>
                    <a:pt x="283966" y="368152"/>
                  </a:lnTo>
                  <a:lnTo>
                    <a:pt x="263680" y="347569"/>
                  </a:lnTo>
                  <a:lnTo>
                    <a:pt x="226486" y="354343"/>
                  </a:lnTo>
                  <a:lnTo>
                    <a:pt x="194990" y="316816"/>
                  </a:lnTo>
                  <a:lnTo>
                    <a:pt x="143876" y="300297"/>
                  </a:lnTo>
                  <a:lnTo>
                    <a:pt x="144303" y="297680"/>
                  </a:lnTo>
                  <a:lnTo>
                    <a:pt x="76114" y="291519"/>
                  </a:lnTo>
                  <a:lnTo>
                    <a:pt x="40961" y="284355"/>
                  </a:lnTo>
                  <a:lnTo>
                    <a:pt x="20212" y="250223"/>
                  </a:lnTo>
                  <a:lnTo>
                    <a:pt x="20360" y="229789"/>
                  </a:lnTo>
                  <a:lnTo>
                    <a:pt x="2784" y="215590"/>
                  </a:lnTo>
                  <a:lnTo>
                    <a:pt x="4046" y="196678"/>
                  </a:lnTo>
                  <a:lnTo>
                    <a:pt x="14161" y="190813"/>
                  </a:lnTo>
                  <a:lnTo>
                    <a:pt x="6515" y="180123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176">
              <a:extLst>
                <a:ext uri="{FF2B5EF4-FFF2-40B4-BE49-F238E27FC236}">
                  <a16:creationId xmlns:a16="http://schemas.microsoft.com/office/drawing/2014/main" id="{2ADBED1F-E3CB-4562-8D3B-F89BA0A6AE11}"/>
                </a:ext>
              </a:extLst>
            </p:cNvPr>
            <p:cNvSpPr/>
            <p:nvPr/>
          </p:nvSpPr>
          <p:spPr>
            <a:xfrm>
              <a:off x="2889841" y="5737391"/>
              <a:ext cx="475132" cy="373052"/>
            </a:xfrm>
            <a:custGeom>
              <a:avLst/>
              <a:gdLst>
                <a:gd name="connsiteX0" fmla="*/ 474055 w 475131"/>
                <a:gd name="connsiteY0" fmla="*/ 139495 h 373051"/>
                <a:gd name="connsiteX1" fmla="*/ 473610 w 475131"/>
                <a:gd name="connsiteY1" fmla="*/ 142112 h 373051"/>
                <a:gd name="connsiteX2" fmla="*/ 470696 w 475131"/>
                <a:gd name="connsiteY2" fmla="*/ 145119 h 373051"/>
                <a:gd name="connsiteX3" fmla="*/ 428621 w 475131"/>
                <a:gd name="connsiteY3" fmla="*/ 174778 h 373051"/>
                <a:gd name="connsiteX4" fmla="*/ 380607 w 475131"/>
                <a:gd name="connsiteY4" fmla="*/ 167112 h 373051"/>
                <a:gd name="connsiteX5" fmla="*/ 369229 w 475131"/>
                <a:gd name="connsiteY5" fmla="*/ 175724 h 373051"/>
                <a:gd name="connsiteX6" fmla="*/ 339422 w 475131"/>
                <a:gd name="connsiteY6" fmla="*/ 170249 h 373051"/>
                <a:gd name="connsiteX7" fmla="*/ 333836 w 475131"/>
                <a:gd name="connsiteY7" fmla="*/ 161786 h 373051"/>
                <a:gd name="connsiteX8" fmla="*/ 301245 w 475131"/>
                <a:gd name="connsiteY8" fmla="*/ 160171 h 373051"/>
                <a:gd name="connsiteX9" fmla="*/ 307073 w 475131"/>
                <a:gd name="connsiteY9" fmla="*/ 137992 h 373051"/>
                <a:gd name="connsiteX10" fmla="*/ 291167 w 475131"/>
                <a:gd name="connsiteY10" fmla="*/ 123515 h 373051"/>
                <a:gd name="connsiteX11" fmla="*/ 264478 w 475131"/>
                <a:gd name="connsiteY11" fmla="*/ 164328 h 373051"/>
                <a:gd name="connsiteX12" fmla="*/ 262046 w 475131"/>
                <a:gd name="connsiteY12" fmla="*/ 175761 h 373051"/>
                <a:gd name="connsiteX13" fmla="*/ 268932 w 475131"/>
                <a:gd name="connsiteY13" fmla="*/ 197625 h 373051"/>
                <a:gd name="connsiteX14" fmla="*/ 257146 w 475131"/>
                <a:gd name="connsiteY14" fmla="*/ 203749 h 373051"/>
                <a:gd name="connsiteX15" fmla="*/ 266816 w 475131"/>
                <a:gd name="connsiteY15" fmla="*/ 221771 h 373051"/>
                <a:gd name="connsiteX16" fmla="*/ 284263 w 475131"/>
                <a:gd name="connsiteY16" fmla="*/ 213901 h 373051"/>
                <a:gd name="connsiteX17" fmla="*/ 293914 w 475131"/>
                <a:gd name="connsiteY17" fmla="*/ 237027 h 373051"/>
                <a:gd name="connsiteX18" fmla="*/ 304307 w 475131"/>
                <a:gd name="connsiteY18" fmla="*/ 248980 h 373051"/>
                <a:gd name="connsiteX19" fmla="*/ 297997 w 475131"/>
                <a:gd name="connsiteY19" fmla="*/ 262732 h 373051"/>
                <a:gd name="connsiteX20" fmla="*/ 274797 w 475131"/>
                <a:gd name="connsiteY20" fmla="*/ 261322 h 373051"/>
                <a:gd name="connsiteX21" fmla="*/ 271679 w 475131"/>
                <a:gd name="connsiteY21" fmla="*/ 273738 h 373051"/>
                <a:gd name="connsiteX22" fmla="*/ 257054 w 475131"/>
                <a:gd name="connsiteY22" fmla="*/ 288809 h 373051"/>
                <a:gd name="connsiteX23" fmla="*/ 256033 w 475131"/>
                <a:gd name="connsiteY23" fmla="*/ 314496 h 373051"/>
                <a:gd name="connsiteX24" fmla="*/ 238049 w 475131"/>
                <a:gd name="connsiteY24" fmla="*/ 319043 h 373051"/>
                <a:gd name="connsiteX25" fmla="*/ 246716 w 475131"/>
                <a:gd name="connsiteY25" fmla="*/ 341481 h 373051"/>
                <a:gd name="connsiteX26" fmla="*/ 231311 w 475131"/>
                <a:gd name="connsiteY26" fmla="*/ 351578 h 373051"/>
                <a:gd name="connsiteX27" fmla="*/ 229455 w 475131"/>
                <a:gd name="connsiteY27" fmla="*/ 361248 h 373051"/>
                <a:gd name="connsiteX28" fmla="*/ 214737 w 475131"/>
                <a:gd name="connsiteY28" fmla="*/ 370379 h 373051"/>
                <a:gd name="connsiteX29" fmla="*/ 193746 w 475131"/>
                <a:gd name="connsiteY29" fmla="*/ 350761 h 373051"/>
                <a:gd name="connsiteX30" fmla="*/ 170992 w 475131"/>
                <a:gd name="connsiteY30" fmla="*/ 346734 h 373051"/>
                <a:gd name="connsiteX31" fmla="*/ 161675 w 475131"/>
                <a:gd name="connsiteY31" fmla="*/ 336303 h 373051"/>
                <a:gd name="connsiteX32" fmla="*/ 150465 w 475131"/>
                <a:gd name="connsiteY32" fmla="*/ 340646 h 373051"/>
                <a:gd name="connsiteX33" fmla="*/ 128805 w 475131"/>
                <a:gd name="connsiteY33" fmla="*/ 316871 h 373051"/>
                <a:gd name="connsiteX34" fmla="*/ 131070 w 475131"/>
                <a:gd name="connsiteY34" fmla="*/ 309707 h 373051"/>
                <a:gd name="connsiteX35" fmla="*/ 98701 w 475131"/>
                <a:gd name="connsiteY35" fmla="*/ 298701 h 373051"/>
                <a:gd name="connsiteX36" fmla="*/ 95936 w 475131"/>
                <a:gd name="connsiteY36" fmla="*/ 281274 h 373051"/>
                <a:gd name="connsiteX37" fmla="*/ 57869 w 475131"/>
                <a:gd name="connsiteY37" fmla="*/ 272031 h 373051"/>
                <a:gd name="connsiteX38" fmla="*/ 52970 w 475131"/>
                <a:gd name="connsiteY38" fmla="*/ 262602 h 373051"/>
                <a:gd name="connsiteX39" fmla="*/ 39569 w 475131"/>
                <a:gd name="connsiteY39" fmla="*/ 263883 h 373051"/>
                <a:gd name="connsiteX40" fmla="*/ 28842 w 475131"/>
                <a:gd name="connsiteY40" fmla="*/ 239217 h 373051"/>
                <a:gd name="connsiteX41" fmla="*/ 7220 w 475131"/>
                <a:gd name="connsiteY41" fmla="*/ 231608 h 373051"/>
                <a:gd name="connsiteX42" fmla="*/ 2784 w 475131"/>
                <a:gd name="connsiteY42" fmla="*/ 214458 h 373051"/>
                <a:gd name="connsiteX43" fmla="*/ 9837 w 475131"/>
                <a:gd name="connsiteY43" fmla="*/ 194618 h 373051"/>
                <a:gd name="connsiteX44" fmla="*/ 17836 w 475131"/>
                <a:gd name="connsiteY44" fmla="*/ 196752 h 373051"/>
                <a:gd name="connsiteX45" fmla="*/ 15219 w 475131"/>
                <a:gd name="connsiteY45" fmla="*/ 175056 h 373051"/>
                <a:gd name="connsiteX46" fmla="*/ 20806 w 475131"/>
                <a:gd name="connsiteY46" fmla="*/ 129956 h 373051"/>
                <a:gd name="connsiteX47" fmla="*/ 85969 w 475131"/>
                <a:gd name="connsiteY47" fmla="*/ 117038 h 373051"/>
                <a:gd name="connsiteX48" fmla="*/ 83352 w 475131"/>
                <a:gd name="connsiteY48" fmla="*/ 95342 h 373051"/>
                <a:gd name="connsiteX49" fmla="*/ 86433 w 475131"/>
                <a:gd name="connsiteY49" fmla="*/ 71882 h 373051"/>
                <a:gd name="connsiteX50" fmla="*/ 104473 w 475131"/>
                <a:gd name="connsiteY50" fmla="*/ 78378 h 373051"/>
                <a:gd name="connsiteX51" fmla="*/ 121214 w 475131"/>
                <a:gd name="connsiteY51" fmla="*/ 76559 h 373051"/>
                <a:gd name="connsiteX52" fmla="*/ 127562 w 475131"/>
                <a:gd name="connsiteY52" fmla="*/ 57684 h 373051"/>
                <a:gd name="connsiteX53" fmla="*/ 139143 w 475131"/>
                <a:gd name="connsiteY53" fmla="*/ 60950 h 373051"/>
                <a:gd name="connsiteX54" fmla="*/ 171716 w 475131"/>
                <a:gd name="connsiteY54" fmla="*/ 46418 h 373051"/>
                <a:gd name="connsiteX55" fmla="*/ 198089 w 475131"/>
                <a:gd name="connsiteY55" fmla="*/ 46474 h 373051"/>
                <a:gd name="connsiteX56" fmla="*/ 209689 w 475131"/>
                <a:gd name="connsiteY56" fmla="*/ 28471 h 373051"/>
                <a:gd name="connsiteX57" fmla="*/ 243746 w 475131"/>
                <a:gd name="connsiteY57" fmla="*/ 17947 h 373051"/>
                <a:gd name="connsiteX58" fmla="*/ 237046 w 475131"/>
                <a:gd name="connsiteY58" fmla="*/ 7962 h 373051"/>
                <a:gd name="connsiteX59" fmla="*/ 248126 w 475131"/>
                <a:gd name="connsiteY59" fmla="*/ 2784 h 373051"/>
                <a:gd name="connsiteX60" fmla="*/ 258854 w 475131"/>
                <a:gd name="connsiteY60" fmla="*/ 11284 h 373051"/>
                <a:gd name="connsiteX61" fmla="*/ 280773 w 475131"/>
                <a:gd name="connsiteY61" fmla="*/ 15460 h 373051"/>
                <a:gd name="connsiteX62" fmla="*/ 288995 w 475131"/>
                <a:gd name="connsiteY62" fmla="*/ 24350 h 373051"/>
                <a:gd name="connsiteX63" fmla="*/ 322848 w 475131"/>
                <a:gd name="connsiteY63" fmla="*/ 23218 h 373051"/>
                <a:gd name="connsiteX64" fmla="*/ 325001 w 475131"/>
                <a:gd name="connsiteY64" fmla="*/ 31385 h 373051"/>
                <a:gd name="connsiteX65" fmla="*/ 350651 w 475131"/>
                <a:gd name="connsiteY65" fmla="*/ 53656 h 373051"/>
                <a:gd name="connsiteX66" fmla="*/ 373016 w 475131"/>
                <a:gd name="connsiteY66" fmla="*/ 92632 h 373051"/>
                <a:gd name="connsiteX67" fmla="*/ 382017 w 475131"/>
                <a:gd name="connsiteY67" fmla="*/ 90349 h 373051"/>
                <a:gd name="connsiteX68" fmla="*/ 385581 w 475131"/>
                <a:gd name="connsiteY68" fmla="*/ 112732 h 373051"/>
                <a:gd name="connsiteX69" fmla="*/ 410952 w 475131"/>
                <a:gd name="connsiteY69" fmla="*/ 117205 h 373051"/>
                <a:gd name="connsiteX70" fmla="*/ 429660 w 475131"/>
                <a:gd name="connsiteY70" fmla="*/ 127840 h 373051"/>
                <a:gd name="connsiteX71" fmla="*/ 456442 w 475131"/>
                <a:gd name="connsiteY71" fmla="*/ 130382 h 373051"/>
                <a:gd name="connsiteX72" fmla="*/ 474055 w 475131"/>
                <a:gd name="connsiteY72" fmla="*/ 139495 h 373051"/>
                <a:gd name="connsiteX73" fmla="*/ 253843 w 475131"/>
                <a:gd name="connsiteY73" fmla="*/ 311433 h 373051"/>
                <a:gd name="connsiteX74" fmla="*/ 254975 w 475131"/>
                <a:gd name="connsiteY74" fmla="*/ 307851 h 373051"/>
                <a:gd name="connsiteX75" fmla="*/ 254158 w 475131"/>
                <a:gd name="connsiteY75" fmla="*/ 307981 h 373051"/>
                <a:gd name="connsiteX76" fmla="*/ 252061 w 475131"/>
                <a:gd name="connsiteY76" fmla="*/ 310876 h 373051"/>
                <a:gd name="connsiteX77" fmla="*/ 253843 w 475131"/>
                <a:gd name="connsiteY77" fmla="*/ 311433 h 373051"/>
                <a:gd name="connsiteX78" fmla="*/ 251059 w 475131"/>
                <a:gd name="connsiteY78" fmla="*/ 315275 h 373051"/>
                <a:gd name="connsiteX79" fmla="*/ 252581 w 475131"/>
                <a:gd name="connsiteY79" fmla="*/ 314180 h 373051"/>
                <a:gd name="connsiteX80" fmla="*/ 250799 w 475131"/>
                <a:gd name="connsiteY80" fmla="*/ 313623 h 373051"/>
                <a:gd name="connsiteX81" fmla="*/ 249129 w 475131"/>
                <a:gd name="connsiteY81" fmla="*/ 313883 h 373051"/>
                <a:gd name="connsiteX82" fmla="*/ 251059 w 475131"/>
                <a:gd name="connsiteY82" fmla="*/ 315275 h 37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75131" h="373051">
                  <a:moveTo>
                    <a:pt x="474055" y="139495"/>
                  </a:moveTo>
                  <a:lnTo>
                    <a:pt x="473610" y="142112"/>
                  </a:lnTo>
                  <a:lnTo>
                    <a:pt x="470696" y="145119"/>
                  </a:lnTo>
                  <a:lnTo>
                    <a:pt x="428621" y="174778"/>
                  </a:lnTo>
                  <a:lnTo>
                    <a:pt x="380607" y="167112"/>
                  </a:lnTo>
                  <a:lnTo>
                    <a:pt x="369229" y="175724"/>
                  </a:lnTo>
                  <a:lnTo>
                    <a:pt x="339422" y="170249"/>
                  </a:lnTo>
                  <a:lnTo>
                    <a:pt x="333836" y="161786"/>
                  </a:lnTo>
                  <a:lnTo>
                    <a:pt x="301245" y="160171"/>
                  </a:lnTo>
                  <a:lnTo>
                    <a:pt x="307073" y="137992"/>
                  </a:lnTo>
                  <a:lnTo>
                    <a:pt x="291167" y="123515"/>
                  </a:lnTo>
                  <a:lnTo>
                    <a:pt x="264478" y="164328"/>
                  </a:lnTo>
                  <a:lnTo>
                    <a:pt x="262046" y="175761"/>
                  </a:lnTo>
                  <a:lnTo>
                    <a:pt x="268932" y="197625"/>
                  </a:lnTo>
                  <a:lnTo>
                    <a:pt x="257146" y="203749"/>
                  </a:lnTo>
                  <a:lnTo>
                    <a:pt x="266816" y="221771"/>
                  </a:lnTo>
                  <a:lnTo>
                    <a:pt x="284263" y="213901"/>
                  </a:lnTo>
                  <a:lnTo>
                    <a:pt x="293914" y="237027"/>
                  </a:lnTo>
                  <a:lnTo>
                    <a:pt x="304307" y="248980"/>
                  </a:lnTo>
                  <a:lnTo>
                    <a:pt x="297997" y="262732"/>
                  </a:lnTo>
                  <a:lnTo>
                    <a:pt x="274797" y="261322"/>
                  </a:lnTo>
                  <a:lnTo>
                    <a:pt x="271679" y="273738"/>
                  </a:lnTo>
                  <a:lnTo>
                    <a:pt x="257054" y="288809"/>
                  </a:lnTo>
                  <a:lnTo>
                    <a:pt x="256033" y="314496"/>
                  </a:lnTo>
                  <a:lnTo>
                    <a:pt x="238049" y="319043"/>
                  </a:lnTo>
                  <a:lnTo>
                    <a:pt x="246716" y="341481"/>
                  </a:lnTo>
                  <a:lnTo>
                    <a:pt x="231311" y="351578"/>
                  </a:lnTo>
                  <a:lnTo>
                    <a:pt x="229455" y="361248"/>
                  </a:lnTo>
                  <a:lnTo>
                    <a:pt x="214737" y="370379"/>
                  </a:lnTo>
                  <a:lnTo>
                    <a:pt x="193746" y="350761"/>
                  </a:lnTo>
                  <a:lnTo>
                    <a:pt x="170992" y="346734"/>
                  </a:lnTo>
                  <a:lnTo>
                    <a:pt x="161675" y="336303"/>
                  </a:lnTo>
                  <a:lnTo>
                    <a:pt x="150465" y="340646"/>
                  </a:lnTo>
                  <a:lnTo>
                    <a:pt x="128805" y="316871"/>
                  </a:lnTo>
                  <a:lnTo>
                    <a:pt x="131070" y="309707"/>
                  </a:lnTo>
                  <a:lnTo>
                    <a:pt x="98701" y="298701"/>
                  </a:lnTo>
                  <a:lnTo>
                    <a:pt x="95936" y="281274"/>
                  </a:lnTo>
                  <a:lnTo>
                    <a:pt x="57869" y="272031"/>
                  </a:lnTo>
                  <a:lnTo>
                    <a:pt x="52970" y="262602"/>
                  </a:lnTo>
                  <a:lnTo>
                    <a:pt x="39569" y="263883"/>
                  </a:lnTo>
                  <a:lnTo>
                    <a:pt x="28842" y="239217"/>
                  </a:lnTo>
                  <a:lnTo>
                    <a:pt x="7220" y="231608"/>
                  </a:lnTo>
                  <a:lnTo>
                    <a:pt x="2784" y="214458"/>
                  </a:lnTo>
                  <a:lnTo>
                    <a:pt x="9837" y="194618"/>
                  </a:lnTo>
                  <a:lnTo>
                    <a:pt x="17836" y="196752"/>
                  </a:lnTo>
                  <a:lnTo>
                    <a:pt x="15219" y="175056"/>
                  </a:lnTo>
                  <a:lnTo>
                    <a:pt x="20806" y="129956"/>
                  </a:lnTo>
                  <a:lnTo>
                    <a:pt x="85969" y="117038"/>
                  </a:lnTo>
                  <a:lnTo>
                    <a:pt x="83352" y="95342"/>
                  </a:lnTo>
                  <a:lnTo>
                    <a:pt x="86433" y="71882"/>
                  </a:lnTo>
                  <a:lnTo>
                    <a:pt x="104473" y="78378"/>
                  </a:lnTo>
                  <a:lnTo>
                    <a:pt x="121214" y="76559"/>
                  </a:lnTo>
                  <a:lnTo>
                    <a:pt x="127562" y="57684"/>
                  </a:lnTo>
                  <a:lnTo>
                    <a:pt x="139143" y="60950"/>
                  </a:lnTo>
                  <a:lnTo>
                    <a:pt x="171716" y="46418"/>
                  </a:lnTo>
                  <a:lnTo>
                    <a:pt x="198089" y="46474"/>
                  </a:lnTo>
                  <a:lnTo>
                    <a:pt x="209689" y="28471"/>
                  </a:lnTo>
                  <a:lnTo>
                    <a:pt x="243746" y="17947"/>
                  </a:lnTo>
                  <a:lnTo>
                    <a:pt x="237046" y="7962"/>
                  </a:lnTo>
                  <a:lnTo>
                    <a:pt x="248126" y="2784"/>
                  </a:lnTo>
                  <a:lnTo>
                    <a:pt x="258854" y="11284"/>
                  </a:lnTo>
                  <a:lnTo>
                    <a:pt x="280773" y="15460"/>
                  </a:lnTo>
                  <a:lnTo>
                    <a:pt x="288995" y="24350"/>
                  </a:lnTo>
                  <a:lnTo>
                    <a:pt x="322848" y="23218"/>
                  </a:lnTo>
                  <a:lnTo>
                    <a:pt x="325001" y="31385"/>
                  </a:lnTo>
                  <a:lnTo>
                    <a:pt x="350651" y="53656"/>
                  </a:lnTo>
                  <a:lnTo>
                    <a:pt x="373016" y="92632"/>
                  </a:lnTo>
                  <a:lnTo>
                    <a:pt x="382017" y="90349"/>
                  </a:lnTo>
                  <a:lnTo>
                    <a:pt x="385581" y="112732"/>
                  </a:lnTo>
                  <a:lnTo>
                    <a:pt x="410952" y="117205"/>
                  </a:lnTo>
                  <a:lnTo>
                    <a:pt x="429660" y="127840"/>
                  </a:lnTo>
                  <a:lnTo>
                    <a:pt x="456442" y="130382"/>
                  </a:lnTo>
                  <a:lnTo>
                    <a:pt x="474055" y="139495"/>
                  </a:lnTo>
                  <a:close/>
                  <a:moveTo>
                    <a:pt x="253843" y="311433"/>
                  </a:moveTo>
                  <a:lnTo>
                    <a:pt x="254975" y="307851"/>
                  </a:lnTo>
                  <a:lnTo>
                    <a:pt x="254158" y="307981"/>
                  </a:lnTo>
                  <a:lnTo>
                    <a:pt x="252061" y="310876"/>
                  </a:lnTo>
                  <a:lnTo>
                    <a:pt x="253843" y="311433"/>
                  </a:lnTo>
                  <a:close/>
                  <a:moveTo>
                    <a:pt x="251059" y="315275"/>
                  </a:moveTo>
                  <a:lnTo>
                    <a:pt x="252581" y="314180"/>
                  </a:lnTo>
                  <a:lnTo>
                    <a:pt x="250799" y="313623"/>
                  </a:lnTo>
                  <a:lnTo>
                    <a:pt x="249129" y="313883"/>
                  </a:lnTo>
                  <a:lnTo>
                    <a:pt x="251059" y="315275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206">
              <a:extLst>
                <a:ext uri="{FF2B5EF4-FFF2-40B4-BE49-F238E27FC236}">
                  <a16:creationId xmlns:a16="http://schemas.microsoft.com/office/drawing/2014/main" id="{70057981-96A9-41E2-83F5-3979F24FD51A}"/>
                </a:ext>
              </a:extLst>
            </p:cNvPr>
            <p:cNvSpPr/>
            <p:nvPr/>
          </p:nvSpPr>
          <p:spPr>
            <a:xfrm>
              <a:off x="3548715" y="4332879"/>
              <a:ext cx="1057911" cy="2021160"/>
            </a:xfrm>
            <a:custGeom>
              <a:avLst/>
              <a:gdLst>
                <a:gd name="connsiteX0" fmla="*/ 231441 w 1057910"/>
                <a:gd name="connsiteY0" fmla="*/ 1214144 h 2021160"/>
                <a:gd name="connsiteX1" fmla="*/ 193208 w 1057910"/>
                <a:gd name="connsiteY1" fmla="*/ 1284003 h 2021160"/>
                <a:gd name="connsiteX2" fmla="*/ 199129 w 1057910"/>
                <a:gd name="connsiteY2" fmla="*/ 1305179 h 2021160"/>
                <a:gd name="connsiteX3" fmla="*/ 236007 w 1057910"/>
                <a:gd name="connsiteY3" fmla="*/ 1323127 h 2021160"/>
                <a:gd name="connsiteX4" fmla="*/ 255458 w 1057910"/>
                <a:gd name="connsiteY4" fmla="*/ 1327692 h 2021160"/>
                <a:gd name="connsiteX5" fmla="*/ 246048 w 1057910"/>
                <a:gd name="connsiteY5" fmla="*/ 1348739 h 2021160"/>
                <a:gd name="connsiteX6" fmla="*/ 193152 w 1057910"/>
                <a:gd name="connsiteY6" fmla="*/ 1385228 h 2021160"/>
                <a:gd name="connsiteX7" fmla="*/ 215814 w 1057910"/>
                <a:gd name="connsiteY7" fmla="*/ 1420733 h 2021160"/>
                <a:gd name="connsiteX8" fmla="*/ 207981 w 1057910"/>
                <a:gd name="connsiteY8" fmla="*/ 1451746 h 2021160"/>
                <a:gd name="connsiteX9" fmla="*/ 214719 w 1057910"/>
                <a:gd name="connsiteY9" fmla="*/ 1456627 h 2021160"/>
                <a:gd name="connsiteX10" fmla="*/ 247737 w 1057910"/>
                <a:gd name="connsiteY10" fmla="*/ 1455625 h 2021160"/>
                <a:gd name="connsiteX11" fmla="*/ 266148 w 1057910"/>
                <a:gd name="connsiteY11" fmla="*/ 1448442 h 2021160"/>
                <a:gd name="connsiteX12" fmla="*/ 312269 w 1057910"/>
                <a:gd name="connsiteY12" fmla="*/ 1449612 h 2021160"/>
                <a:gd name="connsiteX13" fmla="*/ 319768 w 1057910"/>
                <a:gd name="connsiteY13" fmla="*/ 1464571 h 2021160"/>
                <a:gd name="connsiteX14" fmla="*/ 333557 w 1057910"/>
                <a:gd name="connsiteY14" fmla="*/ 1465777 h 2021160"/>
                <a:gd name="connsiteX15" fmla="*/ 353120 w 1057910"/>
                <a:gd name="connsiteY15" fmla="*/ 1492429 h 2021160"/>
                <a:gd name="connsiteX16" fmla="*/ 379400 w 1057910"/>
                <a:gd name="connsiteY16" fmla="*/ 1486546 h 2021160"/>
                <a:gd name="connsiteX17" fmla="*/ 392522 w 1057910"/>
                <a:gd name="connsiteY17" fmla="*/ 1504883 h 2021160"/>
                <a:gd name="connsiteX18" fmla="*/ 374890 w 1057910"/>
                <a:gd name="connsiteY18" fmla="*/ 1517039 h 2021160"/>
                <a:gd name="connsiteX19" fmla="*/ 359467 w 1057910"/>
                <a:gd name="connsiteY19" fmla="*/ 1548405 h 2021160"/>
                <a:gd name="connsiteX20" fmla="*/ 372774 w 1057910"/>
                <a:gd name="connsiteY20" fmla="*/ 1578602 h 2021160"/>
                <a:gd name="connsiteX21" fmla="*/ 404493 w 1057910"/>
                <a:gd name="connsiteY21" fmla="*/ 1585469 h 2021160"/>
                <a:gd name="connsiteX22" fmla="*/ 425373 w 1057910"/>
                <a:gd name="connsiteY22" fmla="*/ 1583001 h 2021160"/>
                <a:gd name="connsiteX23" fmla="*/ 430848 w 1057910"/>
                <a:gd name="connsiteY23" fmla="*/ 1606776 h 2021160"/>
                <a:gd name="connsiteX24" fmla="*/ 410006 w 1057910"/>
                <a:gd name="connsiteY24" fmla="*/ 1625410 h 2021160"/>
                <a:gd name="connsiteX25" fmla="*/ 398888 w 1057910"/>
                <a:gd name="connsiteY25" fmla="*/ 1651839 h 2021160"/>
                <a:gd name="connsiteX26" fmla="*/ 407444 w 1057910"/>
                <a:gd name="connsiteY26" fmla="*/ 1652173 h 2021160"/>
                <a:gd name="connsiteX27" fmla="*/ 406201 w 1057910"/>
                <a:gd name="connsiteY27" fmla="*/ 1671086 h 2021160"/>
                <a:gd name="connsiteX28" fmla="*/ 412771 w 1057910"/>
                <a:gd name="connsiteY28" fmla="*/ 1680236 h 2021160"/>
                <a:gd name="connsiteX29" fmla="*/ 402916 w 1057910"/>
                <a:gd name="connsiteY29" fmla="*/ 1687771 h 2021160"/>
                <a:gd name="connsiteX30" fmla="*/ 408335 w 1057910"/>
                <a:gd name="connsiteY30" fmla="*/ 1700503 h 2021160"/>
                <a:gd name="connsiteX31" fmla="*/ 430922 w 1057910"/>
                <a:gd name="connsiteY31" fmla="*/ 1708818 h 2021160"/>
                <a:gd name="connsiteX32" fmla="*/ 450410 w 1057910"/>
                <a:gd name="connsiteY32" fmla="*/ 1745696 h 2021160"/>
                <a:gd name="connsiteX33" fmla="*/ 437214 w 1057910"/>
                <a:gd name="connsiteY33" fmla="*/ 1753751 h 2021160"/>
                <a:gd name="connsiteX34" fmla="*/ 419378 w 1057910"/>
                <a:gd name="connsiteY34" fmla="*/ 1775280 h 2021160"/>
                <a:gd name="connsiteX35" fmla="*/ 436991 w 1057910"/>
                <a:gd name="connsiteY35" fmla="*/ 1784393 h 2021160"/>
                <a:gd name="connsiteX36" fmla="*/ 451338 w 1057910"/>
                <a:gd name="connsiteY36" fmla="*/ 1805069 h 2021160"/>
                <a:gd name="connsiteX37" fmla="*/ 472775 w 1057910"/>
                <a:gd name="connsiteY37" fmla="*/ 1800818 h 2021160"/>
                <a:gd name="connsiteX38" fmla="*/ 495956 w 1057910"/>
                <a:gd name="connsiteY38" fmla="*/ 1786064 h 2021160"/>
                <a:gd name="connsiteX39" fmla="*/ 511695 w 1057910"/>
                <a:gd name="connsiteY39" fmla="*/ 1804827 h 2021160"/>
                <a:gd name="connsiteX40" fmla="*/ 534208 w 1057910"/>
                <a:gd name="connsiteY40" fmla="*/ 1807203 h 2021160"/>
                <a:gd name="connsiteX41" fmla="*/ 533558 w 1057910"/>
                <a:gd name="connsiteY41" fmla="*/ 1819211 h 2021160"/>
                <a:gd name="connsiteX42" fmla="*/ 550077 w 1057910"/>
                <a:gd name="connsiteY42" fmla="*/ 1826784 h 2021160"/>
                <a:gd name="connsiteX43" fmla="*/ 570028 w 1057910"/>
                <a:gd name="connsiteY43" fmla="*/ 1855923 h 2021160"/>
                <a:gd name="connsiteX44" fmla="*/ 567114 w 1057910"/>
                <a:gd name="connsiteY44" fmla="*/ 1875095 h 2021160"/>
                <a:gd name="connsiteX45" fmla="*/ 578158 w 1057910"/>
                <a:gd name="connsiteY45" fmla="*/ 1896308 h 2021160"/>
                <a:gd name="connsiteX46" fmla="*/ 592078 w 1057910"/>
                <a:gd name="connsiteY46" fmla="*/ 1898332 h 2021160"/>
                <a:gd name="connsiteX47" fmla="*/ 598907 w 1057910"/>
                <a:gd name="connsiteY47" fmla="*/ 1909152 h 2021160"/>
                <a:gd name="connsiteX48" fmla="*/ 578325 w 1057910"/>
                <a:gd name="connsiteY48" fmla="*/ 1929438 h 2021160"/>
                <a:gd name="connsiteX49" fmla="*/ 583187 w 1057910"/>
                <a:gd name="connsiteY49" fmla="*/ 1943970 h 2021160"/>
                <a:gd name="connsiteX50" fmla="*/ 554048 w 1057910"/>
                <a:gd name="connsiteY50" fmla="*/ 1980087 h 2021160"/>
                <a:gd name="connsiteX51" fmla="*/ 545734 w 1057910"/>
                <a:gd name="connsiteY51" fmla="*/ 2002656 h 2021160"/>
                <a:gd name="connsiteX52" fmla="*/ 567987 w 1057910"/>
                <a:gd name="connsiteY52" fmla="*/ 2019527 h 2021160"/>
                <a:gd name="connsiteX53" fmla="*/ 603659 w 1057910"/>
                <a:gd name="connsiteY53" fmla="*/ 2013866 h 2021160"/>
                <a:gd name="connsiteX54" fmla="*/ 627119 w 1057910"/>
                <a:gd name="connsiteY54" fmla="*/ 2016929 h 2021160"/>
                <a:gd name="connsiteX55" fmla="*/ 670419 w 1057910"/>
                <a:gd name="connsiteY55" fmla="*/ 2005793 h 2021160"/>
                <a:gd name="connsiteX56" fmla="*/ 691614 w 1057910"/>
                <a:gd name="connsiteY56" fmla="*/ 1978603 h 2021160"/>
                <a:gd name="connsiteX57" fmla="*/ 706072 w 1057910"/>
                <a:gd name="connsiteY57" fmla="*/ 1967801 h 2021160"/>
                <a:gd name="connsiteX58" fmla="*/ 706740 w 1057910"/>
                <a:gd name="connsiteY58" fmla="*/ 1950689 h 2021160"/>
                <a:gd name="connsiteX59" fmla="*/ 718730 w 1057910"/>
                <a:gd name="connsiteY59" fmla="*/ 1919007 h 2021160"/>
                <a:gd name="connsiteX60" fmla="*/ 735786 w 1057910"/>
                <a:gd name="connsiteY60" fmla="*/ 1908651 h 2021160"/>
                <a:gd name="connsiteX61" fmla="*/ 732706 w 1057910"/>
                <a:gd name="connsiteY61" fmla="*/ 1878528 h 2021160"/>
                <a:gd name="connsiteX62" fmla="*/ 762123 w 1057910"/>
                <a:gd name="connsiteY62" fmla="*/ 1860228 h 2021160"/>
                <a:gd name="connsiteX63" fmla="*/ 768841 w 1057910"/>
                <a:gd name="connsiteY63" fmla="*/ 1865110 h 2021160"/>
                <a:gd name="connsiteX64" fmla="*/ 784988 w 1057910"/>
                <a:gd name="connsiteY64" fmla="*/ 1848944 h 2021160"/>
                <a:gd name="connsiteX65" fmla="*/ 802119 w 1057910"/>
                <a:gd name="connsiteY65" fmla="*/ 1849612 h 2021160"/>
                <a:gd name="connsiteX66" fmla="*/ 805943 w 1057910"/>
                <a:gd name="connsiteY66" fmla="*/ 1836249 h 2021160"/>
                <a:gd name="connsiteX67" fmla="*/ 816948 w 1057910"/>
                <a:gd name="connsiteY67" fmla="*/ 1841316 h 2021160"/>
                <a:gd name="connsiteX68" fmla="*/ 826024 w 1057910"/>
                <a:gd name="connsiteY68" fmla="*/ 1828807 h 2021160"/>
                <a:gd name="connsiteX69" fmla="*/ 816503 w 1057910"/>
                <a:gd name="connsiteY69" fmla="*/ 1827767 h 2021160"/>
                <a:gd name="connsiteX70" fmla="*/ 789183 w 1057910"/>
                <a:gd name="connsiteY70" fmla="*/ 1805755 h 2021160"/>
                <a:gd name="connsiteX71" fmla="*/ 766726 w 1057910"/>
                <a:gd name="connsiteY71" fmla="*/ 1798276 h 2021160"/>
                <a:gd name="connsiteX72" fmla="*/ 779087 w 1057910"/>
                <a:gd name="connsiteY72" fmla="*/ 1769100 h 2021160"/>
                <a:gd name="connsiteX73" fmla="*/ 803418 w 1057910"/>
                <a:gd name="connsiteY73" fmla="*/ 1766928 h 2021160"/>
                <a:gd name="connsiteX74" fmla="*/ 801024 w 1057910"/>
                <a:gd name="connsiteY74" fmla="*/ 1735841 h 2021160"/>
                <a:gd name="connsiteX75" fmla="*/ 793322 w 1057910"/>
                <a:gd name="connsiteY75" fmla="*/ 1730254 h 2021160"/>
                <a:gd name="connsiteX76" fmla="*/ 794584 w 1057910"/>
                <a:gd name="connsiteY76" fmla="*/ 1711342 h 2021160"/>
                <a:gd name="connsiteX77" fmla="*/ 802787 w 1057910"/>
                <a:gd name="connsiteY77" fmla="*/ 1704085 h 2021160"/>
                <a:gd name="connsiteX78" fmla="*/ 786418 w 1057910"/>
                <a:gd name="connsiteY78" fmla="*/ 1676078 h 2021160"/>
                <a:gd name="connsiteX79" fmla="*/ 795902 w 1057910"/>
                <a:gd name="connsiteY79" fmla="*/ 1644805 h 2021160"/>
                <a:gd name="connsiteX80" fmla="*/ 806258 w 1057910"/>
                <a:gd name="connsiteY80" fmla="*/ 1645714 h 2021160"/>
                <a:gd name="connsiteX81" fmla="*/ 812828 w 1057910"/>
                <a:gd name="connsiteY81" fmla="*/ 1633613 h 2021160"/>
                <a:gd name="connsiteX82" fmla="*/ 809636 w 1057910"/>
                <a:gd name="connsiteY82" fmla="*/ 1618803 h 2021160"/>
                <a:gd name="connsiteX83" fmla="*/ 820976 w 1057910"/>
                <a:gd name="connsiteY83" fmla="*/ 1615314 h 2021160"/>
                <a:gd name="connsiteX84" fmla="*/ 808894 w 1057910"/>
                <a:gd name="connsiteY84" fmla="*/ 1587455 h 2021160"/>
                <a:gd name="connsiteX85" fmla="*/ 795493 w 1057910"/>
                <a:gd name="connsiteY85" fmla="*/ 1588736 h 2021160"/>
                <a:gd name="connsiteX86" fmla="*/ 798741 w 1057910"/>
                <a:gd name="connsiteY86" fmla="*/ 1577173 h 2021160"/>
                <a:gd name="connsiteX87" fmla="*/ 785508 w 1057910"/>
                <a:gd name="connsiteY87" fmla="*/ 1574166 h 2021160"/>
                <a:gd name="connsiteX88" fmla="*/ 793433 w 1057910"/>
                <a:gd name="connsiteY88" fmla="*/ 1511676 h 2021160"/>
                <a:gd name="connsiteX89" fmla="*/ 829291 w 1057910"/>
                <a:gd name="connsiteY89" fmla="*/ 1501728 h 2021160"/>
                <a:gd name="connsiteX90" fmla="*/ 838237 w 1057910"/>
                <a:gd name="connsiteY90" fmla="*/ 1504549 h 2021160"/>
                <a:gd name="connsiteX91" fmla="*/ 855869 w 1057910"/>
                <a:gd name="connsiteY91" fmla="*/ 1492392 h 2021160"/>
                <a:gd name="connsiteX92" fmla="*/ 860471 w 1057910"/>
                <a:gd name="connsiteY92" fmla="*/ 1467856 h 2021160"/>
                <a:gd name="connsiteX93" fmla="*/ 873482 w 1057910"/>
                <a:gd name="connsiteY93" fmla="*/ 1464088 h 2021160"/>
                <a:gd name="connsiteX94" fmla="*/ 903345 w 1057910"/>
                <a:gd name="connsiteY94" fmla="*/ 1496754 h 2021160"/>
                <a:gd name="connsiteX95" fmla="*/ 919343 w 1057910"/>
                <a:gd name="connsiteY95" fmla="*/ 1501004 h 2021160"/>
                <a:gd name="connsiteX96" fmla="*/ 925654 w 1057910"/>
                <a:gd name="connsiteY96" fmla="*/ 1487251 h 2021160"/>
                <a:gd name="connsiteX97" fmla="*/ 911177 w 1057910"/>
                <a:gd name="connsiteY97" fmla="*/ 1465740 h 2021160"/>
                <a:gd name="connsiteX98" fmla="*/ 922183 w 1057910"/>
                <a:gd name="connsiteY98" fmla="*/ 1454641 h 2021160"/>
                <a:gd name="connsiteX99" fmla="*/ 917413 w 1057910"/>
                <a:gd name="connsiteY99" fmla="*/ 1446030 h 2021160"/>
                <a:gd name="connsiteX100" fmla="*/ 931184 w 1057910"/>
                <a:gd name="connsiteY100" fmla="*/ 1431089 h 2021160"/>
                <a:gd name="connsiteX101" fmla="*/ 934915 w 1057910"/>
                <a:gd name="connsiteY101" fmla="*/ 1411787 h 2021160"/>
                <a:gd name="connsiteX102" fmla="*/ 949373 w 1057910"/>
                <a:gd name="connsiteY102" fmla="*/ 1400985 h 2021160"/>
                <a:gd name="connsiteX103" fmla="*/ 957112 w 1057910"/>
                <a:gd name="connsiteY103" fmla="*/ 1380198 h 2021160"/>
                <a:gd name="connsiteX104" fmla="*/ 943248 w 1057910"/>
                <a:gd name="connsiteY104" fmla="*/ 1351783 h 2021160"/>
                <a:gd name="connsiteX105" fmla="*/ 960379 w 1057910"/>
                <a:gd name="connsiteY105" fmla="*/ 1331200 h 2021160"/>
                <a:gd name="connsiteX106" fmla="*/ 994919 w 1057910"/>
                <a:gd name="connsiteY106" fmla="*/ 1350373 h 2021160"/>
                <a:gd name="connsiteX107" fmla="*/ 1006129 w 1057910"/>
                <a:gd name="connsiteY107" fmla="*/ 1346030 h 2021160"/>
                <a:gd name="connsiteX108" fmla="*/ 1037811 w 1057910"/>
                <a:gd name="connsiteY108" fmla="*/ 1358001 h 2021160"/>
                <a:gd name="connsiteX109" fmla="*/ 1049800 w 1057910"/>
                <a:gd name="connsiteY109" fmla="*/ 1342485 h 2021160"/>
                <a:gd name="connsiteX110" fmla="*/ 1042246 w 1057910"/>
                <a:gd name="connsiteY110" fmla="*/ 1337733 h 2021160"/>
                <a:gd name="connsiteX111" fmla="*/ 1056148 w 1057910"/>
                <a:gd name="connsiteY111" fmla="*/ 1307462 h 2021160"/>
                <a:gd name="connsiteX112" fmla="*/ 1038070 w 1057910"/>
                <a:gd name="connsiteY112" fmla="*/ 1284819 h 2021160"/>
                <a:gd name="connsiteX113" fmla="*/ 1031129 w 1057910"/>
                <a:gd name="connsiteY113" fmla="*/ 1289330 h 2021160"/>
                <a:gd name="connsiteX114" fmla="*/ 1017154 w 1057910"/>
                <a:gd name="connsiteY114" fmla="*/ 1276245 h 2021160"/>
                <a:gd name="connsiteX115" fmla="*/ 1020977 w 1057910"/>
                <a:gd name="connsiteY115" fmla="*/ 1262882 h 2021160"/>
                <a:gd name="connsiteX116" fmla="*/ 1034544 w 1057910"/>
                <a:gd name="connsiteY116" fmla="*/ 1257314 h 2021160"/>
                <a:gd name="connsiteX117" fmla="*/ 1025264 w 1057910"/>
                <a:gd name="connsiteY117" fmla="*/ 1225632 h 2021160"/>
                <a:gd name="connsiteX118" fmla="*/ 1001601 w 1057910"/>
                <a:gd name="connsiteY118" fmla="*/ 1231943 h 2021160"/>
                <a:gd name="connsiteX119" fmla="*/ 990019 w 1057910"/>
                <a:gd name="connsiteY119" fmla="*/ 1228695 h 2021160"/>
                <a:gd name="connsiteX120" fmla="*/ 969492 w 1057910"/>
                <a:gd name="connsiteY120" fmla="*/ 1201338 h 2021160"/>
                <a:gd name="connsiteX121" fmla="*/ 972480 w 1057910"/>
                <a:gd name="connsiteY121" fmla="*/ 1171939 h 2021160"/>
                <a:gd name="connsiteX122" fmla="*/ 965650 w 1057910"/>
                <a:gd name="connsiteY122" fmla="*/ 1161118 h 2021160"/>
                <a:gd name="connsiteX123" fmla="*/ 996348 w 1057910"/>
                <a:gd name="connsiteY123" fmla="*/ 1118821 h 2021160"/>
                <a:gd name="connsiteX124" fmla="*/ 989796 w 1057910"/>
                <a:gd name="connsiteY124" fmla="*/ 1109671 h 2021160"/>
                <a:gd name="connsiteX125" fmla="*/ 1000728 w 1057910"/>
                <a:gd name="connsiteY125" fmla="*/ 1087510 h 2021160"/>
                <a:gd name="connsiteX126" fmla="*/ 991727 w 1057910"/>
                <a:gd name="connsiteY126" fmla="*/ 1073646 h 2021160"/>
                <a:gd name="connsiteX127" fmla="*/ 995141 w 1057910"/>
                <a:gd name="connsiteY127" fmla="*/ 1041630 h 2021160"/>
                <a:gd name="connsiteX128" fmla="*/ 982168 w 1057910"/>
                <a:gd name="connsiteY128" fmla="*/ 1040294 h 2021160"/>
                <a:gd name="connsiteX129" fmla="*/ 957725 w 1057910"/>
                <a:gd name="connsiteY129" fmla="*/ 1020361 h 2021160"/>
                <a:gd name="connsiteX130" fmla="*/ 959098 w 1057910"/>
                <a:gd name="connsiteY130" fmla="*/ 1002284 h 2021160"/>
                <a:gd name="connsiteX131" fmla="*/ 967339 w 1057910"/>
                <a:gd name="connsiteY131" fmla="*/ 989923 h 2021160"/>
                <a:gd name="connsiteX132" fmla="*/ 956463 w 1057910"/>
                <a:gd name="connsiteY132" fmla="*/ 985692 h 2021160"/>
                <a:gd name="connsiteX133" fmla="*/ 953512 w 1057910"/>
                <a:gd name="connsiteY133" fmla="*/ 956404 h 2021160"/>
                <a:gd name="connsiteX134" fmla="*/ 947647 w 1057910"/>
                <a:gd name="connsiteY134" fmla="*/ 946289 h 2021160"/>
                <a:gd name="connsiteX135" fmla="*/ 977770 w 1057910"/>
                <a:gd name="connsiteY135" fmla="*/ 943190 h 2021160"/>
                <a:gd name="connsiteX136" fmla="*/ 976879 w 1057910"/>
                <a:gd name="connsiteY136" fmla="*/ 932276 h 2021160"/>
                <a:gd name="connsiteX137" fmla="*/ 995921 w 1057910"/>
                <a:gd name="connsiteY137" fmla="*/ 918190 h 2021160"/>
                <a:gd name="connsiteX138" fmla="*/ 980220 w 1057910"/>
                <a:gd name="connsiteY138" fmla="*/ 910487 h 2021160"/>
                <a:gd name="connsiteX139" fmla="*/ 926990 w 1057910"/>
                <a:gd name="connsiteY139" fmla="*/ 918097 h 2021160"/>
                <a:gd name="connsiteX140" fmla="*/ 901229 w 1057910"/>
                <a:gd name="connsiteY140" fmla="*/ 927302 h 2021160"/>
                <a:gd name="connsiteX141" fmla="*/ 892487 w 1057910"/>
                <a:gd name="connsiteY141" fmla="*/ 915090 h 2021160"/>
                <a:gd name="connsiteX142" fmla="*/ 900097 w 1057910"/>
                <a:gd name="connsiteY142" fmla="*/ 893468 h 2021160"/>
                <a:gd name="connsiteX143" fmla="*/ 888961 w 1057910"/>
                <a:gd name="connsiteY143" fmla="*/ 887584 h 2021160"/>
                <a:gd name="connsiteX144" fmla="*/ 899076 w 1057910"/>
                <a:gd name="connsiteY144" fmla="*/ 865572 h 2021160"/>
                <a:gd name="connsiteX145" fmla="*/ 895438 w 1057910"/>
                <a:gd name="connsiteY145" fmla="*/ 853397 h 2021160"/>
                <a:gd name="connsiteX146" fmla="*/ 902454 w 1057910"/>
                <a:gd name="connsiteY146" fmla="*/ 838661 h 2021160"/>
                <a:gd name="connsiteX147" fmla="*/ 882316 w 1057910"/>
                <a:gd name="connsiteY147" fmla="*/ 835060 h 2021160"/>
                <a:gd name="connsiteX148" fmla="*/ 871719 w 1057910"/>
                <a:gd name="connsiteY148" fmla="*/ 811248 h 2021160"/>
                <a:gd name="connsiteX149" fmla="*/ 857817 w 1057910"/>
                <a:gd name="connsiteY149" fmla="*/ 804102 h 2021160"/>
                <a:gd name="connsiteX150" fmla="*/ 848797 w 1057910"/>
                <a:gd name="connsiteY150" fmla="*/ 790220 h 2021160"/>
                <a:gd name="connsiteX151" fmla="*/ 851507 w 1057910"/>
                <a:gd name="connsiteY151" fmla="*/ 780439 h 2021160"/>
                <a:gd name="connsiteX152" fmla="*/ 829458 w 1057910"/>
                <a:gd name="connsiteY152" fmla="*/ 754177 h 2021160"/>
                <a:gd name="connsiteX153" fmla="*/ 811380 w 1057910"/>
                <a:gd name="connsiteY153" fmla="*/ 752803 h 2021160"/>
                <a:gd name="connsiteX154" fmla="*/ 836529 w 1057910"/>
                <a:gd name="connsiteY154" fmla="*/ 713085 h 2021160"/>
                <a:gd name="connsiteX155" fmla="*/ 812234 w 1057910"/>
                <a:gd name="connsiteY155" fmla="*/ 656571 h 2021160"/>
                <a:gd name="connsiteX156" fmla="*/ 787197 w 1057910"/>
                <a:gd name="connsiteY156" fmla="*/ 606125 h 2021160"/>
                <a:gd name="connsiteX157" fmla="*/ 750523 w 1057910"/>
                <a:gd name="connsiteY157" fmla="*/ 578787 h 2021160"/>
                <a:gd name="connsiteX158" fmla="*/ 752286 w 1057910"/>
                <a:gd name="connsiteY158" fmla="*/ 563215 h 2021160"/>
                <a:gd name="connsiteX159" fmla="*/ 763904 w 1057910"/>
                <a:gd name="connsiteY159" fmla="*/ 561359 h 2021160"/>
                <a:gd name="connsiteX160" fmla="*/ 786752 w 1057910"/>
                <a:gd name="connsiteY160" fmla="*/ 533909 h 2021160"/>
                <a:gd name="connsiteX161" fmla="*/ 787958 w 1057910"/>
                <a:gd name="connsiteY161" fmla="*/ 520119 h 2021160"/>
                <a:gd name="connsiteX162" fmla="*/ 814128 w 1057910"/>
                <a:gd name="connsiteY162" fmla="*/ 513401 h 2021160"/>
                <a:gd name="connsiteX163" fmla="*/ 810564 w 1057910"/>
                <a:gd name="connsiteY163" fmla="*/ 490999 h 2021160"/>
                <a:gd name="connsiteX164" fmla="*/ 799150 w 1057910"/>
                <a:gd name="connsiteY164" fmla="*/ 483464 h 2021160"/>
                <a:gd name="connsiteX165" fmla="*/ 800801 w 1057910"/>
                <a:gd name="connsiteY165" fmla="*/ 467038 h 2021160"/>
                <a:gd name="connsiteX166" fmla="*/ 814406 w 1057910"/>
                <a:gd name="connsiteY166" fmla="*/ 456385 h 2021160"/>
                <a:gd name="connsiteX167" fmla="*/ 803029 w 1057910"/>
                <a:gd name="connsiteY167" fmla="*/ 443727 h 2021160"/>
                <a:gd name="connsiteX168" fmla="*/ 807038 w 1057910"/>
                <a:gd name="connsiteY168" fmla="*/ 426077 h 2021160"/>
                <a:gd name="connsiteX169" fmla="*/ 822739 w 1057910"/>
                <a:gd name="connsiteY169" fmla="*/ 412528 h 2021160"/>
                <a:gd name="connsiteX170" fmla="*/ 837142 w 1057910"/>
                <a:gd name="connsiteY170" fmla="*/ 390683 h 2021160"/>
                <a:gd name="connsiteX171" fmla="*/ 838107 w 1057910"/>
                <a:gd name="connsiteY171" fmla="*/ 370119 h 2021160"/>
                <a:gd name="connsiteX172" fmla="*/ 815352 w 1057910"/>
                <a:gd name="connsiteY172" fmla="*/ 366073 h 2021160"/>
                <a:gd name="connsiteX173" fmla="*/ 786436 w 1057910"/>
                <a:gd name="connsiteY173" fmla="*/ 317948 h 2021160"/>
                <a:gd name="connsiteX174" fmla="*/ 757594 w 1057910"/>
                <a:gd name="connsiteY174" fmla="*/ 313196 h 2021160"/>
                <a:gd name="connsiteX175" fmla="*/ 753827 w 1057910"/>
                <a:gd name="connsiteY175" fmla="*/ 300186 h 2021160"/>
                <a:gd name="connsiteX176" fmla="*/ 739201 w 1057910"/>
                <a:gd name="connsiteY176" fmla="*/ 299109 h 2021160"/>
                <a:gd name="connsiteX177" fmla="*/ 728270 w 1057910"/>
                <a:gd name="connsiteY177" fmla="*/ 283835 h 2021160"/>
                <a:gd name="connsiteX178" fmla="*/ 727936 w 1057910"/>
                <a:gd name="connsiteY178" fmla="*/ 271140 h 2021160"/>
                <a:gd name="connsiteX179" fmla="*/ 705868 w 1057910"/>
                <a:gd name="connsiteY179" fmla="*/ 249982 h 2021160"/>
                <a:gd name="connsiteX180" fmla="*/ 702991 w 1057910"/>
                <a:gd name="connsiteY180" fmla="*/ 226633 h 2021160"/>
                <a:gd name="connsiteX181" fmla="*/ 690222 w 1057910"/>
                <a:gd name="connsiteY181" fmla="*/ 253322 h 2021160"/>
                <a:gd name="connsiteX182" fmla="*/ 674205 w 1057910"/>
                <a:gd name="connsiteY182" fmla="*/ 254176 h 2021160"/>
                <a:gd name="connsiteX183" fmla="*/ 681165 w 1057910"/>
                <a:gd name="connsiteY183" fmla="*/ 265813 h 2021160"/>
                <a:gd name="connsiteX184" fmla="*/ 666280 w 1057910"/>
                <a:gd name="connsiteY184" fmla="*/ 279251 h 2021160"/>
                <a:gd name="connsiteX185" fmla="*/ 658002 w 1057910"/>
                <a:gd name="connsiteY185" fmla="*/ 296715 h 2021160"/>
                <a:gd name="connsiteX186" fmla="*/ 629327 w 1057910"/>
                <a:gd name="connsiteY186" fmla="*/ 308928 h 2021160"/>
                <a:gd name="connsiteX187" fmla="*/ 633614 w 1057910"/>
                <a:gd name="connsiteY187" fmla="*/ 325260 h 2021160"/>
                <a:gd name="connsiteX188" fmla="*/ 624335 w 1057910"/>
                <a:gd name="connsiteY188" fmla="*/ 347142 h 2021160"/>
                <a:gd name="connsiteX189" fmla="*/ 622052 w 1057910"/>
                <a:gd name="connsiteY189" fmla="*/ 300724 h 2021160"/>
                <a:gd name="connsiteX190" fmla="*/ 630923 w 1057910"/>
                <a:gd name="connsiteY190" fmla="*/ 297625 h 2021160"/>
                <a:gd name="connsiteX191" fmla="*/ 630979 w 1057910"/>
                <a:gd name="connsiteY191" fmla="*/ 271251 h 2021160"/>
                <a:gd name="connsiteX192" fmla="*/ 648871 w 1057910"/>
                <a:gd name="connsiteY192" fmla="*/ 260746 h 2021160"/>
                <a:gd name="connsiteX193" fmla="*/ 653288 w 1057910"/>
                <a:gd name="connsiteY193" fmla="*/ 224332 h 2021160"/>
                <a:gd name="connsiteX194" fmla="*/ 663533 w 1057910"/>
                <a:gd name="connsiteY194" fmla="*/ 203140 h 2021160"/>
                <a:gd name="connsiteX195" fmla="*/ 659320 w 1057910"/>
                <a:gd name="connsiteY195" fmla="*/ 192754 h 2021160"/>
                <a:gd name="connsiteX196" fmla="*/ 678696 w 1057910"/>
                <a:gd name="connsiteY196" fmla="*/ 132695 h 2021160"/>
                <a:gd name="connsiteX197" fmla="*/ 686417 w 1057910"/>
                <a:gd name="connsiteY197" fmla="*/ 117010 h 2021160"/>
                <a:gd name="connsiteX198" fmla="*/ 687160 w 1057910"/>
                <a:gd name="connsiteY198" fmla="*/ 89677 h 2021160"/>
                <a:gd name="connsiteX199" fmla="*/ 677880 w 1057910"/>
                <a:gd name="connsiteY199" fmla="*/ 74144 h 2021160"/>
                <a:gd name="connsiteX200" fmla="*/ 660730 w 1057910"/>
                <a:gd name="connsiteY200" fmla="*/ 78575 h 2021160"/>
                <a:gd name="connsiteX201" fmla="*/ 645511 w 1057910"/>
                <a:gd name="connsiteY201" fmla="*/ 63137 h 2021160"/>
                <a:gd name="connsiteX202" fmla="*/ 675300 w 1057910"/>
                <a:gd name="connsiteY202" fmla="*/ 68602 h 2021160"/>
                <a:gd name="connsiteX203" fmla="*/ 667987 w 1057910"/>
                <a:gd name="connsiteY203" fmla="*/ 49356 h 2021160"/>
                <a:gd name="connsiteX204" fmla="*/ 661491 w 1057910"/>
                <a:gd name="connsiteY204" fmla="*/ 51242 h 2021160"/>
                <a:gd name="connsiteX205" fmla="*/ 636417 w 1057910"/>
                <a:gd name="connsiteY205" fmla="*/ 22062 h 2021160"/>
                <a:gd name="connsiteX206" fmla="*/ 629049 w 1057910"/>
                <a:gd name="connsiteY206" fmla="*/ 29187 h 2021160"/>
                <a:gd name="connsiteX207" fmla="*/ 613830 w 1057910"/>
                <a:gd name="connsiteY207" fmla="*/ 13749 h 2021160"/>
                <a:gd name="connsiteX208" fmla="*/ 597460 w 1057910"/>
                <a:gd name="connsiteY208" fmla="*/ 23157 h 2021160"/>
                <a:gd name="connsiteX209" fmla="*/ 587159 w 1057910"/>
                <a:gd name="connsiteY209" fmla="*/ 17144 h 2021160"/>
                <a:gd name="connsiteX210" fmla="*/ 572274 w 1057910"/>
                <a:gd name="connsiteY210" fmla="*/ 30566 h 2021160"/>
                <a:gd name="connsiteX211" fmla="*/ 558039 w 1057910"/>
                <a:gd name="connsiteY211" fmla="*/ 31980 h 2021160"/>
                <a:gd name="connsiteX212" fmla="*/ 536398 w 1057910"/>
                <a:gd name="connsiteY212" fmla="*/ 45629 h 2021160"/>
                <a:gd name="connsiteX213" fmla="*/ 541261 w 1057910"/>
                <a:gd name="connsiteY213" fmla="*/ 60163 h 2021160"/>
                <a:gd name="connsiteX214" fmla="*/ 519601 w 1057910"/>
                <a:gd name="connsiteY214" fmla="*/ 73812 h 2021160"/>
                <a:gd name="connsiteX215" fmla="*/ 522367 w 1057910"/>
                <a:gd name="connsiteY215" fmla="*/ 37656 h 2021160"/>
                <a:gd name="connsiteX216" fmla="*/ 507073 w 1057910"/>
                <a:gd name="connsiteY216" fmla="*/ 32435 h 2021160"/>
                <a:gd name="connsiteX217" fmla="*/ 494286 w 1057910"/>
                <a:gd name="connsiteY217" fmla="*/ 42973 h 2021160"/>
                <a:gd name="connsiteX218" fmla="*/ 488124 w 1057910"/>
                <a:gd name="connsiteY218" fmla="*/ 36301 h 2021160"/>
                <a:gd name="connsiteX219" fmla="*/ 464015 w 1057910"/>
                <a:gd name="connsiteY219" fmla="*/ 45236 h 2021160"/>
                <a:gd name="connsiteX220" fmla="*/ 475837 w 1057910"/>
                <a:gd name="connsiteY220" fmla="*/ 34002 h 2021160"/>
                <a:gd name="connsiteX221" fmla="*/ 487047 w 1057910"/>
                <a:gd name="connsiteY221" fmla="*/ 13510 h 2021160"/>
                <a:gd name="connsiteX222" fmla="*/ 474278 w 1057910"/>
                <a:gd name="connsiteY222" fmla="*/ 2784 h 2021160"/>
                <a:gd name="connsiteX223" fmla="*/ 467597 w 1057910"/>
                <a:gd name="connsiteY223" fmla="*/ 8948 h 2021160"/>
                <a:gd name="connsiteX224" fmla="*/ 440425 w 1057910"/>
                <a:gd name="connsiteY224" fmla="*/ 3916 h 2021160"/>
                <a:gd name="connsiteX225" fmla="*/ 430959 w 1057910"/>
                <a:gd name="connsiteY225" fmla="*/ 13927 h 2021160"/>
                <a:gd name="connsiteX226" fmla="*/ 420677 w 1057910"/>
                <a:gd name="connsiteY226" fmla="*/ 40225 h 2021160"/>
                <a:gd name="connsiteX227" fmla="*/ 412381 w 1057910"/>
                <a:gd name="connsiteY227" fmla="*/ 78963 h 2021160"/>
                <a:gd name="connsiteX228" fmla="*/ 423053 w 1057910"/>
                <a:gd name="connsiteY228" fmla="*/ 92572 h 2021160"/>
                <a:gd name="connsiteX229" fmla="*/ 422645 w 1057910"/>
                <a:gd name="connsiteY229" fmla="*/ 111347 h 2021160"/>
                <a:gd name="connsiteX230" fmla="*/ 401004 w 1057910"/>
                <a:gd name="connsiteY230" fmla="*/ 124996 h 2021160"/>
                <a:gd name="connsiteX231" fmla="*/ 388161 w 1057910"/>
                <a:gd name="connsiteY231" fmla="*/ 124488 h 2021160"/>
                <a:gd name="connsiteX232" fmla="*/ 406553 w 1057910"/>
                <a:gd name="connsiteY232" fmla="*/ 138569 h 2021160"/>
                <a:gd name="connsiteX233" fmla="*/ 415963 w 1057910"/>
                <a:gd name="connsiteY233" fmla="*/ 154931 h 2021160"/>
                <a:gd name="connsiteX234" fmla="*/ 392949 w 1057910"/>
                <a:gd name="connsiteY234" fmla="*/ 149239 h 2021160"/>
                <a:gd name="connsiteX235" fmla="*/ 380978 w 1057910"/>
                <a:gd name="connsiteY235" fmla="*/ 159646 h 2021160"/>
                <a:gd name="connsiteX236" fmla="*/ 382704 w 1057910"/>
                <a:gd name="connsiteY236" fmla="*/ 170429 h 2021160"/>
                <a:gd name="connsiteX237" fmla="*/ 367670 w 1057910"/>
                <a:gd name="connsiteY237" fmla="*/ 166865 h 2021160"/>
                <a:gd name="connsiteX238" fmla="*/ 348220 w 1057910"/>
                <a:gd name="connsiteY238" fmla="*/ 183569 h 2021160"/>
                <a:gd name="connsiteX239" fmla="*/ 343208 w 1057910"/>
                <a:gd name="connsiteY239" fmla="*/ 168205 h 2021160"/>
                <a:gd name="connsiteX240" fmla="*/ 358446 w 1057910"/>
                <a:gd name="connsiteY240" fmla="*/ 162380 h 2021160"/>
                <a:gd name="connsiteX241" fmla="*/ 357036 w 1057910"/>
                <a:gd name="connsiteY241" fmla="*/ 148148 h 2021160"/>
                <a:gd name="connsiteX242" fmla="*/ 338049 w 1057910"/>
                <a:gd name="connsiteY242" fmla="*/ 157122 h 2021160"/>
                <a:gd name="connsiteX243" fmla="*/ 322440 w 1057910"/>
                <a:gd name="connsiteY243" fmla="*/ 176613 h 2021160"/>
                <a:gd name="connsiteX244" fmla="*/ 290870 w 1057910"/>
                <a:gd name="connsiteY244" fmla="*/ 186737 h 2021160"/>
                <a:gd name="connsiteX245" fmla="*/ 305124 w 1057910"/>
                <a:gd name="connsiteY245" fmla="*/ 201479 h 2021160"/>
                <a:gd name="connsiteX246" fmla="*/ 239255 w 1057910"/>
                <a:gd name="connsiteY246" fmla="*/ 236619 h 2021160"/>
                <a:gd name="connsiteX247" fmla="*/ 224945 w 1057910"/>
                <a:gd name="connsiteY247" fmla="*/ 248256 h 2021160"/>
                <a:gd name="connsiteX248" fmla="*/ 189626 w 1057910"/>
                <a:gd name="connsiteY248" fmla="*/ 298942 h 2021160"/>
                <a:gd name="connsiteX249" fmla="*/ 186378 w 1057910"/>
                <a:gd name="connsiteY249" fmla="*/ 289254 h 2021160"/>
                <a:gd name="connsiteX250" fmla="*/ 173033 w 1057910"/>
                <a:gd name="connsiteY250" fmla="*/ 301578 h 2021160"/>
                <a:gd name="connsiteX251" fmla="*/ 189051 w 1057910"/>
                <a:gd name="connsiteY251" fmla="*/ 300724 h 2021160"/>
                <a:gd name="connsiteX252" fmla="*/ 183297 w 1057910"/>
                <a:gd name="connsiteY252" fmla="*/ 312695 h 2021160"/>
                <a:gd name="connsiteX253" fmla="*/ 171901 w 1057910"/>
                <a:gd name="connsiteY253" fmla="*/ 305160 h 2021160"/>
                <a:gd name="connsiteX254" fmla="*/ 162269 w 1057910"/>
                <a:gd name="connsiteY254" fmla="*/ 319451 h 2021160"/>
                <a:gd name="connsiteX255" fmla="*/ 179084 w 1057910"/>
                <a:gd name="connsiteY255" fmla="*/ 323590 h 2021160"/>
                <a:gd name="connsiteX256" fmla="*/ 186731 w 1057910"/>
                <a:gd name="connsiteY256" fmla="*/ 334262 h 2021160"/>
                <a:gd name="connsiteX257" fmla="*/ 170843 w 1057910"/>
                <a:gd name="connsiteY257" fmla="*/ 335951 h 2021160"/>
                <a:gd name="connsiteX258" fmla="*/ 167206 w 1057910"/>
                <a:gd name="connsiteY258" fmla="*/ 323775 h 2021160"/>
                <a:gd name="connsiteX259" fmla="*/ 151263 w 1057910"/>
                <a:gd name="connsiteY259" fmla="*/ 330550 h 2021160"/>
                <a:gd name="connsiteX260" fmla="*/ 167818 w 1057910"/>
                <a:gd name="connsiteY260" fmla="*/ 333018 h 2021160"/>
                <a:gd name="connsiteX261" fmla="*/ 171029 w 1057910"/>
                <a:gd name="connsiteY261" fmla="*/ 347829 h 2021160"/>
                <a:gd name="connsiteX262" fmla="*/ 188809 w 1057910"/>
                <a:gd name="connsiteY262" fmla="*/ 352654 h 2021160"/>
                <a:gd name="connsiteX263" fmla="*/ 201189 w 1057910"/>
                <a:gd name="connsiteY263" fmla="*/ 377042 h 2021160"/>
                <a:gd name="connsiteX264" fmla="*/ 209188 w 1057910"/>
                <a:gd name="connsiteY264" fmla="*/ 379176 h 2021160"/>
                <a:gd name="connsiteX265" fmla="*/ 200910 w 1057910"/>
                <a:gd name="connsiteY265" fmla="*/ 396641 h 2021160"/>
                <a:gd name="connsiteX266" fmla="*/ 190572 w 1057910"/>
                <a:gd name="connsiteY266" fmla="*/ 374481 h 2021160"/>
                <a:gd name="connsiteX267" fmla="*/ 164830 w 1057910"/>
                <a:gd name="connsiteY267" fmla="*/ 383686 h 2021160"/>
                <a:gd name="connsiteX268" fmla="*/ 161860 w 1057910"/>
                <a:gd name="connsiteY268" fmla="*/ 391797 h 2021160"/>
                <a:gd name="connsiteX269" fmla="*/ 146957 w 1057910"/>
                <a:gd name="connsiteY269" fmla="*/ 389069 h 2021160"/>
                <a:gd name="connsiteX270" fmla="*/ 118839 w 1057910"/>
                <a:gd name="connsiteY270" fmla="*/ 399499 h 2021160"/>
                <a:gd name="connsiteX271" fmla="*/ 84039 w 1057910"/>
                <a:gd name="connsiteY271" fmla="*/ 399926 h 2021160"/>
                <a:gd name="connsiteX272" fmla="*/ 58853 w 1057910"/>
                <a:gd name="connsiteY272" fmla="*/ 407332 h 2021160"/>
                <a:gd name="connsiteX273" fmla="*/ 45861 w 1057910"/>
                <a:gd name="connsiteY273" fmla="*/ 427265 h 2021160"/>
                <a:gd name="connsiteX274" fmla="*/ 59169 w 1057910"/>
                <a:gd name="connsiteY274" fmla="*/ 457461 h 2021160"/>
                <a:gd name="connsiteX275" fmla="*/ 55345 w 1057910"/>
                <a:gd name="connsiteY275" fmla="*/ 486990 h 2021160"/>
                <a:gd name="connsiteX276" fmla="*/ 67948 w 1057910"/>
                <a:gd name="connsiteY276" fmla="*/ 501986 h 2021160"/>
                <a:gd name="connsiteX277" fmla="*/ 91667 w 1057910"/>
                <a:gd name="connsiteY277" fmla="*/ 506719 h 2021160"/>
                <a:gd name="connsiteX278" fmla="*/ 91556 w 1057910"/>
                <a:gd name="connsiteY278" fmla="*/ 522049 h 2021160"/>
                <a:gd name="connsiteX279" fmla="*/ 107462 w 1057910"/>
                <a:gd name="connsiteY279" fmla="*/ 536526 h 2021160"/>
                <a:gd name="connsiteX280" fmla="*/ 121808 w 1057910"/>
                <a:gd name="connsiteY280" fmla="*/ 541055 h 2021160"/>
                <a:gd name="connsiteX281" fmla="*/ 128861 w 1057910"/>
                <a:gd name="connsiteY281" fmla="*/ 558631 h 2021160"/>
                <a:gd name="connsiteX282" fmla="*/ 118133 w 1057910"/>
                <a:gd name="connsiteY282" fmla="*/ 587547 h 2021160"/>
                <a:gd name="connsiteX283" fmla="*/ 136897 w 1057910"/>
                <a:gd name="connsiteY283" fmla="*/ 646641 h 2021160"/>
                <a:gd name="connsiteX284" fmla="*/ 130179 w 1057910"/>
                <a:gd name="connsiteY284" fmla="*/ 657926 h 2021160"/>
                <a:gd name="connsiteX285" fmla="*/ 123850 w 1057910"/>
                <a:gd name="connsiteY285" fmla="*/ 664978 h 2021160"/>
                <a:gd name="connsiteX286" fmla="*/ 140554 w 1057910"/>
                <a:gd name="connsiteY286" fmla="*/ 689106 h 2021160"/>
                <a:gd name="connsiteX287" fmla="*/ 160969 w 1057910"/>
                <a:gd name="connsiteY287" fmla="*/ 689106 h 2021160"/>
                <a:gd name="connsiteX288" fmla="*/ 181385 w 1057910"/>
                <a:gd name="connsiteY288" fmla="*/ 682610 h 2021160"/>
                <a:gd name="connsiteX289" fmla="*/ 213865 w 1057910"/>
                <a:gd name="connsiteY289" fmla="*/ 718802 h 2021160"/>
                <a:gd name="connsiteX290" fmla="*/ 207536 w 1057910"/>
                <a:gd name="connsiteY290" fmla="*/ 764273 h 2021160"/>
                <a:gd name="connsiteX291" fmla="*/ 211397 w 1057910"/>
                <a:gd name="connsiteY291" fmla="*/ 804102 h 2021160"/>
                <a:gd name="connsiteX292" fmla="*/ 201189 w 1057910"/>
                <a:gd name="connsiteY292" fmla="*/ 766129 h 2021160"/>
                <a:gd name="connsiteX293" fmla="*/ 207536 w 1057910"/>
                <a:gd name="connsiteY293" fmla="*/ 722514 h 2021160"/>
                <a:gd name="connsiteX294" fmla="*/ 193672 w 1057910"/>
                <a:gd name="connsiteY294" fmla="*/ 707981 h 2021160"/>
                <a:gd name="connsiteX295" fmla="*/ 179084 w 1057910"/>
                <a:gd name="connsiteY295" fmla="*/ 689106 h 2021160"/>
                <a:gd name="connsiteX296" fmla="*/ 164830 w 1057910"/>
                <a:gd name="connsiteY296" fmla="*/ 694841 h 2021160"/>
                <a:gd name="connsiteX297" fmla="*/ 136897 w 1057910"/>
                <a:gd name="connsiteY297" fmla="*/ 697458 h 2021160"/>
                <a:gd name="connsiteX298" fmla="*/ 122309 w 1057910"/>
                <a:gd name="connsiteY298" fmla="*/ 677877 h 2021160"/>
                <a:gd name="connsiteX299" fmla="*/ 108185 w 1057910"/>
                <a:gd name="connsiteY299" fmla="*/ 663976 h 2021160"/>
                <a:gd name="connsiteX300" fmla="*/ 124592 w 1057910"/>
                <a:gd name="connsiteY300" fmla="*/ 649462 h 2021160"/>
                <a:gd name="connsiteX301" fmla="*/ 122718 w 1057910"/>
                <a:gd name="connsiteY301" fmla="*/ 621697 h 2021160"/>
                <a:gd name="connsiteX302" fmla="*/ 111786 w 1057910"/>
                <a:gd name="connsiteY302" fmla="*/ 606422 h 2021160"/>
                <a:gd name="connsiteX303" fmla="*/ 101578 w 1057910"/>
                <a:gd name="connsiteY303" fmla="*/ 622495 h 2021160"/>
                <a:gd name="connsiteX304" fmla="*/ 101467 w 1057910"/>
                <a:gd name="connsiteY304" fmla="*/ 637825 h 2021160"/>
                <a:gd name="connsiteX305" fmla="*/ 91778 w 1057910"/>
                <a:gd name="connsiteY305" fmla="*/ 641073 h 2021160"/>
                <a:gd name="connsiteX306" fmla="*/ 100056 w 1057910"/>
                <a:gd name="connsiteY306" fmla="*/ 623590 h 2021160"/>
                <a:gd name="connsiteX307" fmla="*/ 93838 w 1057910"/>
                <a:gd name="connsiteY307" fmla="*/ 605884 h 2021160"/>
                <a:gd name="connsiteX308" fmla="*/ 96474 w 1057910"/>
                <a:gd name="connsiteY308" fmla="*/ 585042 h 2021160"/>
                <a:gd name="connsiteX309" fmla="*/ 115201 w 1057910"/>
                <a:gd name="connsiteY309" fmla="*/ 574407 h 2021160"/>
                <a:gd name="connsiteX310" fmla="*/ 121159 w 1057910"/>
                <a:gd name="connsiteY310" fmla="*/ 553063 h 2021160"/>
                <a:gd name="connsiteX311" fmla="*/ 109744 w 1057910"/>
                <a:gd name="connsiteY311" fmla="*/ 545509 h 2021160"/>
                <a:gd name="connsiteX312" fmla="*/ 81106 w 1057910"/>
                <a:gd name="connsiteY312" fmla="*/ 552617 h 2021160"/>
                <a:gd name="connsiteX313" fmla="*/ 24053 w 1057910"/>
                <a:gd name="connsiteY313" fmla="*/ 498775 h 2021160"/>
                <a:gd name="connsiteX314" fmla="*/ 2784 w 1057910"/>
                <a:gd name="connsiteY314" fmla="*/ 498757 h 2021160"/>
                <a:gd name="connsiteX315" fmla="*/ 6125 w 1057910"/>
                <a:gd name="connsiteY315" fmla="*/ 514384 h 2021160"/>
                <a:gd name="connsiteX316" fmla="*/ 30754 w 1057910"/>
                <a:gd name="connsiteY316" fmla="*/ 524908 h 2021160"/>
                <a:gd name="connsiteX317" fmla="*/ 46418 w 1057910"/>
                <a:gd name="connsiteY317" fmla="*/ 537732 h 2021160"/>
                <a:gd name="connsiteX318" fmla="*/ 40628 w 1057910"/>
                <a:gd name="connsiteY318" fmla="*/ 554808 h 2021160"/>
                <a:gd name="connsiteX319" fmla="*/ 21678 w 1057910"/>
                <a:gd name="connsiteY319" fmla="*/ 558668 h 2021160"/>
                <a:gd name="connsiteX320" fmla="*/ 15609 w 1057910"/>
                <a:gd name="connsiteY320" fmla="*/ 574091 h 2021160"/>
                <a:gd name="connsiteX321" fmla="*/ 36173 w 1057910"/>
                <a:gd name="connsiteY321" fmla="*/ 596344 h 2021160"/>
                <a:gd name="connsiteX322" fmla="*/ 51021 w 1057910"/>
                <a:gd name="connsiteY322" fmla="*/ 604177 h 2021160"/>
                <a:gd name="connsiteX323" fmla="*/ 56051 w 1057910"/>
                <a:gd name="connsiteY323" fmla="*/ 635691 h 2021160"/>
                <a:gd name="connsiteX324" fmla="*/ 5048 w 1057910"/>
                <a:gd name="connsiteY324" fmla="*/ 694841 h 2021160"/>
                <a:gd name="connsiteX325" fmla="*/ 7999 w 1057910"/>
                <a:gd name="connsiteY325" fmla="*/ 707981 h 2021160"/>
                <a:gd name="connsiteX326" fmla="*/ 21362 w 1057910"/>
                <a:gd name="connsiteY326" fmla="*/ 711805 h 2021160"/>
                <a:gd name="connsiteX327" fmla="*/ 31125 w 1057910"/>
                <a:gd name="connsiteY327" fmla="*/ 735765 h 2021160"/>
                <a:gd name="connsiteX328" fmla="*/ 55420 w 1057910"/>
                <a:gd name="connsiteY328" fmla="*/ 738698 h 2021160"/>
                <a:gd name="connsiteX329" fmla="*/ 61711 w 1057910"/>
                <a:gd name="connsiteY329" fmla="*/ 746196 h 2021160"/>
                <a:gd name="connsiteX330" fmla="*/ 88994 w 1057910"/>
                <a:gd name="connsiteY330" fmla="*/ 735914 h 2021160"/>
                <a:gd name="connsiteX331" fmla="*/ 88493 w 1057910"/>
                <a:gd name="connsiteY331" fmla="*/ 748739 h 2021160"/>
                <a:gd name="connsiteX332" fmla="*/ 103954 w 1057910"/>
                <a:gd name="connsiteY332" fmla="*/ 749685 h 2021160"/>
                <a:gd name="connsiteX333" fmla="*/ 109132 w 1057910"/>
                <a:gd name="connsiteY333" fmla="*/ 776931 h 2021160"/>
                <a:gd name="connsiteX334" fmla="*/ 121901 w 1057910"/>
                <a:gd name="connsiteY334" fmla="*/ 787659 h 2021160"/>
                <a:gd name="connsiteX335" fmla="*/ 106106 w 1057910"/>
                <a:gd name="connsiteY335" fmla="*/ 795268 h 2021160"/>
                <a:gd name="connsiteX336" fmla="*/ 113104 w 1057910"/>
                <a:gd name="connsiteY336" fmla="*/ 817967 h 2021160"/>
                <a:gd name="connsiteX337" fmla="*/ 105049 w 1057910"/>
                <a:gd name="connsiteY337" fmla="*/ 826059 h 2021160"/>
                <a:gd name="connsiteX338" fmla="*/ 103657 w 1057910"/>
                <a:gd name="connsiteY338" fmla="*/ 844136 h 2021160"/>
                <a:gd name="connsiteX339" fmla="*/ 85282 w 1057910"/>
                <a:gd name="connsiteY339" fmla="*/ 846196 h 2021160"/>
                <a:gd name="connsiteX340" fmla="*/ 106181 w 1057910"/>
                <a:gd name="connsiteY340" fmla="*/ 876040 h 2021160"/>
                <a:gd name="connsiteX341" fmla="*/ 97866 w 1057910"/>
                <a:gd name="connsiteY341" fmla="*/ 898628 h 2021160"/>
                <a:gd name="connsiteX342" fmla="*/ 131886 w 1057910"/>
                <a:gd name="connsiteY342" fmla="*/ 930643 h 2021160"/>
                <a:gd name="connsiteX343" fmla="*/ 136229 w 1057910"/>
                <a:gd name="connsiteY343" fmla="*/ 941853 h 2021160"/>
                <a:gd name="connsiteX344" fmla="*/ 130309 w 1057910"/>
                <a:gd name="connsiteY344" fmla="*/ 958093 h 2021160"/>
                <a:gd name="connsiteX345" fmla="*/ 145602 w 1057910"/>
                <a:gd name="connsiteY345" fmla="*/ 979474 h 2021160"/>
                <a:gd name="connsiteX346" fmla="*/ 138494 w 1057910"/>
                <a:gd name="connsiteY346" fmla="*/ 988253 h 2021160"/>
                <a:gd name="connsiteX347" fmla="*/ 148831 w 1057910"/>
                <a:gd name="connsiteY347" fmla="*/ 1010432 h 2021160"/>
                <a:gd name="connsiteX348" fmla="*/ 163772 w 1057910"/>
                <a:gd name="connsiteY348" fmla="*/ 1008056 h 2021160"/>
                <a:gd name="connsiteX349" fmla="*/ 173516 w 1057910"/>
                <a:gd name="connsiteY349" fmla="*/ 1015851 h 2021160"/>
                <a:gd name="connsiteX350" fmla="*/ 183947 w 1057910"/>
                <a:gd name="connsiteY350" fmla="*/ 1043969 h 2021160"/>
                <a:gd name="connsiteX351" fmla="*/ 175855 w 1057910"/>
                <a:gd name="connsiteY351" fmla="*/ 1073312 h 2021160"/>
                <a:gd name="connsiteX352" fmla="*/ 193672 w 1057910"/>
                <a:gd name="connsiteY352" fmla="*/ 1073034 h 2021160"/>
                <a:gd name="connsiteX353" fmla="*/ 207536 w 1057910"/>
                <a:gd name="connsiteY353" fmla="*/ 1085283 h 2021160"/>
                <a:gd name="connsiteX354" fmla="*/ 221809 w 1057910"/>
                <a:gd name="connsiteY354" fmla="*/ 1078769 h 2021160"/>
                <a:gd name="connsiteX355" fmla="*/ 231033 w 1057910"/>
                <a:gd name="connsiteY355" fmla="*/ 1083242 h 2021160"/>
                <a:gd name="connsiteX356" fmla="*/ 231571 w 1057910"/>
                <a:gd name="connsiteY356" fmla="*/ 1102711 h 2021160"/>
                <a:gd name="connsiteX357" fmla="*/ 239329 w 1057910"/>
                <a:gd name="connsiteY357" fmla="*/ 1119341 h 2021160"/>
                <a:gd name="connsiteX358" fmla="*/ 238642 w 1057910"/>
                <a:gd name="connsiteY358" fmla="*/ 1136471 h 2021160"/>
                <a:gd name="connsiteX359" fmla="*/ 224203 w 1057910"/>
                <a:gd name="connsiteY359" fmla="*/ 1147273 h 2021160"/>
                <a:gd name="connsiteX360" fmla="*/ 211397 w 1057910"/>
                <a:gd name="connsiteY360" fmla="*/ 1179066 h 2021160"/>
                <a:gd name="connsiteX361" fmla="*/ 231757 w 1057910"/>
                <a:gd name="connsiteY361" fmla="*/ 1189441 h 2021160"/>
                <a:gd name="connsiteX362" fmla="*/ 231441 w 1057910"/>
                <a:gd name="connsiteY362" fmla="*/ 1214144 h 202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</a:cxnLst>
              <a:rect l="l" t="t" r="r" b="b"/>
              <a:pathLst>
                <a:path w="1057910" h="2021160">
                  <a:moveTo>
                    <a:pt x="231441" y="1214144"/>
                  </a:moveTo>
                  <a:lnTo>
                    <a:pt x="193208" y="1284003"/>
                  </a:lnTo>
                  <a:lnTo>
                    <a:pt x="199129" y="1305179"/>
                  </a:lnTo>
                  <a:lnTo>
                    <a:pt x="236007" y="1323127"/>
                  </a:lnTo>
                  <a:lnTo>
                    <a:pt x="255458" y="1327692"/>
                  </a:lnTo>
                  <a:lnTo>
                    <a:pt x="246048" y="1348739"/>
                  </a:lnTo>
                  <a:lnTo>
                    <a:pt x="193152" y="1385228"/>
                  </a:lnTo>
                  <a:lnTo>
                    <a:pt x="215814" y="1420733"/>
                  </a:lnTo>
                  <a:lnTo>
                    <a:pt x="207981" y="1451746"/>
                  </a:lnTo>
                  <a:lnTo>
                    <a:pt x="214719" y="1456627"/>
                  </a:lnTo>
                  <a:lnTo>
                    <a:pt x="247737" y="1455625"/>
                  </a:lnTo>
                  <a:lnTo>
                    <a:pt x="266148" y="1448442"/>
                  </a:lnTo>
                  <a:lnTo>
                    <a:pt x="312269" y="1449612"/>
                  </a:lnTo>
                  <a:lnTo>
                    <a:pt x="319768" y="1464571"/>
                  </a:lnTo>
                  <a:lnTo>
                    <a:pt x="333557" y="1465777"/>
                  </a:lnTo>
                  <a:lnTo>
                    <a:pt x="353120" y="1492429"/>
                  </a:lnTo>
                  <a:lnTo>
                    <a:pt x="379400" y="1486546"/>
                  </a:lnTo>
                  <a:lnTo>
                    <a:pt x="392522" y="1504883"/>
                  </a:lnTo>
                  <a:lnTo>
                    <a:pt x="374890" y="1517039"/>
                  </a:lnTo>
                  <a:lnTo>
                    <a:pt x="359467" y="1548405"/>
                  </a:lnTo>
                  <a:lnTo>
                    <a:pt x="372774" y="1578602"/>
                  </a:lnTo>
                  <a:lnTo>
                    <a:pt x="404493" y="1585469"/>
                  </a:lnTo>
                  <a:lnTo>
                    <a:pt x="425373" y="1583001"/>
                  </a:lnTo>
                  <a:lnTo>
                    <a:pt x="430848" y="1606776"/>
                  </a:lnTo>
                  <a:lnTo>
                    <a:pt x="410006" y="1625410"/>
                  </a:lnTo>
                  <a:lnTo>
                    <a:pt x="398888" y="1651839"/>
                  </a:lnTo>
                  <a:lnTo>
                    <a:pt x="407444" y="1652173"/>
                  </a:lnTo>
                  <a:lnTo>
                    <a:pt x="406201" y="1671086"/>
                  </a:lnTo>
                  <a:lnTo>
                    <a:pt x="412771" y="1680236"/>
                  </a:lnTo>
                  <a:lnTo>
                    <a:pt x="402916" y="1687771"/>
                  </a:lnTo>
                  <a:lnTo>
                    <a:pt x="408335" y="1700503"/>
                  </a:lnTo>
                  <a:lnTo>
                    <a:pt x="430922" y="1708818"/>
                  </a:lnTo>
                  <a:lnTo>
                    <a:pt x="450410" y="1745696"/>
                  </a:lnTo>
                  <a:lnTo>
                    <a:pt x="437214" y="1753751"/>
                  </a:lnTo>
                  <a:lnTo>
                    <a:pt x="419378" y="1775280"/>
                  </a:lnTo>
                  <a:lnTo>
                    <a:pt x="436991" y="1784393"/>
                  </a:lnTo>
                  <a:lnTo>
                    <a:pt x="451338" y="1805069"/>
                  </a:lnTo>
                  <a:lnTo>
                    <a:pt x="472775" y="1800818"/>
                  </a:lnTo>
                  <a:lnTo>
                    <a:pt x="495956" y="1786064"/>
                  </a:lnTo>
                  <a:lnTo>
                    <a:pt x="511695" y="1804827"/>
                  </a:lnTo>
                  <a:lnTo>
                    <a:pt x="534208" y="1807203"/>
                  </a:lnTo>
                  <a:lnTo>
                    <a:pt x="533558" y="1819211"/>
                  </a:lnTo>
                  <a:lnTo>
                    <a:pt x="550077" y="1826784"/>
                  </a:lnTo>
                  <a:lnTo>
                    <a:pt x="570028" y="1855923"/>
                  </a:lnTo>
                  <a:lnTo>
                    <a:pt x="567114" y="1875095"/>
                  </a:lnTo>
                  <a:lnTo>
                    <a:pt x="578158" y="1896308"/>
                  </a:lnTo>
                  <a:lnTo>
                    <a:pt x="592078" y="1898332"/>
                  </a:lnTo>
                  <a:lnTo>
                    <a:pt x="598907" y="1909152"/>
                  </a:lnTo>
                  <a:lnTo>
                    <a:pt x="578325" y="1929438"/>
                  </a:lnTo>
                  <a:lnTo>
                    <a:pt x="583187" y="1943970"/>
                  </a:lnTo>
                  <a:lnTo>
                    <a:pt x="554048" y="1980087"/>
                  </a:lnTo>
                  <a:lnTo>
                    <a:pt x="545734" y="2002656"/>
                  </a:lnTo>
                  <a:lnTo>
                    <a:pt x="567987" y="2019527"/>
                  </a:lnTo>
                  <a:lnTo>
                    <a:pt x="603659" y="2013866"/>
                  </a:lnTo>
                  <a:lnTo>
                    <a:pt x="627119" y="2016929"/>
                  </a:lnTo>
                  <a:lnTo>
                    <a:pt x="670419" y="2005793"/>
                  </a:lnTo>
                  <a:lnTo>
                    <a:pt x="691614" y="1978603"/>
                  </a:lnTo>
                  <a:lnTo>
                    <a:pt x="706072" y="1967801"/>
                  </a:lnTo>
                  <a:lnTo>
                    <a:pt x="706740" y="1950689"/>
                  </a:lnTo>
                  <a:lnTo>
                    <a:pt x="718730" y="1919007"/>
                  </a:lnTo>
                  <a:lnTo>
                    <a:pt x="735786" y="1908651"/>
                  </a:lnTo>
                  <a:lnTo>
                    <a:pt x="732706" y="1878528"/>
                  </a:lnTo>
                  <a:lnTo>
                    <a:pt x="762123" y="1860228"/>
                  </a:lnTo>
                  <a:lnTo>
                    <a:pt x="768841" y="1865110"/>
                  </a:lnTo>
                  <a:lnTo>
                    <a:pt x="784988" y="1848944"/>
                  </a:lnTo>
                  <a:lnTo>
                    <a:pt x="802119" y="1849612"/>
                  </a:lnTo>
                  <a:lnTo>
                    <a:pt x="805943" y="1836249"/>
                  </a:lnTo>
                  <a:lnTo>
                    <a:pt x="816948" y="1841316"/>
                  </a:lnTo>
                  <a:lnTo>
                    <a:pt x="826024" y="1828807"/>
                  </a:lnTo>
                  <a:lnTo>
                    <a:pt x="816503" y="1827767"/>
                  </a:lnTo>
                  <a:lnTo>
                    <a:pt x="789183" y="1805755"/>
                  </a:lnTo>
                  <a:lnTo>
                    <a:pt x="766726" y="1798276"/>
                  </a:lnTo>
                  <a:lnTo>
                    <a:pt x="779087" y="1769100"/>
                  </a:lnTo>
                  <a:lnTo>
                    <a:pt x="803418" y="1766928"/>
                  </a:lnTo>
                  <a:lnTo>
                    <a:pt x="801024" y="1735841"/>
                  </a:lnTo>
                  <a:lnTo>
                    <a:pt x="793322" y="1730254"/>
                  </a:lnTo>
                  <a:lnTo>
                    <a:pt x="794584" y="1711342"/>
                  </a:lnTo>
                  <a:lnTo>
                    <a:pt x="802787" y="1704085"/>
                  </a:lnTo>
                  <a:lnTo>
                    <a:pt x="786418" y="1676078"/>
                  </a:lnTo>
                  <a:lnTo>
                    <a:pt x="795902" y="1644805"/>
                  </a:lnTo>
                  <a:lnTo>
                    <a:pt x="806258" y="1645714"/>
                  </a:lnTo>
                  <a:lnTo>
                    <a:pt x="812828" y="1633613"/>
                  </a:lnTo>
                  <a:lnTo>
                    <a:pt x="809636" y="1618803"/>
                  </a:lnTo>
                  <a:lnTo>
                    <a:pt x="820976" y="1615314"/>
                  </a:lnTo>
                  <a:lnTo>
                    <a:pt x="808894" y="1587455"/>
                  </a:lnTo>
                  <a:lnTo>
                    <a:pt x="795493" y="1588736"/>
                  </a:lnTo>
                  <a:lnTo>
                    <a:pt x="798741" y="1577173"/>
                  </a:lnTo>
                  <a:lnTo>
                    <a:pt x="785508" y="1574166"/>
                  </a:lnTo>
                  <a:lnTo>
                    <a:pt x="793433" y="1511676"/>
                  </a:lnTo>
                  <a:lnTo>
                    <a:pt x="829291" y="1501728"/>
                  </a:lnTo>
                  <a:lnTo>
                    <a:pt x="838237" y="1504549"/>
                  </a:lnTo>
                  <a:lnTo>
                    <a:pt x="855869" y="1492392"/>
                  </a:lnTo>
                  <a:lnTo>
                    <a:pt x="860471" y="1467856"/>
                  </a:lnTo>
                  <a:lnTo>
                    <a:pt x="873482" y="1464088"/>
                  </a:lnTo>
                  <a:lnTo>
                    <a:pt x="903345" y="1496754"/>
                  </a:lnTo>
                  <a:lnTo>
                    <a:pt x="919343" y="1501004"/>
                  </a:lnTo>
                  <a:lnTo>
                    <a:pt x="925654" y="1487251"/>
                  </a:lnTo>
                  <a:lnTo>
                    <a:pt x="911177" y="1465740"/>
                  </a:lnTo>
                  <a:lnTo>
                    <a:pt x="922183" y="1454641"/>
                  </a:lnTo>
                  <a:lnTo>
                    <a:pt x="917413" y="1446030"/>
                  </a:lnTo>
                  <a:lnTo>
                    <a:pt x="931184" y="1431089"/>
                  </a:lnTo>
                  <a:lnTo>
                    <a:pt x="934915" y="1411787"/>
                  </a:lnTo>
                  <a:lnTo>
                    <a:pt x="949373" y="1400985"/>
                  </a:lnTo>
                  <a:lnTo>
                    <a:pt x="957112" y="1380198"/>
                  </a:lnTo>
                  <a:lnTo>
                    <a:pt x="943248" y="1351783"/>
                  </a:lnTo>
                  <a:lnTo>
                    <a:pt x="960379" y="1331200"/>
                  </a:lnTo>
                  <a:lnTo>
                    <a:pt x="994919" y="1350373"/>
                  </a:lnTo>
                  <a:lnTo>
                    <a:pt x="1006129" y="1346030"/>
                  </a:lnTo>
                  <a:lnTo>
                    <a:pt x="1037811" y="1358001"/>
                  </a:lnTo>
                  <a:lnTo>
                    <a:pt x="1049800" y="1342485"/>
                  </a:lnTo>
                  <a:lnTo>
                    <a:pt x="1042246" y="1337733"/>
                  </a:lnTo>
                  <a:lnTo>
                    <a:pt x="1056148" y="1307462"/>
                  </a:lnTo>
                  <a:lnTo>
                    <a:pt x="1038070" y="1284819"/>
                  </a:lnTo>
                  <a:lnTo>
                    <a:pt x="1031129" y="1289330"/>
                  </a:lnTo>
                  <a:lnTo>
                    <a:pt x="1017154" y="1276245"/>
                  </a:lnTo>
                  <a:lnTo>
                    <a:pt x="1020977" y="1262882"/>
                  </a:lnTo>
                  <a:lnTo>
                    <a:pt x="1034544" y="1257314"/>
                  </a:lnTo>
                  <a:lnTo>
                    <a:pt x="1025264" y="1225632"/>
                  </a:lnTo>
                  <a:lnTo>
                    <a:pt x="1001601" y="1231943"/>
                  </a:lnTo>
                  <a:lnTo>
                    <a:pt x="990019" y="1228695"/>
                  </a:lnTo>
                  <a:lnTo>
                    <a:pt x="969492" y="1201338"/>
                  </a:lnTo>
                  <a:lnTo>
                    <a:pt x="972480" y="1171939"/>
                  </a:lnTo>
                  <a:lnTo>
                    <a:pt x="965650" y="1161118"/>
                  </a:lnTo>
                  <a:lnTo>
                    <a:pt x="996348" y="1118821"/>
                  </a:lnTo>
                  <a:lnTo>
                    <a:pt x="989796" y="1109671"/>
                  </a:lnTo>
                  <a:lnTo>
                    <a:pt x="1000728" y="1087510"/>
                  </a:lnTo>
                  <a:lnTo>
                    <a:pt x="991727" y="1073646"/>
                  </a:lnTo>
                  <a:lnTo>
                    <a:pt x="995141" y="1041630"/>
                  </a:lnTo>
                  <a:lnTo>
                    <a:pt x="982168" y="1040294"/>
                  </a:lnTo>
                  <a:lnTo>
                    <a:pt x="957725" y="1020361"/>
                  </a:lnTo>
                  <a:lnTo>
                    <a:pt x="959098" y="1002284"/>
                  </a:lnTo>
                  <a:lnTo>
                    <a:pt x="967339" y="989923"/>
                  </a:lnTo>
                  <a:lnTo>
                    <a:pt x="956463" y="985692"/>
                  </a:lnTo>
                  <a:lnTo>
                    <a:pt x="953512" y="956404"/>
                  </a:lnTo>
                  <a:lnTo>
                    <a:pt x="947647" y="946289"/>
                  </a:lnTo>
                  <a:lnTo>
                    <a:pt x="977770" y="943190"/>
                  </a:lnTo>
                  <a:lnTo>
                    <a:pt x="976879" y="932276"/>
                  </a:lnTo>
                  <a:lnTo>
                    <a:pt x="995921" y="918190"/>
                  </a:lnTo>
                  <a:lnTo>
                    <a:pt x="980220" y="910487"/>
                  </a:lnTo>
                  <a:lnTo>
                    <a:pt x="926990" y="918097"/>
                  </a:lnTo>
                  <a:lnTo>
                    <a:pt x="901229" y="927302"/>
                  </a:lnTo>
                  <a:lnTo>
                    <a:pt x="892487" y="915090"/>
                  </a:lnTo>
                  <a:lnTo>
                    <a:pt x="900097" y="893468"/>
                  </a:lnTo>
                  <a:lnTo>
                    <a:pt x="888961" y="887584"/>
                  </a:lnTo>
                  <a:lnTo>
                    <a:pt x="899076" y="865572"/>
                  </a:lnTo>
                  <a:lnTo>
                    <a:pt x="895438" y="853397"/>
                  </a:lnTo>
                  <a:lnTo>
                    <a:pt x="902454" y="838661"/>
                  </a:lnTo>
                  <a:lnTo>
                    <a:pt x="882316" y="835060"/>
                  </a:lnTo>
                  <a:lnTo>
                    <a:pt x="871719" y="811248"/>
                  </a:lnTo>
                  <a:lnTo>
                    <a:pt x="857817" y="804102"/>
                  </a:lnTo>
                  <a:lnTo>
                    <a:pt x="848797" y="790220"/>
                  </a:lnTo>
                  <a:lnTo>
                    <a:pt x="851507" y="780439"/>
                  </a:lnTo>
                  <a:lnTo>
                    <a:pt x="829458" y="754177"/>
                  </a:lnTo>
                  <a:lnTo>
                    <a:pt x="811380" y="752803"/>
                  </a:lnTo>
                  <a:lnTo>
                    <a:pt x="836529" y="713085"/>
                  </a:lnTo>
                  <a:lnTo>
                    <a:pt x="812234" y="656571"/>
                  </a:lnTo>
                  <a:lnTo>
                    <a:pt x="787197" y="606125"/>
                  </a:lnTo>
                  <a:lnTo>
                    <a:pt x="750523" y="578787"/>
                  </a:lnTo>
                  <a:lnTo>
                    <a:pt x="752286" y="563215"/>
                  </a:lnTo>
                  <a:lnTo>
                    <a:pt x="763904" y="561359"/>
                  </a:lnTo>
                  <a:lnTo>
                    <a:pt x="786752" y="533909"/>
                  </a:lnTo>
                  <a:lnTo>
                    <a:pt x="787958" y="520119"/>
                  </a:lnTo>
                  <a:lnTo>
                    <a:pt x="814128" y="513401"/>
                  </a:lnTo>
                  <a:lnTo>
                    <a:pt x="810564" y="490999"/>
                  </a:lnTo>
                  <a:lnTo>
                    <a:pt x="799150" y="483464"/>
                  </a:lnTo>
                  <a:lnTo>
                    <a:pt x="800801" y="467038"/>
                  </a:lnTo>
                  <a:lnTo>
                    <a:pt x="814406" y="456385"/>
                  </a:lnTo>
                  <a:lnTo>
                    <a:pt x="803029" y="443727"/>
                  </a:lnTo>
                  <a:lnTo>
                    <a:pt x="807038" y="426077"/>
                  </a:lnTo>
                  <a:lnTo>
                    <a:pt x="822739" y="412528"/>
                  </a:lnTo>
                  <a:lnTo>
                    <a:pt x="837142" y="390683"/>
                  </a:lnTo>
                  <a:lnTo>
                    <a:pt x="838107" y="370119"/>
                  </a:lnTo>
                  <a:lnTo>
                    <a:pt x="815352" y="366073"/>
                  </a:lnTo>
                  <a:lnTo>
                    <a:pt x="786436" y="317948"/>
                  </a:lnTo>
                  <a:lnTo>
                    <a:pt x="757594" y="313196"/>
                  </a:lnTo>
                  <a:lnTo>
                    <a:pt x="753827" y="300186"/>
                  </a:lnTo>
                  <a:lnTo>
                    <a:pt x="739201" y="299109"/>
                  </a:lnTo>
                  <a:lnTo>
                    <a:pt x="728270" y="283835"/>
                  </a:lnTo>
                  <a:lnTo>
                    <a:pt x="727936" y="271140"/>
                  </a:lnTo>
                  <a:lnTo>
                    <a:pt x="705868" y="249982"/>
                  </a:lnTo>
                  <a:lnTo>
                    <a:pt x="702991" y="226633"/>
                  </a:lnTo>
                  <a:lnTo>
                    <a:pt x="690222" y="253322"/>
                  </a:lnTo>
                  <a:lnTo>
                    <a:pt x="674205" y="254176"/>
                  </a:lnTo>
                  <a:lnTo>
                    <a:pt x="681165" y="265813"/>
                  </a:lnTo>
                  <a:lnTo>
                    <a:pt x="666280" y="279251"/>
                  </a:lnTo>
                  <a:lnTo>
                    <a:pt x="658002" y="296715"/>
                  </a:lnTo>
                  <a:lnTo>
                    <a:pt x="629327" y="308928"/>
                  </a:lnTo>
                  <a:lnTo>
                    <a:pt x="633614" y="325260"/>
                  </a:lnTo>
                  <a:lnTo>
                    <a:pt x="624335" y="347142"/>
                  </a:lnTo>
                  <a:lnTo>
                    <a:pt x="622052" y="300724"/>
                  </a:lnTo>
                  <a:lnTo>
                    <a:pt x="630923" y="297625"/>
                  </a:lnTo>
                  <a:lnTo>
                    <a:pt x="630979" y="271251"/>
                  </a:lnTo>
                  <a:lnTo>
                    <a:pt x="648871" y="260746"/>
                  </a:lnTo>
                  <a:lnTo>
                    <a:pt x="653288" y="224332"/>
                  </a:lnTo>
                  <a:lnTo>
                    <a:pt x="663533" y="203140"/>
                  </a:lnTo>
                  <a:lnTo>
                    <a:pt x="659320" y="192754"/>
                  </a:lnTo>
                  <a:lnTo>
                    <a:pt x="678696" y="132695"/>
                  </a:lnTo>
                  <a:lnTo>
                    <a:pt x="686417" y="117010"/>
                  </a:lnTo>
                  <a:lnTo>
                    <a:pt x="687160" y="89677"/>
                  </a:lnTo>
                  <a:lnTo>
                    <a:pt x="677880" y="74144"/>
                  </a:lnTo>
                  <a:lnTo>
                    <a:pt x="660730" y="78575"/>
                  </a:lnTo>
                  <a:lnTo>
                    <a:pt x="645511" y="63137"/>
                  </a:lnTo>
                  <a:lnTo>
                    <a:pt x="675300" y="68602"/>
                  </a:lnTo>
                  <a:lnTo>
                    <a:pt x="667987" y="49356"/>
                  </a:lnTo>
                  <a:lnTo>
                    <a:pt x="661491" y="51242"/>
                  </a:lnTo>
                  <a:lnTo>
                    <a:pt x="636417" y="22062"/>
                  </a:lnTo>
                  <a:lnTo>
                    <a:pt x="629049" y="29187"/>
                  </a:lnTo>
                  <a:lnTo>
                    <a:pt x="613830" y="13749"/>
                  </a:lnTo>
                  <a:lnTo>
                    <a:pt x="597460" y="23157"/>
                  </a:lnTo>
                  <a:lnTo>
                    <a:pt x="587159" y="17144"/>
                  </a:lnTo>
                  <a:lnTo>
                    <a:pt x="572274" y="30566"/>
                  </a:lnTo>
                  <a:lnTo>
                    <a:pt x="558039" y="31980"/>
                  </a:lnTo>
                  <a:lnTo>
                    <a:pt x="536398" y="45629"/>
                  </a:lnTo>
                  <a:lnTo>
                    <a:pt x="541261" y="60163"/>
                  </a:lnTo>
                  <a:lnTo>
                    <a:pt x="519601" y="73812"/>
                  </a:lnTo>
                  <a:lnTo>
                    <a:pt x="522367" y="37656"/>
                  </a:lnTo>
                  <a:lnTo>
                    <a:pt x="507073" y="32435"/>
                  </a:lnTo>
                  <a:lnTo>
                    <a:pt x="494286" y="42973"/>
                  </a:lnTo>
                  <a:lnTo>
                    <a:pt x="488124" y="36301"/>
                  </a:lnTo>
                  <a:lnTo>
                    <a:pt x="464015" y="45236"/>
                  </a:lnTo>
                  <a:lnTo>
                    <a:pt x="475837" y="34002"/>
                  </a:lnTo>
                  <a:lnTo>
                    <a:pt x="487047" y="13510"/>
                  </a:lnTo>
                  <a:lnTo>
                    <a:pt x="474278" y="2784"/>
                  </a:lnTo>
                  <a:lnTo>
                    <a:pt x="467597" y="8948"/>
                  </a:lnTo>
                  <a:lnTo>
                    <a:pt x="440425" y="3916"/>
                  </a:lnTo>
                  <a:lnTo>
                    <a:pt x="430959" y="13927"/>
                  </a:lnTo>
                  <a:lnTo>
                    <a:pt x="420677" y="40225"/>
                  </a:lnTo>
                  <a:lnTo>
                    <a:pt x="412381" y="78963"/>
                  </a:lnTo>
                  <a:lnTo>
                    <a:pt x="423053" y="92572"/>
                  </a:lnTo>
                  <a:lnTo>
                    <a:pt x="422645" y="111347"/>
                  </a:lnTo>
                  <a:lnTo>
                    <a:pt x="401004" y="124996"/>
                  </a:lnTo>
                  <a:lnTo>
                    <a:pt x="388161" y="124488"/>
                  </a:lnTo>
                  <a:lnTo>
                    <a:pt x="406553" y="138569"/>
                  </a:lnTo>
                  <a:lnTo>
                    <a:pt x="415963" y="154931"/>
                  </a:lnTo>
                  <a:lnTo>
                    <a:pt x="392949" y="149239"/>
                  </a:lnTo>
                  <a:lnTo>
                    <a:pt x="380978" y="159646"/>
                  </a:lnTo>
                  <a:lnTo>
                    <a:pt x="382704" y="170429"/>
                  </a:lnTo>
                  <a:lnTo>
                    <a:pt x="367670" y="166865"/>
                  </a:lnTo>
                  <a:lnTo>
                    <a:pt x="348220" y="183569"/>
                  </a:lnTo>
                  <a:lnTo>
                    <a:pt x="343208" y="168205"/>
                  </a:lnTo>
                  <a:lnTo>
                    <a:pt x="358446" y="162380"/>
                  </a:lnTo>
                  <a:lnTo>
                    <a:pt x="357036" y="148148"/>
                  </a:lnTo>
                  <a:lnTo>
                    <a:pt x="338049" y="157122"/>
                  </a:lnTo>
                  <a:lnTo>
                    <a:pt x="322440" y="176613"/>
                  </a:lnTo>
                  <a:lnTo>
                    <a:pt x="290870" y="186737"/>
                  </a:lnTo>
                  <a:lnTo>
                    <a:pt x="305124" y="201479"/>
                  </a:lnTo>
                  <a:lnTo>
                    <a:pt x="239255" y="236619"/>
                  </a:lnTo>
                  <a:lnTo>
                    <a:pt x="224945" y="248256"/>
                  </a:lnTo>
                  <a:lnTo>
                    <a:pt x="189626" y="298942"/>
                  </a:lnTo>
                  <a:lnTo>
                    <a:pt x="186378" y="289254"/>
                  </a:lnTo>
                  <a:lnTo>
                    <a:pt x="173033" y="301578"/>
                  </a:lnTo>
                  <a:lnTo>
                    <a:pt x="189051" y="300724"/>
                  </a:lnTo>
                  <a:lnTo>
                    <a:pt x="183297" y="312695"/>
                  </a:lnTo>
                  <a:lnTo>
                    <a:pt x="171901" y="305160"/>
                  </a:lnTo>
                  <a:lnTo>
                    <a:pt x="162269" y="319451"/>
                  </a:lnTo>
                  <a:lnTo>
                    <a:pt x="179084" y="323590"/>
                  </a:lnTo>
                  <a:lnTo>
                    <a:pt x="186731" y="334262"/>
                  </a:lnTo>
                  <a:lnTo>
                    <a:pt x="170843" y="335951"/>
                  </a:lnTo>
                  <a:lnTo>
                    <a:pt x="167206" y="323775"/>
                  </a:lnTo>
                  <a:lnTo>
                    <a:pt x="151263" y="330550"/>
                  </a:lnTo>
                  <a:lnTo>
                    <a:pt x="167818" y="333018"/>
                  </a:lnTo>
                  <a:lnTo>
                    <a:pt x="171029" y="347829"/>
                  </a:lnTo>
                  <a:lnTo>
                    <a:pt x="188809" y="352654"/>
                  </a:lnTo>
                  <a:lnTo>
                    <a:pt x="201189" y="377042"/>
                  </a:lnTo>
                  <a:lnTo>
                    <a:pt x="209188" y="379176"/>
                  </a:lnTo>
                  <a:lnTo>
                    <a:pt x="200910" y="396641"/>
                  </a:lnTo>
                  <a:lnTo>
                    <a:pt x="190572" y="374481"/>
                  </a:lnTo>
                  <a:lnTo>
                    <a:pt x="164830" y="383686"/>
                  </a:lnTo>
                  <a:lnTo>
                    <a:pt x="161860" y="391797"/>
                  </a:lnTo>
                  <a:lnTo>
                    <a:pt x="146957" y="389069"/>
                  </a:lnTo>
                  <a:lnTo>
                    <a:pt x="118839" y="399499"/>
                  </a:lnTo>
                  <a:lnTo>
                    <a:pt x="84039" y="399926"/>
                  </a:lnTo>
                  <a:lnTo>
                    <a:pt x="58853" y="407332"/>
                  </a:lnTo>
                  <a:lnTo>
                    <a:pt x="45861" y="427265"/>
                  </a:lnTo>
                  <a:lnTo>
                    <a:pt x="59169" y="457461"/>
                  </a:lnTo>
                  <a:lnTo>
                    <a:pt x="55345" y="486990"/>
                  </a:lnTo>
                  <a:lnTo>
                    <a:pt x="67948" y="501986"/>
                  </a:lnTo>
                  <a:lnTo>
                    <a:pt x="91667" y="506719"/>
                  </a:lnTo>
                  <a:lnTo>
                    <a:pt x="91556" y="522049"/>
                  </a:lnTo>
                  <a:lnTo>
                    <a:pt x="107462" y="536526"/>
                  </a:lnTo>
                  <a:lnTo>
                    <a:pt x="121808" y="541055"/>
                  </a:lnTo>
                  <a:lnTo>
                    <a:pt x="128861" y="558631"/>
                  </a:lnTo>
                  <a:lnTo>
                    <a:pt x="118133" y="587547"/>
                  </a:lnTo>
                  <a:lnTo>
                    <a:pt x="136897" y="646641"/>
                  </a:lnTo>
                  <a:lnTo>
                    <a:pt x="130179" y="657926"/>
                  </a:lnTo>
                  <a:lnTo>
                    <a:pt x="123850" y="664978"/>
                  </a:lnTo>
                  <a:lnTo>
                    <a:pt x="140554" y="689106"/>
                  </a:lnTo>
                  <a:lnTo>
                    <a:pt x="160969" y="689106"/>
                  </a:lnTo>
                  <a:lnTo>
                    <a:pt x="181385" y="682610"/>
                  </a:lnTo>
                  <a:lnTo>
                    <a:pt x="213865" y="718802"/>
                  </a:lnTo>
                  <a:lnTo>
                    <a:pt x="207536" y="764273"/>
                  </a:lnTo>
                  <a:lnTo>
                    <a:pt x="211397" y="804102"/>
                  </a:lnTo>
                  <a:lnTo>
                    <a:pt x="201189" y="766129"/>
                  </a:lnTo>
                  <a:lnTo>
                    <a:pt x="207536" y="722514"/>
                  </a:lnTo>
                  <a:lnTo>
                    <a:pt x="193672" y="707981"/>
                  </a:lnTo>
                  <a:lnTo>
                    <a:pt x="179084" y="689106"/>
                  </a:lnTo>
                  <a:lnTo>
                    <a:pt x="164830" y="694841"/>
                  </a:lnTo>
                  <a:lnTo>
                    <a:pt x="136897" y="697458"/>
                  </a:lnTo>
                  <a:lnTo>
                    <a:pt x="122309" y="677877"/>
                  </a:lnTo>
                  <a:lnTo>
                    <a:pt x="108185" y="663976"/>
                  </a:lnTo>
                  <a:lnTo>
                    <a:pt x="124592" y="649462"/>
                  </a:lnTo>
                  <a:lnTo>
                    <a:pt x="122718" y="621697"/>
                  </a:lnTo>
                  <a:lnTo>
                    <a:pt x="111786" y="606422"/>
                  </a:lnTo>
                  <a:lnTo>
                    <a:pt x="101578" y="622495"/>
                  </a:lnTo>
                  <a:lnTo>
                    <a:pt x="101467" y="637825"/>
                  </a:lnTo>
                  <a:lnTo>
                    <a:pt x="91778" y="641073"/>
                  </a:lnTo>
                  <a:lnTo>
                    <a:pt x="100056" y="623590"/>
                  </a:lnTo>
                  <a:lnTo>
                    <a:pt x="93838" y="605884"/>
                  </a:lnTo>
                  <a:lnTo>
                    <a:pt x="96474" y="585042"/>
                  </a:lnTo>
                  <a:lnTo>
                    <a:pt x="115201" y="574407"/>
                  </a:lnTo>
                  <a:lnTo>
                    <a:pt x="121159" y="553063"/>
                  </a:lnTo>
                  <a:lnTo>
                    <a:pt x="109744" y="545509"/>
                  </a:lnTo>
                  <a:lnTo>
                    <a:pt x="81106" y="552617"/>
                  </a:lnTo>
                  <a:lnTo>
                    <a:pt x="24053" y="498775"/>
                  </a:lnTo>
                  <a:lnTo>
                    <a:pt x="2784" y="498757"/>
                  </a:lnTo>
                  <a:lnTo>
                    <a:pt x="6125" y="514384"/>
                  </a:lnTo>
                  <a:lnTo>
                    <a:pt x="30754" y="524908"/>
                  </a:lnTo>
                  <a:lnTo>
                    <a:pt x="46418" y="537732"/>
                  </a:lnTo>
                  <a:lnTo>
                    <a:pt x="40628" y="554808"/>
                  </a:lnTo>
                  <a:lnTo>
                    <a:pt x="21678" y="558668"/>
                  </a:lnTo>
                  <a:lnTo>
                    <a:pt x="15609" y="574091"/>
                  </a:lnTo>
                  <a:lnTo>
                    <a:pt x="36173" y="596344"/>
                  </a:lnTo>
                  <a:lnTo>
                    <a:pt x="51021" y="604177"/>
                  </a:lnTo>
                  <a:lnTo>
                    <a:pt x="56051" y="635691"/>
                  </a:lnTo>
                  <a:lnTo>
                    <a:pt x="5048" y="694841"/>
                  </a:lnTo>
                  <a:lnTo>
                    <a:pt x="7999" y="707981"/>
                  </a:lnTo>
                  <a:lnTo>
                    <a:pt x="21362" y="711805"/>
                  </a:lnTo>
                  <a:lnTo>
                    <a:pt x="31125" y="735765"/>
                  </a:lnTo>
                  <a:lnTo>
                    <a:pt x="55420" y="738698"/>
                  </a:lnTo>
                  <a:lnTo>
                    <a:pt x="61711" y="746196"/>
                  </a:lnTo>
                  <a:lnTo>
                    <a:pt x="88994" y="735914"/>
                  </a:lnTo>
                  <a:lnTo>
                    <a:pt x="88493" y="748739"/>
                  </a:lnTo>
                  <a:lnTo>
                    <a:pt x="103954" y="749685"/>
                  </a:lnTo>
                  <a:lnTo>
                    <a:pt x="109132" y="776931"/>
                  </a:lnTo>
                  <a:lnTo>
                    <a:pt x="121901" y="787659"/>
                  </a:lnTo>
                  <a:lnTo>
                    <a:pt x="106106" y="795268"/>
                  </a:lnTo>
                  <a:lnTo>
                    <a:pt x="113104" y="817967"/>
                  </a:lnTo>
                  <a:lnTo>
                    <a:pt x="105049" y="826059"/>
                  </a:lnTo>
                  <a:lnTo>
                    <a:pt x="103657" y="844136"/>
                  </a:lnTo>
                  <a:lnTo>
                    <a:pt x="85282" y="846196"/>
                  </a:lnTo>
                  <a:lnTo>
                    <a:pt x="106181" y="876040"/>
                  </a:lnTo>
                  <a:lnTo>
                    <a:pt x="97866" y="898628"/>
                  </a:lnTo>
                  <a:lnTo>
                    <a:pt x="131886" y="930643"/>
                  </a:lnTo>
                  <a:lnTo>
                    <a:pt x="136229" y="941853"/>
                  </a:lnTo>
                  <a:lnTo>
                    <a:pt x="130309" y="958093"/>
                  </a:lnTo>
                  <a:lnTo>
                    <a:pt x="145602" y="979474"/>
                  </a:lnTo>
                  <a:lnTo>
                    <a:pt x="138494" y="988253"/>
                  </a:lnTo>
                  <a:lnTo>
                    <a:pt x="148831" y="1010432"/>
                  </a:lnTo>
                  <a:lnTo>
                    <a:pt x="163772" y="1008056"/>
                  </a:lnTo>
                  <a:lnTo>
                    <a:pt x="173516" y="1015851"/>
                  </a:lnTo>
                  <a:lnTo>
                    <a:pt x="183947" y="1043969"/>
                  </a:lnTo>
                  <a:lnTo>
                    <a:pt x="175855" y="1073312"/>
                  </a:lnTo>
                  <a:lnTo>
                    <a:pt x="193672" y="1073034"/>
                  </a:lnTo>
                  <a:lnTo>
                    <a:pt x="207536" y="1085283"/>
                  </a:lnTo>
                  <a:lnTo>
                    <a:pt x="221809" y="1078769"/>
                  </a:lnTo>
                  <a:lnTo>
                    <a:pt x="231033" y="1083242"/>
                  </a:lnTo>
                  <a:lnTo>
                    <a:pt x="231571" y="1102711"/>
                  </a:lnTo>
                  <a:lnTo>
                    <a:pt x="239329" y="1119341"/>
                  </a:lnTo>
                  <a:lnTo>
                    <a:pt x="238642" y="1136471"/>
                  </a:lnTo>
                  <a:lnTo>
                    <a:pt x="224203" y="1147273"/>
                  </a:lnTo>
                  <a:lnTo>
                    <a:pt x="211397" y="1179066"/>
                  </a:lnTo>
                  <a:lnTo>
                    <a:pt x="231757" y="1189441"/>
                  </a:lnTo>
                  <a:lnTo>
                    <a:pt x="231441" y="1214144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eform: Shape 209">
              <a:extLst>
                <a:ext uri="{FF2B5EF4-FFF2-40B4-BE49-F238E27FC236}">
                  <a16:creationId xmlns:a16="http://schemas.microsoft.com/office/drawing/2014/main" id="{AD59AEE4-8954-47A2-9C64-5A9C3F3B5F4F}"/>
                </a:ext>
              </a:extLst>
            </p:cNvPr>
            <p:cNvSpPr/>
            <p:nvPr/>
          </p:nvSpPr>
          <p:spPr>
            <a:xfrm>
              <a:off x="4312657" y="5231433"/>
              <a:ext cx="835193" cy="987380"/>
            </a:xfrm>
            <a:custGeom>
              <a:avLst/>
              <a:gdLst>
                <a:gd name="connsiteX0" fmla="*/ 199147 w 835192"/>
                <a:gd name="connsiteY0" fmla="*/ 941612 h 987380"/>
                <a:gd name="connsiteX1" fmla="*/ 186081 w 835192"/>
                <a:gd name="connsiteY1" fmla="*/ 934337 h 987380"/>
                <a:gd name="connsiteX2" fmla="*/ 168523 w 835192"/>
                <a:gd name="connsiteY2" fmla="*/ 936285 h 987380"/>
                <a:gd name="connsiteX3" fmla="*/ 150502 w 835192"/>
                <a:gd name="connsiteY3" fmla="*/ 945955 h 987380"/>
                <a:gd name="connsiteX4" fmla="*/ 146567 w 835192"/>
                <a:gd name="connsiteY4" fmla="*/ 937232 h 987380"/>
                <a:gd name="connsiteX5" fmla="*/ 129733 w 835192"/>
                <a:gd name="connsiteY5" fmla="*/ 933093 h 987380"/>
                <a:gd name="connsiteX6" fmla="*/ 111619 w 835192"/>
                <a:gd name="connsiteY6" fmla="*/ 936824 h 987380"/>
                <a:gd name="connsiteX7" fmla="*/ 93486 w 835192"/>
                <a:gd name="connsiteY7" fmla="*/ 924407 h 987380"/>
                <a:gd name="connsiteX8" fmla="*/ 69191 w 835192"/>
                <a:gd name="connsiteY8" fmla="*/ 921475 h 987380"/>
                <a:gd name="connsiteX9" fmla="*/ 62083 w 835192"/>
                <a:gd name="connsiteY9" fmla="*/ 930253 h 987380"/>
                <a:gd name="connsiteX10" fmla="*/ 52561 w 835192"/>
                <a:gd name="connsiteY10" fmla="*/ 929214 h 987380"/>
                <a:gd name="connsiteX11" fmla="*/ 25241 w 835192"/>
                <a:gd name="connsiteY11" fmla="*/ 907202 h 987380"/>
                <a:gd name="connsiteX12" fmla="*/ 2784 w 835192"/>
                <a:gd name="connsiteY12" fmla="*/ 899723 h 987380"/>
                <a:gd name="connsiteX13" fmla="*/ 15145 w 835192"/>
                <a:gd name="connsiteY13" fmla="*/ 870547 h 987380"/>
                <a:gd name="connsiteX14" fmla="*/ 39477 w 835192"/>
                <a:gd name="connsiteY14" fmla="*/ 868375 h 987380"/>
                <a:gd name="connsiteX15" fmla="*/ 37083 w 835192"/>
                <a:gd name="connsiteY15" fmla="*/ 837287 h 987380"/>
                <a:gd name="connsiteX16" fmla="*/ 29380 w 835192"/>
                <a:gd name="connsiteY16" fmla="*/ 831701 h 987380"/>
                <a:gd name="connsiteX17" fmla="*/ 30642 w 835192"/>
                <a:gd name="connsiteY17" fmla="*/ 812789 h 987380"/>
                <a:gd name="connsiteX18" fmla="*/ 38846 w 835192"/>
                <a:gd name="connsiteY18" fmla="*/ 805532 h 987380"/>
                <a:gd name="connsiteX19" fmla="*/ 22476 w 835192"/>
                <a:gd name="connsiteY19" fmla="*/ 777525 h 987380"/>
                <a:gd name="connsiteX20" fmla="*/ 31960 w 835192"/>
                <a:gd name="connsiteY20" fmla="*/ 746252 h 987380"/>
                <a:gd name="connsiteX21" fmla="*/ 42317 w 835192"/>
                <a:gd name="connsiteY21" fmla="*/ 747161 h 987380"/>
                <a:gd name="connsiteX22" fmla="*/ 48887 w 835192"/>
                <a:gd name="connsiteY22" fmla="*/ 735060 h 987380"/>
                <a:gd name="connsiteX23" fmla="*/ 45694 w 835192"/>
                <a:gd name="connsiteY23" fmla="*/ 720250 h 987380"/>
                <a:gd name="connsiteX24" fmla="*/ 57034 w 835192"/>
                <a:gd name="connsiteY24" fmla="*/ 716760 h 987380"/>
                <a:gd name="connsiteX25" fmla="*/ 44952 w 835192"/>
                <a:gd name="connsiteY25" fmla="*/ 688902 h 987380"/>
                <a:gd name="connsiteX26" fmla="*/ 31552 w 835192"/>
                <a:gd name="connsiteY26" fmla="*/ 690183 h 987380"/>
                <a:gd name="connsiteX27" fmla="*/ 34818 w 835192"/>
                <a:gd name="connsiteY27" fmla="*/ 678620 h 987380"/>
                <a:gd name="connsiteX28" fmla="*/ 21567 w 835192"/>
                <a:gd name="connsiteY28" fmla="*/ 675613 h 987380"/>
                <a:gd name="connsiteX29" fmla="*/ 29492 w 835192"/>
                <a:gd name="connsiteY29" fmla="*/ 613122 h 987380"/>
                <a:gd name="connsiteX30" fmla="*/ 65349 w 835192"/>
                <a:gd name="connsiteY30" fmla="*/ 603174 h 987380"/>
                <a:gd name="connsiteX31" fmla="*/ 74295 w 835192"/>
                <a:gd name="connsiteY31" fmla="*/ 605995 h 987380"/>
                <a:gd name="connsiteX32" fmla="*/ 91927 w 835192"/>
                <a:gd name="connsiteY32" fmla="*/ 593839 h 987380"/>
                <a:gd name="connsiteX33" fmla="*/ 96530 w 835192"/>
                <a:gd name="connsiteY33" fmla="*/ 569303 h 987380"/>
                <a:gd name="connsiteX34" fmla="*/ 109540 w 835192"/>
                <a:gd name="connsiteY34" fmla="*/ 565535 h 987380"/>
                <a:gd name="connsiteX35" fmla="*/ 139403 w 835192"/>
                <a:gd name="connsiteY35" fmla="*/ 598200 h 987380"/>
                <a:gd name="connsiteX36" fmla="*/ 155402 w 835192"/>
                <a:gd name="connsiteY36" fmla="*/ 602450 h 987380"/>
                <a:gd name="connsiteX37" fmla="*/ 161712 w 835192"/>
                <a:gd name="connsiteY37" fmla="*/ 588698 h 987380"/>
                <a:gd name="connsiteX38" fmla="*/ 147235 w 835192"/>
                <a:gd name="connsiteY38" fmla="*/ 567187 h 987380"/>
                <a:gd name="connsiteX39" fmla="*/ 158241 w 835192"/>
                <a:gd name="connsiteY39" fmla="*/ 556088 h 987380"/>
                <a:gd name="connsiteX40" fmla="*/ 153471 w 835192"/>
                <a:gd name="connsiteY40" fmla="*/ 547476 h 987380"/>
                <a:gd name="connsiteX41" fmla="*/ 167243 w 835192"/>
                <a:gd name="connsiteY41" fmla="*/ 532536 h 987380"/>
                <a:gd name="connsiteX42" fmla="*/ 170973 w 835192"/>
                <a:gd name="connsiteY42" fmla="*/ 513234 h 987380"/>
                <a:gd name="connsiteX43" fmla="*/ 185431 w 835192"/>
                <a:gd name="connsiteY43" fmla="*/ 502432 h 987380"/>
                <a:gd name="connsiteX44" fmla="*/ 193171 w 835192"/>
                <a:gd name="connsiteY44" fmla="*/ 481645 h 987380"/>
                <a:gd name="connsiteX45" fmla="*/ 179307 w 835192"/>
                <a:gd name="connsiteY45" fmla="*/ 453230 h 987380"/>
                <a:gd name="connsiteX46" fmla="*/ 196437 w 835192"/>
                <a:gd name="connsiteY46" fmla="*/ 432647 h 987380"/>
                <a:gd name="connsiteX47" fmla="*/ 230977 w 835192"/>
                <a:gd name="connsiteY47" fmla="*/ 451819 h 987380"/>
                <a:gd name="connsiteX48" fmla="*/ 242187 w 835192"/>
                <a:gd name="connsiteY48" fmla="*/ 447476 h 987380"/>
                <a:gd name="connsiteX49" fmla="*/ 273869 w 835192"/>
                <a:gd name="connsiteY49" fmla="*/ 459447 h 987380"/>
                <a:gd name="connsiteX50" fmla="*/ 285859 w 835192"/>
                <a:gd name="connsiteY50" fmla="*/ 443932 h 987380"/>
                <a:gd name="connsiteX51" fmla="*/ 278305 w 835192"/>
                <a:gd name="connsiteY51" fmla="*/ 439180 h 987380"/>
                <a:gd name="connsiteX52" fmla="*/ 292206 w 835192"/>
                <a:gd name="connsiteY52" fmla="*/ 408909 h 987380"/>
                <a:gd name="connsiteX53" fmla="*/ 274129 w 835192"/>
                <a:gd name="connsiteY53" fmla="*/ 386266 h 987380"/>
                <a:gd name="connsiteX54" fmla="*/ 267187 w 835192"/>
                <a:gd name="connsiteY54" fmla="*/ 390776 h 987380"/>
                <a:gd name="connsiteX55" fmla="*/ 253212 w 835192"/>
                <a:gd name="connsiteY55" fmla="*/ 377692 h 987380"/>
                <a:gd name="connsiteX56" fmla="*/ 257035 w 835192"/>
                <a:gd name="connsiteY56" fmla="*/ 364329 h 987380"/>
                <a:gd name="connsiteX57" fmla="*/ 270603 w 835192"/>
                <a:gd name="connsiteY57" fmla="*/ 358761 h 987380"/>
                <a:gd name="connsiteX58" fmla="*/ 261323 w 835192"/>
                <a:gd name="connsiteY58" fmla="*/ 327079 h 987380"/>
                <a:gd name="connsiteX59" fmla="*/ 237659 w 835192"/>
                <a:gd name="connsiteY59" fmla="*/ 333389 h 987380"/>
                <a:gd name="connsiteX60" fmla="*/ 226077 w 835192"/>
                <a:gd name="connsiteY60" fmla="*/ 330141 h 987380"/>
                <a:gd name="connsiteX61" fmla="*/ 205550 w 835192"/>
                <a:gd name="connsiteY61" fmla="*/ 302784 h 987380"/>
                <a:gd name="connsiteX62" fmla="*/ 208538 w 835192"/>
                <a:gd name="connsiteY62" fmla="*/ 273386 h 987380"/>
                <a:gd name="connsiteX63" fmla="*/ 201708 w 835192"/>
                <a:gd name="connsiteY63" fmla="*/ 262565 h 987380"/>
                <a:gd name="connsiteX64" fmla="*/ 232406 w 835192"/>
                <a:gd name="connsiteY64" fmla="*/ 220268 h 987380"/>
                <a:gd name="connsiteX65" fmla="*/ 225855 w 835192"/>
                <a:gd name="connsiteY65" fmla="*/ 211118 h 987380"/>
                <a:gd name="connsiteX66" fmla="*/ 236786 w 835192"/>
                <a:gd name="connsiteY66" fmla="*/ 188957 h 987380"/>
                <a:gd name="connsiteX67" fmla="*/ 227785 w 835192"/>
                <a:gd name="connsiteY67" fmla="*/ 175093 h 987380"/>
                <a:gd name="connsiteX68" fmla="*/ 231200 w 835192"/>
                <a:gd name="connsiteY68" fmla="*/ 143077 h 987380"/>
                <a:gd name="connsiteX69" fmla="*/ 218227 w 835192"/>
                <a:gd name="connsiteY69" fmla="*/ 141741 h 987380"/>
                <a:gd name="connsiteX70" fmla="*/ 193783 w 835192"/>
                <a:gd name="connsiteY70" fmla="*/ 121808 h 987380"/>
                <a:gd name="connsiteX71" fmla="*/ 195157 w 835192"/>
                <a:gd name="connsiteY71" fmla="*/ 103731 h 987380"/>
                <a:gd name="connsiteX72" fmla="*/ 203397 w 835192"/>
                <a:gd name="connsiteY72" fmla="*/ 91370 h 987380"/>
                <a:gd name="connsiteX73" fmla="*/ 192521 w 835192"/>
                <a:gd name="connsiteY73" fmla="*/ 87157 h 987380"/>
                <a:gd name="connsiteX74" fmla="*/ 189570 w 835192"/>
                <a:gd name="connsiteY74" fmla="*/ 57851 h 987380"/>
                <a:gd name="connsiteX75" fmla="*/ 183705 w 835192"/>
                <a:gd name="connsiteY75" fmla="*/ 47736 h 987380"/>
                <a:gd name="connsiteX76" fmla="*/ 213828 w 835192"/>
                <a:gd name="connsiteY76" fmla="*/ 44636 h 987380"/>
                <a:gd name="connsiteX77" fmla="*/ 212937 w 835192"/>
                <a:gd name="connsiteY77" fmla="*/ 33723 h 987380"/>
                <a:gd name="connsiteX78" fmla="*/ 231979 w 835192"/>
                <a:gd name="connsiteY78" fmla="*/ 19636 h 987380"/>
                <a:gd name="connsiteX79" fmla="*/ 216278 w 835192"/>
                <a:gd name="connsiteY79" fmla="*/ 11934 h 987380"/>
                <a:gd name="connsiteX80" fmla="*/ 230996 w 835192"/>
                <a:gd name="connsiteY80" fmla="*/ 2784 h 987380"/>
                <a:gd name="connsiteX81" fmla="*/ 246902 w 835192"/>
                <a:gd name="connsiteY81" fmla="*/ 17261 h 987380"/>
                <a:gd name="connsiteX82" fmla="*/ 251504 w 835192"/>
                <a:gd name="connsiteY82" fmla="*/ 30141 h 987380"/>
                <a:gd name="connsiteX83" fmla="*/ 239032 w 835192"/>
                <a:gd name="connsiteY83" fmla="*/ 37231 h 987380"/>
                <a:gd name="connsiteX84" fmla="*/ 243579 w 835192"/>
                <a:gd name="connsiteY84" fmla="*/ 55215 h 987380"/>
                <a:gd name="connsiteX85" fmla="*/ 272013 w 835192"/>
                <a:gd name="connsiteY85" fmla="*/ 41333 h 987380"/>
                <a:gd name="connsiteX86" fmla="*/ 290443 w 835192"/>
                <a:gd name="connsiteY86" fmla="*/ 50316 h 987380"/>
                <a:gd name="connsiteX87" fmla="*/ 309040 w 835192"/>
                <a:gd name="connsiteY87" fmla="*/ 76262 h 987380"/>
                <a:gd name="connsiteX88" fmla="*/ 315109 w 835192"/>
                <a:gd name="connsiteY88" fmla="*/ 77005 h 987380"/>
                <a:gd name="connsiteX89" fmla="*/ 319285 w 835192"/>
                <a:gd name="connsiteY89" fmla="*/ 108649 h 987380"/>
                <a:gd name="connsiteX90" fmla="*/ 342132 w 835192"/>
                <a:gd name="connsiteY90" fmla="*/ 102469 h 987380"/>
                <a:gd name="connsiteX91" fmla="*/ 353899 w 835192"/>
                <a:gd name="connsiteY91" fmla="*/ 117595 h 987380"/>
                <a:gd name="connsiteX92" fmla="*/ 351338 w 835192"/>
                <a:gd name="connsiteY92" fmla="*/ 144377 h 987380"/>
                <a:gd name="connsiteX93" fmla="*/ 370974 w 835192"/>
                <a:gd name="connsiteY93" fmla="*/ 160802 h 987380"/>
                <a:gd name="connsiteX94" fmla="*/ 377897 w 835192"/>
                <a:gd name="connsiteY94" fmla="*/ 177562 h 987380"/>
                <a:gd name="connsiteX95" fmla="*/ 397069 w 835192"/>
                <a:gd name="connsiteY95" fmla="*/ 180475 h 987380"/>
                <a:gd name="connsiteX96" fmla="*/ 407333 w 835192"/>
                <a:gd name="connsiteY96" fmla="*/ 175427 h 987380"/>
                <a:gd name="connsiteX97" fmla="*/ 417151 w 835192"/>
                <a:gd name="connsiteY97" fmla="*/ 210449 h 987380"/>
                <a:gd name="connsiteX98" fmla="*/ 414776 w 835192"/>
                <a:gd name="connsiteY98" fmla="*/ 232925 h 987380"/>
                <a:gd name="connsiteX99" fmla="*/ 418042 w 835192"/>
                <a:gd name="connsiteY99" fmla="*/ 258779 h 987380"/>
                <a:gd name="connsiteX100" fmla="*/ 424909 w 835192"/>
                <a:gd name="connsiteY100" fmla="*/ 264477 h 987380"/>
                <a:gd name="connsiteX101" fmla="*/ 427452 w 835192"/>
                <a:gd name="connsiteY101" fmla="*/ 312547 h 987380"/>
                <a:gd name="connsiteX102" fmla="*/ 465555 w 835192"/>
                <a:gd name="connsiteY102" fmla="*/ 332851 h 987380"/>
                <a:gd name="connsiteX103" fmla="*/ 486676 w 835192"/>
                <a:gd name="connsiteY103" fmla="*/ 315888 h 987380"/>
                <a:gd name="connsiteX104" fmla="*/ 486955 w 835192"/>
                <a:gd name="connsiteY104" fmla="*/ 296288 h 987380"/>
                <a:gd name="connsiteX105" fmla="*/ 506610 w 835192"/>
                <a:gd name="connsiteY105" fmla="*/ 291463 h 987380"/>
                <a:gd name="connsiteX106" fmla="*/ 531220 w 835192"/>
                <a:gd name="connsiteY106" fmla="*/ 269692 h 987380"/>
                <a:gd name="connsiteX107" fmla="*/ 532055 w 835192"/>
                <a:gd name="connsiteY107" fmla="*/ 248293 h 987380"/>
                <a:gd name="connsiteX108" fmla="*/ 542467 w 835192"/>
                <a:gd name="connsiteY108" fmla="*/ 260245 h 987380"/>
                <a:gd name="connsiteX109" fmla="*/ 555923 w 835192"/>
                <a:gd name="connsiteY109" fmla="*/ 253842 h 987380"/>
                <a:gd name="connsiteX110" fmla="*/ 562976 w 835192"/>
                <a:gd name="connsiteY110" fmla="*/ 271437 h 987380"/>
                <a:gd name="connsiteX111" fmla="*/ 585470 w 835192"/>
                <a:gd name="connsiteY111" fmla="*/ 236396 h 987380"/>
                <a:gd name="connsiteX112" fmla="*/ 577749 w 835192"/>
                <a:gd name="connsiteY112" fmla="*/ 214663 h 987380"/>
                <a:gd name="connsiteX113" fmla="*/ 588514 w 835192"/>
                <a:gd name="connsiteY113" fmla="*/ 196789 h 987380"/>
                <a:gd name="connsiteX114" fmla="*/ 593024 w 835192"/>
                <a:gd name="connsiteY114" fmla="*/ 166296 h 987380"/>
                <a:gd name="connsiteX115" fmla="*/ 588477 w 835192"/>
                <a:gd name="connsiteY115" fmla="*/ 148311 h 987380"/>
                <a:gd name="connsiteX116" fmla="*/ 595381 w 835192"/>
                <a:gd name="connsiteY116" fmla="*/ 127654 h 987380"/>
                <a:gd name="connsiteX117" fmla="*/ 608113 w 835192"/>
                <a:gd name="connsiteY117" fmla="*/ 106069 h 987380"/>
                <a:gd name="connsiteX118" fmla="*/ 626636 w 835192"/>
                <a:gd name="connsiteY118" fmla="*/ 104826 h 987380"/>
                <a:gd name="connsiteX119" fmla="*/ 644788 w 835192"/>
                <a:gd name="connsiteY119" fmla="*/ 95991 h 987380"/>
                <a:gd name="connsiteX120" fmla="*/ 665630 w 835192"/>
                <a:gd name="connsiteY120" fmla="*/ 98627 h 987380"/>
                <a:gd name="connsiteX121" fmla="*/ 691206 w 835192"/>
                <a:gd name="connsiteY121" fmla="*/ 114959 h 987380"/>
                <a:gd name="connsiteX122" fmla="*/ 696328 w 835192"/>
                <a:gd name="connsiteY122" fmla="*/ 131162 h 987380"/>
                <a:gd name="connsiteX123" fmla="*/ 730256 w 835192"/>
                <a:gd name="connsiteY123" fmla="*/ 119803 h 987380"/>
                <a:gd name="connsiteX124" fmla="*/ 737308 w 835192"/>
                <a:gd name="connsiteY124" fmla="*/ 99982 h 987380"/>
                <a:gd name="connsiteX125" fmla="*/ 767802 w 835192"/>
                <a:gd name="connsiteY125" fmla="*/ 104492 h 987380"/>
                <a:gd name="connsiteX126" fmla="*/ 767858 w 835192"/>
                <a:gd name="connsiteY126" fmla="*/ 115535 h 987380"/>
                <a:gd name="connsiteX127" fmla="*/ 791763 w 835192"/>
                <a:gd name="connsiteY127" fmla="*/ 132146 h 987380"/>
                <a:gd name="connsiteX128" fmla="*/ 801173 w 835192"/>
                <a:gd name="connsiteY128" fmla="*/ 148497 h 987380"/>
                <a:gd name="connsiteX129" fmla="*/ 816243 w 835192"/>
                <a:gd name="connsiteY129" fmla="*/ 146956 h 987380"/>
                <a:gd name="connsiteX130" fmla="*/ 827175 w 835192"/>
                <a:gd name="connsiteY130" fmla="*/ 162213 h 987380"/>
                <a:gd name="connsiteX131" fmla="*/ 812698 w 835192"/>
                <a:gd name="connsiteY131" fmla="*/ 178137 h 987380"/>
                <a:gd name="connsiteX132" fmla="*/ 795178 w 835192"/>
                <a:gd name="connsiteY132" fmla="*/ 174963 h 987380"/>
                <a:gd name="connsiteX133" fmla="*/ 770215 w 835192"/>
                <a:gd name="connsiteY133" fmla="*/ 189143 h 987380"/>
                <a:gd name="connsiteX134" fmla="*/ 766819 w 835192"/>
                <a:gd name="connsiteY134" fmla="*/ 199889 h 987380"/>
                <a:gd name="connsiteX135" fmla="*/ 782186 w 835192"/>
                <a:gd name="connsiteY135" fmla="*/ 232313 h 987380"/>
                <a:gd name="connsiteX136" fmla="*/ 775764 w 835192"/>
                <a:gd name="connsiteY136" fmla="*/ 240126 h 987380"/>
                <a:gd name="connsiteX137" fmla="*/ 834061 w 835192"/>
                <a:gd name="connsiteY137" fmla="*/ 275075 h 987380"/>
                <a:gd name="connsiteX138" fmla="*/ 833133 w 835192"/>
                <a:gd name="connsiteY138" fmla="*/ 290535 h 987380"/>
                <a:gd name="connsiteX139" fmla="*/ 823909 w 835192"/>
                <a:gd name="connsiteY139" fmla="*/ 286043 h 987380"/>
                <a:gd name="connsiteX140" fmla="*/ 813756 w 835192"/>
                <a:gd name="connsiteY140" fmla="*/ 313178 h 987380"/>
                <a:gd name="connsiteX141" fmla="*/ 792450 w 835192"/>
                <a:gd name="connsiteY141" fmla="*/ 318263 h 987380"/>
                <a:gd name="connsiteX142" fmla="*/ 785211 w 835192"/>
                <a:gd name="connsiteY142" fmla="*/ 326225 h 987380"/>
                <a:gd name="connsiteX143" fmla="*/ 763237 w 835192"/>
                <a:gd name="connsiteY143" fmla="*/ 327172 h 987380"/>
                <a:gd name="connsiteX144" fmla="*/ 774614 w 835192"/>
                <a:gd name="connsiteY144" fmla="*/ 302395 h 987380"/>
                <a:gd name="connsiteX145" fmla="*/ 756629 w 835192"/>
                <a:gd name="connsiteY145" fmla="*/ 306960 h 987380"/>
                <a:gd name="connsiteX146" fmla="*/ 747776 w 835192"/>
                <a:gd name="connsiteY146" fmla="*/ 326225 h 987380"/>
                <a:gd name="connsiteX147" fmla="*/ 733633 w 835192"/>
                <a:gd name="connsiteY147" fmla="*/ 333575 h 987380"/>
                <a:gd name="connsiteX148" fmla="*/ 739740 w 835192"/>
                <a:gd name="connsiteY148" fmla="*/ 366630 h 987380"/>
                <a:gd name="connsiteX149" fmla="*/ 716392 w 835192"/>
                <a:gd name="connsiteY149" fmla="*/ 385654 h 987380"/>
                <a:gd name="connsiteX150" fmla="*/ 716577 w 835192"/>
                <a:gd name="connsiteY150" fmla="*/ 397514 h 987380"/>
                <a:gd name="connsiteX151" fmla="*/ 694045 w 835192"/>
                <a:gd name="connsiteY151" fmla="*/ 400260 h 987380"/>
                <a:gd name="connsiteX152" fmla="*/ 688329 w 835192"/>
                <a:gd name="connsiteY152" fmla="*/ 407127 h 987380"/>
                <a:gd name="connsiteX153" fmla="*/ 661361 w 835192"/>
                <a:gd name="connsiteY153" fmla="*/ 413957 h 987380"/>
                <a:gd name="connsiteX154" fmla="*/ 649279 w 835192"/>
                <a:gd name="connsiteY154" fmla="*/ 402283 h 987380"/>
                <a:gd name="connsiteX155" fmla="*/ 644361 w 835192"/>
                <a:gd name="connsiteY155" fmla="*/ 414106 h 987380"/>
                <a:gd name="connsiteX156" fmla="*/ 618173 w 835192"/>
                <a:gd name="connsiteY156" fmla="*/ 425928 h 987380"/>
                <a:gd name="connsiteX157" fmla="*/ 597070 w 835192"/>
                <a:gd name="connsiteY157" fmla="*/ 421641 h 987380"/>
                <a:gd name="connsiteX158" fmla="*/ 601246 w 835192"/>
                <a:gd name="connsiteY158" fmla="*/ 437139 h 987380"/>
                <a:gd name="connsiteX159" fmla="*/ 595214 w 835192"/>
                <a:gd name="connsiteY159" fmla="*/ 447439 h 987380"/>
                <a:gd name="connsiteX160" fmla="*/ 570697 w 835192"/>
                <a:gd name="connsiteY160" fmla="*/ 459002 h 987380"/>
                <a:gd name="connsiteX161" fmla="*/ 548016 w 835192"/>
                <a:gd name="connsiteY161" fmla="*/ 460914 h 987380"/>
                <a:gd name="connsiteX162" fmla="*/ 542152 w 835192"/>
                <a:gd name="connsiteY162" fmla="*/ 488197 h 987380"/>
                <a:gd name="connsiteX163" fmla="*/ 530682 w 835192"/>
                <a:gd name="connsiteY163" fmla="*/ 490888 h 987380"/>
                <a:gd name="connsiteX164" fmla="*/ 507426 w 835192"/>
                <a:gd name="connsiteY164" fmla="*/ 515832 h 987380"/>
                <a:gd name="connsiteX165" fmla="*/ 512642 w 835192"/>
                <a:gd name="connsiteY165" fmla="*/ 537974 h 987380"/>
                <a:gd name="connsiteX166" fmla="*/ 523295 w 835192"/>
                <a:gd name="connsiteY166" fmla="*/ 535431 h 987380"/>
                <a:gd name="connsiteX167" fmla="*/ 551227 w 835192"/>
                <a:gd name="connsiteY167" fmla="*/ 550539 h 987380"/>
                <a:gd name="connsiteX168" fmla="*/ 540574 w 835192"/>
                <a:gd name="connsiteY168" fmla="*/ 553082 h 987380"/>
                <a:gd name="connsiteX169" fmla="*/ 544286 w 835192"/>
                <a:gd name="connsiteY169" fmla="*/ 592465 h 987380"/>
                <a:gd name="connsiteX170" fmla="*/ 558002 w 835192"/>
                <a:gd name="connsiteY170" fmla="*/ 603880 h 987380"/>
                <a:gd name="connsiteX171" fmla="*/ 574427 w 835192"/>
                <a:gd name="connsiteY171" fmla="*/ 642948 h 987380"/>
                <a:gd name="connsiteX172" fmla="*/ 572961 w 835192"/>
                <a:gd name="connsiteY172" fmla="*/ 655086 h 987380"/>
                <a:gd name="connsiteX173" fmla="*/ 594695 w 835192"/>
                <a:gd name="connsiteY173" fmla="*/ 647384 h 987380"/>
                <a:gd name="connsiteX174" fmla="*/ 593284 w 835192"/>
                <a:gd name="connsiteY174" fmla="*/ 707982 h 987380"/>
                <a:gd name="connsiteX175" fmla="*/ 596662 w 835192"/>
                <a:gd name="connsiteY175" fmla="*/ 755921 h 987380"/>
                <a:gd name="connsiteX176" fmla="*/ 538922 w 835192"/>
                <a:gd name="connsiteY176" fmla="*/ 847588 h 987380"/>
                <a:gd name="connsiteX177" fmla="*/ 531201 w 835192"/>
                <a:gd name="connsiteY177" fmla="*/ 884541 h 987380"/>
                <a:gd name="connsiteX178" fmla="*/ 510229 w 835192"/>
                <a:gd name="connsiteY178" fmla="*/ 918486 h 987380"/>
                <a:gd name="connsiteX179" fmla="*/ 491725 w 835192"/>
                <a:gd name="connsiteY179" fmla="*/ 935896 h 987380"/>
                <a:gd name="connsiteX180" fmla="*/ 499965 w 835192"/>
                <a:gd name="connsiteY180" fmla="*/ 960951 h 987380"/>
                <a:gd name="connsiteX181" fmla="*/ 480718 w 835192"/>
                <a:gd name="connsiteY181" fmla="*/ 968264 h 987380"/>
                <a:gd name="connsiteX182" fmla="*/ 465666 w 835192"/>
                <a:gd name="connsiteY182" fmla="*/ 985951 h 987380"/>
                <a:gd name="connsiteX183" fmla="*/ 458614 w 835192"/>
                <a:gd name="connsiteY183" fmla="*/ 968375 h 987380"/>
                <a:gd name="connsiteX184" fmla="*/ 443989 w 835192"/>
                <a:gd name="connsiteY184" fmla="*/ 967299 h 987380"/>
                <a:gd name="connsiteX185" fmla="*/ 434245 w 835192"/>
                <a:gd name="connsiteY185" fmla="*/ 975651 h 987380"/>
                <a:gd name="connsiteX186" fmla="*/ 421624 w 835192"/>
                <a:gd name="connsiteY186" fmla="*/ 965758 h 987380"/>
                <a:gd name="connsiteX187" fmla="*/ 418803 w 835192"/>
                <a:gd name="connsiteY187" fmla="*/ 953453 h 987380"/>
                <a:gd name="connsiteX188" fmla="*/ 391631 w 835192"/>
                <a:gd name="connsiteY188" fmla="*/ 948405 h 987380"/>
                <a:gd name="connsiteX189" fmla="*/ 374334 w 835192"/>
                <a:gd name="connsiteY189" fmla="*/ 935858 h 987380"/>
                <a:gd name="connsiteX190" fmla="*/ 341965 w 835192"/>
                <a:gd name="connsiteY190" fmla="*/ 941000 h 987380"/>
                <a:gd name="connsiteX191" fmla="*/ 314144 w 835192"/>
                <a:gd name="connsiteY191" fmla="*/ 931831 h 987380"/>
                <a:gd name="connsiteX192" fmla="*/ 263810 w 835192"/>
                <a:gd name="connsiteY192" fmla="*/ 920268 h 987380"/>
                <a:gd name="connsiteX193" fmla="*/ 245936 w 835192"/>
                <a:gd name="connsiteY193" fmla="*/ 909504 h 987380"/>
                <a:gd name="connsiteX194" fmla="*/ 236916 w 835192"/>
                <a:gd name="connsiteY194" fmla="*/ 895640 h 987380"/>
                <a:gd name="connsiteX195" fmla="*/ 220120 w 835192"/>
                <a:gd name="connsiteY195" fmla="*/ 907666 h 987380"/>
                <a:gd name="connsiteX196" fmla="*/ 215591 w 835192"/>
                <a:gd name="connsiteY196" fmla="*/ 921994 h 987380"/>
                <a:gd name="connsiteX197" fmla="*/ 201319 w 835192"/>
                <a:gd name="connsiteY197" fmla="*/ 928509 h 987380"/>
                <a:gd name="connsiteX198" fmla="*/ 199147 w 835192"/>
                <a:gd name="connsiteY198" fmla="*/ 941612 h 987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835192" h="987380">
                  <a:moveTo>
                    <a:pt x="199147" y="941612"/>
                  </a:moveTo>
                  <a:lnTo>
                    <a:pt x="186081" y="934337"/>
                  </a:lnTo>
                  <a:lnTo>
                    <a:pt x="168523" y="936285"/>
                  </a:lnTo>
                  <a:lnTo>
                    <a:pt x="150502" y="945955"/>
                  </a:lnTo>
                  <a:lnTo>
                    <a:pt x="146567" y="937232"/>
                  </a:lnTo>
                  <a:lnTo>
                    <a:pt x="129733" y="933093"/>
                  </a:lnTo>
                  <a:lnTo>
                    <a:pt x="111619" y="936824"/>
                  </a:lnTo>
                  <a:lnTo>
                    <a:pt x="93486" y="924407"/>
                  </a:lnTo>
                  <a:lnTo>
                    <a:pt x="69191" y="921475"/>
                  </a:lnTo>
                  <a:lnTo>
                    <a:pt x="62083" y="930253"/>
                  </a:lnTo>
                  <a:lnTo>
                    <a:pt x="52561" y="929214"/>
                  </a:lnTo>
                  <a:lnTo>
                    <a:pt x="25241" y="907202"/>
                  </a:lnTo>
                  <a:lnTo>
                    <a:pt x="2784" y="899723"/>
                  </a:lnTo>
                  <a:lnTo>
                    <a:pt x="15145" y="870547"/>
                  </a:lnTo>
                  <a:lnTo>
                    <a:pt x="39477" y="868375"/>
                  </a:lnTo>
                  <a:lnTo>
                    <a:pt x="37083" y="837287"/>
                  </a:lnTo>
                  <a:lnTo>
                    <a:pt x="29380" y="831701"/>
                  </a:lnTo>
                  <a:lnTo>
                    <a:pt x="30642" y="812789"/>
                  </a:lnTo>
                  <a:lnTo>
                    <a:pt x="38846" y="805532"/>
                  </a:lnTo>
                  <a:lnTo>
                    <a:pt x="22476" y="777525"/>
                  </a:lnTo>
                  <a:lnTo>
                    <a:pt x="31960" y="746252"/>
                  </a:lnTo>
                  <a:lnTo>
                    <a:pt x="42317" y="747161"/>
                  </a:lnTo>
                  <a:lnTo>
                    <a:pt x="48887" y="735060"/>
                  </a:lnTo>
                  <a:lnTo>
                    <a:pt x="45694" y="720250"/>
                  </a:lnTo>
                  <a:lnTo>
                    <a:pt x="57034" y="716760"/>
                  </a:lnTo>
                  <a:lnTo>
                    <a:pt x="44952" y="688902"/>
                  </a:lnTo>
                  <a:lnTo>
                    <a:pt x="31552" y="690183"/>
                  </a:lnTo>
                  <a:lnTo>
                    <a:pt x="34818" y="678620"/>
                  </a:lnTo>
                  <a:lnTo>
                    <a:pt x="21567" y="675613"/>
                  </a:lnTo>
                  <a:lnTo>
                    <a:pt x="29492" y="613122"/>
                  </a:lnTo>
                  <a:lnTo>
                    <a:pt x="65349" y="603174"/>
                  </a:lnTo>
                  <a:lnTo>
                    <a:pt x="74295" y="605995"/>
                  </a:lnTo>
                  <a:lnTo>
                    <a:pt x="91927" y="593839"/>
                  </a:lnTo>
                  <a:lnTo>
                    <a:pt x="96530" y="569303"/>
                  </a:lnTo>
                  <a:lnTo>
                    <a:pt x="109540" y="565535"/>
                  </a:lnTo>
                  <a:lnTo>
                    <a:pt x="139403" y="598200"/>
                  </a:lnTo>
                  <a:lnTo>
                    <a:pt x="155402" y="602450"/>
                  </a:lnTo>
                  <a:lnTo>
                    <a:pt x="161712" y="588698"/>
                  </a:lnTo>
                  <a:lnTo>
                    <a:pt x="147235" y="567187"/>
                  </a:lnTo>
                  <a:lnTo>
                    <a:pt x="158241" y="556088"/>
                  </a:lnTo>
                  <a:lnTo>
                    <a:pt x="153471" y="547476"/>
                  </a:lnTo>
                  <a:lnTo>
                    <a:pt x="167243" y="532536"/>
                  </a:lnTo>
                  <a:lnTo>
                    <a:pt x="170973" y="513234"/>
                  </a:lnTo>
                  <a:lnTo>
                    <a:pt x="185431" y="502432"/>
                  </a:lnTo>
                  <a:lnTo>
                    <a:pt x="193171" y="481645"/>
                  </a:lnTo>
                  <a:lnTo>
                    <a:pt x="179307" y="453230"/>
                  </a:lnTo>
                  <a:lnTo>
                    <a:pt x="196437" y="432647"/>
                  </a:lnTo>
                  <a:lnTo>
                    <a:pt x="230977" y="451819"/>
                  </a:lnTo>
                  <a:lnTo>
                    <a:pt x="242187" y="447476"/>
                  </a:lnTo>
                  <a:lnTo>
                    <a:pt x="273869" y="459447"/>
                  </a:lnTo>
                  <a:lnTo>
                    <a:pt x="285859" y="443932"/>
                  </a:lnTo>
                  <a:lnTo>
                    <a:pt x="278305" y="439180"/>
                  </a:lnTo>
                  <a:lnTo>
                    <a:pt x="292206" y="408909"/>
                  </a:lnTo>
                  <a:lnTo>
                    <a:pt x="274129" y="386266"/>
                  </a:lnTo>
                  <a:lnTo>
                    <a:pt x="267187" y="390776"/>
                  </a:lnTo>
                  <a:lnTo>
                    <a:pt x="253212" y="377692"/>
                  </a:lnTo>
                  <a:lnTo>
                    <a:pt x="257035" y="364329"/>
                  </a:lnTo>
                  <a:lnTo>
                    <a:pt x="270603" y="358761"/>
                  </a:lnTo>
                  <a:lnTo>
                    <a:pt x="261323" y="327079"/>
                  </a:lnTo>
                  <a:lnTo>
                    <a:pt x="237659" y="333389"/>
                  </a:lnTo>
                  <a:lnTo>
                    <a:pt x="226077" y="330141"/>
                  </a:lnTo>
                  <a:lnTo>
                    <a:pt x="205550" y="302784"/>
                  </a:lnTo>
                  <a:lnTo>
                    <a:pt x="208538" y="273386"/>
                  </a:lnTo>
                  <a:lnTo>
                    <a:pt x="201708" y="262565"/>
                  </a:lnTo>
                  <a:lnTo>
                    <a:pt x="232406" y="220268"/>
                  </a:lnTo>
                  <a:lnTo>
                    <a:pt x="225855" y="211118"/>
                  </a:lnTo>
                  <a:lnTo>
                    <a:pt x="236786" y="188957"/>
                  </a:lnTo>
                  <a:lnTo>
                    <a:pt x="227785" y="175093"/>
                  </a:lnTo>
                  <a:lnTo>
                    <a:pt x="231200" y="143077"/>
                  </a:lnTo>
                  <a:lnTo>
                    <a:pt x="218227" y="141741"/>
                  </a:lnTo>
                  <a:lnTo>
                    <a:pt x="193783" y="121808"/>
                  </a:lnTo>
                  <a:lnTo>
                    <a:pt x="195157" y="103731"/>
                  </a:lnTo>
                  <a:lnTo>
                    <a:pt x="203397" y="91370"/>
                  </a:lnTo>
                  <a:lnTo>
                    <a:pt x="192521" y="87157"/>
                  </a:lnTo>
                  <a:lnTo>
                    <a:pt x="189570" y="57851"/>
                  </a:lnTo>
                  <a:lnTo>
                    <a:pt x="183705" y="47736"/>
                  </a:lnTo>
                  <a:lnTo>
                    <a:pt x="213828" y="44636"/>
                  </a:lnTo>
                  <a:lnTo>
                    <a:pt x="212937" y="33723"/>
                  </a:lnTo>
                  <a:lnTo>
                    <a:pt x="231979" y="19636"/>
                  </a:lnTo>
                  <a:lnTo>
                    <a:pt x="216278" y="11934"/>
                  </a:lnTo>
                  <a:lnTo>
                    <a:pt x="230996" y="2784"/>
                  </a:lnTo>
                  <a:lnTo>
                    <a:pt x="246902" y="17261"/>
                  </a:lnTo>
                  <a:lnTo>
                    <a:pt x="251504" y="30141"/>
                  </a:lnTo>
                  <a:lnTo>
                    <a:pt x="239032" y="37231"/>
                  </a:lnTo>
                  <a:lnTo>
                    <a:pt x="243579" y="55215"/>
                  </a:lnTo>
                  <a:lnTo>
                    <a:pt x="272013" y="41333"/>
                  </a:lnTo>
                  <a:lnTo>
                    <a:pt x="290443" y="50316"/>
                  </a:lnTo>
                  <a:lnTo>
                    <a:pt x="309040" y="76262"/>
                  </a:lnTo>
                  <a:lnTo>
                    <a:pt x="315109" y="77005"/>
                  </a:lnTo>
                  <a:lnTo>
                    <a:pt x="319285" y="108649"/>
                  </a:lnTo>
                  <a:lnTo>
                    <a:pt x="342132" y="102469"/>
                  </a:lnTo>
                  <a:lnTo>
                    <a:pt x="353899" y="117595"/>
                  </a:lnTo>
                  <a:lnTo>
                    <a:pt x="351338" y="144377"/>
                  </a:lnTo>
                  <a:lnTo>
                    <a:pt x="370974" y="160802"/>
                  </a:lnTo>
                  <a:lnTo>
                    <a:pt x="377897" y="177562"/>
                  </a:lnTo>
                  <a:lnTo>
                    <a:pt x="397069" y="180475"/>
                  </a:lnTo>
                  <a:lnTo>
                    <a:pt x="407333" y="175427"/>
                  </a:lnTo>
                  <a:lnTo>
                    <a:pt x="417151" y="210449"/>
                  </a:lnTo>
                  <a:lnTo>
                    <a:pt x="414776" y="232925"/>
                  </a:lnTo>
                  <a:lnTo>
                    <a:pt x="418042" y="258779"/>
                  </a:lnTo>
                  <a:lnTo>
                    <a:pt x="424909" y="264477"/>
                  </a:lnTo>
                  <a:lnTo>
                    <a:pt x="427452" y="312547"/>
                  </a:lnTo>
                  <a:lnTo>
                    <a:pt x="465555" y="332851"/>
                  </a:lnTo>
                  <a:lnTo>
                    <a:pt x="486676" y="315888"/>
                  </a:lnTo>
                  <a:lnTo>
                    <a:pt x="486955" y="296288"/>
                  </a:lnTo>
                  <a:lnTo>
                    <a:pt x="506610" y="291463"/>
                  </a:lnTo>
                  <a:lnTo>
                    <a:pt x="531220" y="269692"/>
                  </a:lnTo>
                  <a:lnTo>
                    <a:pt x="532055" y="248293"/>
                  </a:lnTo>
                  <a:lnTo>
                    <a:pt x="542467" y="260245"/>
                  </a:lnTo>
                  <a:lnTo>
                    <a:pt x="555923" y="253842"/>
                  </a:lnTo>
                  <a:lnTo>
                    <a:pt x="562976" y="271437"/>
                  </a:lnTo>
                  <a:lnTo>
                    <a:pt x="585470" y="236396"/>
                  </a:lnTo>
                  <a:lnTo>
                    <a:pt x="577749" y="214663"/>
                  </a:lnTo>
                  <a:lnTo>
                    <a:pt x="588514" y="196789"/>
                  </a:lnTo>
                  <a:lnTo>
                    <a:pt x="593024" y="166296"/>
                  </a:lnTo>
                  <a:lnTo>
                    <a:pt x="588477" y="148311"/>
                  </a:lnTo>
                  <a:lnTo>
                    <a:pt x="595381" y="127654"/>
                  </a:lnTo>
                  <a:lnTo>
                    <a:pt x="608113" y="106069"/>
                  </a:lnTo>
                  <a:lnTo>
                    <a:pt x="626636" y="104826"/>
                  </a:lnTo>
                  <a:lnTo>
                    <a:pt x="644788" y="95991"/>
                  </a:lnTo>
                  <a:lnTo>
                    <a:pt x="665630" y="98627"/>
                  </a:lnTo>
                  <a:lnTo>
                    <a:pt x="691206" y="114959"/>
                  </a:lnTo>
                  <a:lnTo>
                    <a:pt x="696328" y="131162"/>
                  </a:lnTo>
                  <a:lnTo>
                    <a:pt x="730256" y="119803"/>
                  </a:lnTo>
                  <a:lnTo>
                    <a:pt x="737308" y="99982"/>
                  </a:lnTo>
                  <a:lnTo>
                    <a:pt x="767802" y="104492"/>
                  </a:lnTo>
                  <a:lnTo>
                    <a:pt x="767858" y="115535"/>
                  </a:lnTo>
                  <a:lnTo>
                    <a:pt x="791763" y="132146"/>
                  </a:lnTo>
                  <a:lnTo>
                    <a:pt x="801173" y="148497"/>
                  </a:lnTo>
                  <a:lnTo>
                    <a:pt x="816243" y="146956"/>
                  </a:lnTo>
                  <a:lnTo>
                    <a:pt x="827175" y="162213"/>
                  </a:lnTo>
                  <a:lnTo>
                    <a:pt x="812698" y="178137"/>
                  </a:lnTo>
                  <a:lnTo>
                    <a:pt x="795178" y="174963"/>
                  </a:lnTo>
                  <a:lnTo>
                    <a:pt x="770215" y="189143"/>
                  </a:lnTo>
                  <a:lnTo>
                    <a:pt x="766819" y="199889"/>
                  </a:lnTo>
                  <a:lnTo>
                    <a:pt x="782186" y="232313"/>
                  </a:lnTo>
                  <a:lnTo>
                    <a:pt x="775764" y="240126"/>
                  </a:lnTo>
                  <a:lnTo>
                    <a:pt x="834061" y="275075"/>
                  </a:lnTo>
                  <a:lnTo>
                    <a:pt x="833133" y="290535"/>
                  </a:lnTo>
                  <a:lnTo>
                    <a:pt x="823909" y="286043"/>
                  </a:lnTo>
                  <a:lnTo>
                    <a:pt x="813756" y="313178"/>
                  </a:lnTo>
                  <a:lnTo>
                    <a:pt x="792450" y="318263"/>
                  </a:lnTo>
                  <a:lnTo>
                    <a:pt x="785211" y="326225"/>
                  </a:lnTo>
                  <a:lnTo>
                    <a:pt x="763237" y="327172"/>
                  </a:lnTo>
                  <a:lnTo>
                    <a:pt x="774614" y="302395"/>
                  </a:lnTo>
                  <a:lnTo>
                    <a:pt x="756629" y="306960"/>
                  </a:lnTo>
                  <a:lnTo>
                    <a:pt x="747776" y="326225"/>
                  </a:lnTo>
                  <a:lnTo>
                    <a:pt x="733633" y="333575"/>
                  </a:lnTo>
                  <a:lnTo>
                    <a:pt x="739740" y="366630"/>
                  </a:lnTo>
                  <a:lnTo>
                    <a:pt x="716392" y="385654"/>
                  </a:lnTo>
                  <a:lnTo>
                    <a:pt x="716577" y="397514"/>
                  </a:lnTo>
                  <a:lnTo>
                    <a:pt x="694045" y="400260"/>
                  </a:lnTo>
                  <a:lnTo>
                    <a:pt x="688329" y="407127"/>
                  </a:lnTo>
                  <a:lnTo>
                    <a:pt x="661361" y="413957"/>
                  </a:lnTo>
                  <a:lnTo>
                    <a:pt x="649279" y="402283"/>
                  </a:lnTo>
                  <a:lnTo>
                    <a:pt x="644361" y="414106"/>
                  </a:lnTo>
                  <a:lnTo>
                    <a:pt x="618173" y="425928"/>
                  </a:lnTo>
                  <a:lnTo>
                    <a:pt x="597070" y="421641"/>
                  </a:lnTo>
                  <a:lnTo>
                    <a:pt x="601246" y="437139"/>
                  </a:lnTo>
                  <a:lnTo>
                    <a:pt x="595214" y="447439"/>
                  </a:lnTo>
                  <a:lnTo>
                    <a:pt x="570697" y="459002"/>
                  </a:lnTo>
                  <a:lnTo>
                    <a:pt x="548016" y="460914"/>
                  </a:lnTo>
                  <a:lnTo>
                    <a:pt x="542152" y="488197"/>
                  </a:lnTo>
                  <a:lnTo>
                    <a:pt x="530682" y="490888"/>
                  </a:lnTo>
                  <a:lnTo>
                    <a:pt x="507426" y="515832"/>
                  </a:lnTo>
                  <a:lnTo>
                    <a:pt x="512642" y="537974"/>
                  </a:lnTo>
                  <a:lnTo>
                    <a:pt x="523295" y="535431"/>
                  </a:lnTo>
                  <a:lnTo>
                    <a:pt x="551227" y="550539"/>
                  </a:lnTo>
                  <a:lnTo>
                    <a:pt x="540574" y="553082"/>
                  </a:lnTo>
                  <a:lnTo>
                    <a:pt x="544286" y="592465"/>
                  </a:lnTo>
                  <a:lnTo>
                    <a:pt x="558002" y="603880"/>
                  </a:lnTo>
                  <a:lnTo>
                    <a:pt x="574427" y="642948"/>
                  </a:lnTo>
                  <a:lnTo>
                    <a:pt x="572961" y="655086"/>
                  </a:lnTo>
                  <a:lnTo>
                    <a:pt x="594695" y="647384"/>
                  </a:lnTo>
                  <a:lnTo>
                    <a:pt x="593284" y="707982"/>
                  </a:lnTo>
                  <a:lnTo>
                    <a:pt x="596662" y="755921"/>
                  </a:lnTo>
                  <a:lnTo>
                    <a:pt x="538922" y="847588"/>
                  </a:lnTo>
                  <a:lnTo>
                    <a:pt x="531201" y="884541"/>
                  </a:lnTo>
                  <a:lnTo>
                    <a:pt x="510229" y="918486"/>
                  </a:lnTo>
                  <a:lnTo>
                    <a:pt x="491725" y="935896"/>
                  </a:lnTo>
                  <a:lnTo>
                    <a:pt x="499965" y="960951"/>
                  </a:lnTo>
                  <a:lnTo>
                    <a:pt x="480718" y="968264"/>
                  </a:lnTo>
                  <a:lnTo>
                    <a:pt x="465666" y="985951"/>
                  </a:lnTo>
                  <a:lnTo>
                    <a:pt x="458614" y="968375"/>
                  </a:lnTo>
                  <a:lnTo>
                    <a:pt x="443989" y="967299"/>
                  </a:lnTo>
                  <a:lnTo>
                    <a:pt x="434245" y="975651"/>
                  </a:lnTo>
                  <a:lnTo>
                    <a:pt x="421624" y="965758"/>
                  </a:lnTo>
                  <a:lnTo>
                    <a:pt x="418803" y="953453"/>
                  </a:lnTo>
                  <a:lnTo>
                    <a:pt x="391631" y="948405"/>
                  </a:lnTo>
                  <a:lnTo>
                    <a:pt x="374334" y="935858"/>
                  </a:lnTo>
                  <a:lnTo>
                    <a:pt x="341965" y="941000"/>
                  </a:lnTo>
                  <a:lnTo>
                    <a:pt x="314144" y="931831"/>
                  </a:lnTo>
                  <a:lnTo>
                    <a:pt x="263810" y="920268"/>
                  </a:lnTo>
                  <a:lnTo>
                    <a:pt x="245936" y="909504"/>
                  </a:lnTo>
                  <a:lnTo>
                    <a:pt x="236916" y="895640"/>
                  </a:lnTo>
                  <a:lnTo>
                    <a:pt x="220120" y="907666"/>
                  </a:lnTo>
                  <a:lnTo>
                    <a:pt x="215591" y="921994"/>
                  </a:lnTo>
                  <a:lnTo>
                    <a:pt x="201319" y="928509"/>
                  </a:lnTo>
                  <a:lnTo>
                    <a:pt x="199147" y="941612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: Shape 222">
              <a:extLst>
                <a:ext uri="{FF2B5EF4-FFF2-40B4-BE49-F238E27FC236}">
                  <a16:creationId xmlns:a16="http://schemas.microsoft.com/office/drawing/2014/main" id="{CC8121A9-768F-441F-A14B-B762193645F9}"/>
                </a:ext>
              </a:extLst>
            </p:cNvPr>
            <p:cNvSpPr/>
            <p:nvPr/>
          </p:nvSpPr>
          <p:spPr>
            <a:xfrm>
              <a:off x="2806860" y="5243404"/>
              <a:ext cx="998519" cy="634745"/>
            </a:xfrm>
            <a:custGeom>
              <a:avLst/>
              <a:gdLst>
                <a:gd name="connsiteX0" fmla="*/ 935063 w 998519"/>
                <a:gd name="connsiteY0" fmla="*/ 373478 h 634744"/>
                <a:gd name="connsiteX1" fmla="*/ 940984 w 998519"/>
                <a:gd name="connsiteY1" fmla="*/ 394655 h 634744"/>
                <a:gd name="connsiteX2" fmla="*/ 977862 w 998519"/>
                <a:gd name="connsiteY2" fmla="*/ 412602 h 634744"/>
                <a:gd name="connsiteX3" fmla="*/ 997313 w 998519"/>
                <a:gd name="connsiteY3" fmla="*/ 417168 h 634744"/>
                <a:gd name="connsiteX4" fmla="*/ 987903 w 998519"/>
                <a:gd name="connsiteY4" fmla="*/ 438215 h 634744"/>
                <a:gd name="connsiteX5" fmla="*/ 935008 w 998519"/>
                <a:gd name="connsiteY5" fmla="*/ 474703 h 634744"/>
                <a:gd name="connsiteX6" fmla="*/ 924484 w 998519"/>
                <a:gd name="connsiteY6" fmla="*/ 478063 h 634744"/>
                <a:gd name="connsiteX7" fmla="*/ 904031 w 998519"/>
                <a:gd name="connsiteY7" fmla="*/ 461767 h 634744"/>
                <a:gd name="connsiteX8" fmla="*/ 889926 w 998519"/>
                <a:gd name="connsiteY8" fmla="*/ 464013 h 634744"/>
                <a:gd name="connsiteX9" fmla="*/ 861418 w 998519"/>
                <a:gd name="connsiteY9" fmla="*/ 488104 h 634744"/>
                <a:gd name="connsiteX10" fmla="*/ 850950 w 998519"/>
                <a:gd name="connsiteY10" fmla="*/ 502525 h 634744"/>
                <a:gd name="connsiteX11" fmla="*/ 838589 w 998519"/>
                <a:gd name="connsiteY11" fmla="*/ 494284 h 634744"/>
                <a:gd name="connsiteX12" fmla="*/ 810675 w 998519"/>
                <a:gd name="connsiteY12" fmla="*/ 495323 h 634744"/>
                <a:gd name="connsiteX13" fmla="*/ 794324 w 998519"/>
                <a:gd name="connsiteY13" fmla="*/ 483464 h 634744"/>
                <a:gd name="connsiteX14" fmla="*/ 772034 w 998519"/>
                <a:gd name="connsiteY14" fmla="*/ 492966 h 634744"/>
                <a:gd name="connsiteX15" fmla="*/ 739573 w 998519"/>
                <a:gd name="connsiteY15" fmla="*/ 492187 h 634744"/>
                <a:gd name="connsiteX16" fmla="*/ 732353 w 998519"/>
                <a:gd name="connsiteY16" fmla="*/ 478861 h 634744"/>
                <a:gd name="connsiteX17" fmla="*/ 717690 w 998519"/>
                <a:gd name="connsiteY17" fmla="*/ 482907 h 634744"/>
                <a:gd name="connsiteX18" fmla="*/ 651580 w 998519"/>
                <a:gd name="connsiteY18" fmla="*/ 473850 h 634744"/>
                <a:gd name="connsiteX19" fmla="*/ 645326 w 998519"/>
                <a:gd name="connsiteY19" fmla="*/ 498664 h 634744"/>
                <a:gd name="connsiteX20" fmla="*/ 635897 w 998519"/>
                <a:gd name="connsiteY20" fmla="*/ 503564 h 634744"/>
                <a:gd name="connsiteX21" fmla="*/ 637308 w 998519"/>
                <a:gd name="connsiteY21" fmla="*/ 517799 h 634744"/>
                <a:gd name="connsiteX22" fmla="*/ 625058 w 998519"/>
                <a:gd name="connsiteY22" fmla="*/ 569080 h 634744"/>
                <a:gd name="connsiteX23" fmla="*/ 605700 w 998519"/>
                <a:gd name="connsiteY23" fmla="*/ 570453 h 634744"/>
                <a:gd name="connsiteX24" fmla="*/ 580960 w 998519"/>
                <a:gd name="connsiteY24" fmla="*/ 591389 h 634744"/>
                <a:gd name="connsiteX25" fmla="*/ 579846 w 998519"/>
                <a:gd name="connsiteY25" fmla="*/ 611136 h 634744"/>
                <a:gd name="connsiteX26" fmla="*/ 557036 w 998519"/>
                <a:gd name="connsiteY26" fmla="*/ 633464 h 634744"/>
                <a:gd name="connsiteX27" fmla="*/ 539423 w 998519"/>
                <a:gd name="connsiteY27" fmla="*/ 624369 h 634744"/>
                <a:gd name="connsiteX28" fmla="*/ 512641 w 998519"/>
                <a:gd name="connsiteY28" fmla="*/ 621827 h 634744"/>
                <a:gd name="connsiteX29" fmla="*/ 493933 w 998519"/>
                <a:gd name="connsiteY29" fmla="*/ 611192 h 634744"/>
                <a:gd name="connsiteX30" fmla="*/ 468562 w 998519"/>
                <a:gd name="connsiteY30" fmla="*/ 606719 h 634744"/>
                <a:gd name="connsiteX31" fmla="*/ 464998 w 998519"/>
                <a:gd name="connsiteY31" fmla="*/ 584336 h 634744"/>
                <a:gd name="connsiteX32" fmla="*/ 455997 w 998519"/>
                <a:gd name="connsiteY32" fmla="*/ 586619 h 634744"/>
                <a:gd name="connsiteX33" fmla="*/ 433632 w 998519"/>
                <a:gd name="connsiteY33" fmla="*/ 547643 h 634744"/>
                <a:gd name="connsiteX34" fmla="*/ 407982 w 998519"/>
                <a:gd name="connsiteY34" fmla="*/ 525372 h 634744"/>
                <a:gd name="connsiteX35" fmla="*/ 405829 w 998519"/>
                <a:gd name="connsiteY35" fmla="*/ 517205 h 634744"/>
                <a:gd name="connsiteX36" fmla="*/ 371976 w 998519"/>
                <a:gd name="connsiteY36" fmla="*/ 518337 h 634744"/>
                <a:gd name="connsiteX37" fmla="*/ 363754 w 998519"/>
                <a:gd name="connsiteY37" fmla="*/ 509447 h 634744"/>
                <a:gd name="connsiteX38" fmla="*/ 341835 w 998519"/>
                <a:gd name="connsiteY38" fmla="*/ 505271 h 634744"/>
                <a:gd name="connsiteX39" fmla="*/ 331126 w 998519"/>
                <a:gd name="connsiteY39" fmla="*/ 496771 h 634744"/>
                <a:gd name="connsiteX40" fmla="*/ 320027 w 998519"/>
                <a:gd name="connsiteY40" fmla="*/ 501949 h 634744"/>
                <a:gd name="connsiteX41" fmla="*/ 326727 w 998519"/>
                <a:gd name="connsiteY41" fmla="*/ 511934 h 634744"/>
                <a:gd name="connsiteX42" fmla="*/ 292670 w 998519"/>
                <a:gd name="connsiteY42" fmla="*/ 522458 h 634744"/>
                <a:gd name="connsiteX43" fmla="*/ 281070 w 998519"/>
                <a:gd name="connsiteY43" fmla="*/ 540461 h 634744"/>
                <a:gd name="connsiteX44" fmla="*/ 254697 w 998519"/>
                <a:gd name="connsiteY44" fmla="*/ 540405 h 634744"/>
                <a:gd name="connsiteX45" fmla="*/ 222124 w 998519"/>
                <a:gd name="connsiteY45" fmla="*/ 554937 h 634744"/>
                <a:gd name="connsiteX46" fmla="*/ 210543 w 998519"/>
                <a:gd name="connsiteY46" fmla="*/ 551671 h 634744"/>
                <a:gd name="connsiteX47" fmla="*/ 204195 w 998519"/>
                <a:gd name="connsiteY47" fmla="*/ 570546 h 634744"/>
                <a:gd name="connsiteX48" fmla="*/ 187473 w 998519"/>
                <a:gd name="connsiteY48" fmla="*/ 572347 h 634744"/>
                <a:gd name="connsiteX49" fmla="*/ 169414 w 998519"/>
                <a:gd name="connsiteY49" fmla="*/ 565869 h 634744"/>
                <a:gd name="connsiteX50" fmla="*/ 159800 w 998519"/>
                <a:gd name="connsiteY50" fmla="*/ 558891 h 634744"/>
                <a:gd name="connsiteX51" fmla="*/ 146548 w 998519"/>
                <a:gd name="connsiteY51" fmla="*/ 502320 h 634744"/>
                <a:gd name="connsiteX52" fmla="*/ 102673 w 998519"/>
                <a:gd name="connsiteY52" fmla="*/ 477840 h 634744"/>
                <a:gd name="connsiteX53" fmla="*/ 108371 w 998519"/>
                <a:gd name="connsiteY53" fmla="*/ 454826 h 634744"/>
                <a:gd name="connsiteX54" fmla="*/ 108037 w 998519"/>
                <a:gd name="connsiteY54" fmla="*/ 425966 h 634744"/>
                <a:gd name="connsiteX55" fmla="*/ 97105 w 998519"/>
                <a:gd name="connsiteY55" fmla="*/ 410691 h 634744"/>
                <a:gd name="connsiteX56" fmla="*/ 93152 w 998519"/>
                <a:gd name="connsiteY56" fmla="*/ 364551 h 634744"/>
                <a:gd name="connsiteX57" fmla="*/ 100260 w 998519"/>
                <a:gd name="connsiteY57" fmla="*/ 355772 h 634744"/>
                <a:gd name="connsiteX58" fmla="*/ 90795 w 998519"/>
                <a:gd name="connsiteY58" fmla="*/ 328360 h 634744"/>
                <a:gd name="connsiteX59" fmla="*/ 54102 w 998519"/>
                <a:gd name="connsiteY59" fmla="*/ 284874 h 634744"/>
                <a:gd name="connsiteX60" fmla="*/ 15572 w 998519"/>
                <a:gd name="connsiteY60" fmla="*/ 267187 h 634744"/>
                <a:gd name="connsiteX61" fmla="*/ 17613 w 998519"/>
                <a:gd name="connsiteY61" fmla="*/ 253248 h 634744"/>
                <a:gd name="connsiteX62" fmla="*/ 2784 w 998519"/>
                <a:gd name="connsiteY62" fmla="*/ 240312 h 634744"/>
                <a:gd name="connsiteX63" fmla="*/ 2988 w 998519"/>
                <a:gd name="connsiteY63" fmla="*/ 230921 h 634744"/>
                <a:gd name="connsiteX64" fmla="*/ 22791 w 998519"/>
                <a:gd name="connsiteY64" fmla="*/ 205661 h 634744"/>
                <a:gd name="connsiteX65" fmla="*/ 22661 w 998519"/>
                <a:gd name="connsiteY65" fmla="*/ 167409 h 634744"/>
                <a:gd name="connsiteX66" fmla="*/ 33779 w 998519"/>
                <a:gd name="connsiteY66" fmla="*/ 140980 h 634744"/>
                <a:gd name="connsiteX67" fmla="*/ 60022 w 998519"/>
                <a:gd name="connsiteY67" fmla="*/ 102784 h 634744"/>
                <a:gd name="connsiteX68" fmla="*/ 75037 w 998519"/>
                <a:gd name="connsiteY68" fmla="*/ 90200 h 634744"/>
                <a:gd name="connsiteX69" fmla="*/ 68597 w 998519"/>
                <a:gd name="connsiteY69" fmla="*/ 81867 h 634744"/>
                <a:gd name="connsiteX70" fmla="*/ 85468 w 998519"/>
                <a:gd name="connsiteY70" fmla="*/ 43467 h 634744"/>
                <a:gd name="connsiteX71" fmla="*/ 109466 w 998519"/>
                <a:gd name="connsiteY71" fmla="*/ 28582 h 634744"/>
                <a:gd name="connsiteX72" fmla="*/ 121771 w 998519"/>
                <a:gd name="connsiteY72" fmla="*/ 47049 h 634744"/>
                <a:gd name="connsiteX73" fmla="*/ 152710 w 998519"/>
                <a:gd name="connsiteY73" fmla="*/ 27654 h 634744"/>
                <a:gd name="connsiteX74" fmla="*/ 152042 w 998519"/>
                <a:gd name="connsiteY74" fmla="*/ 23515 h 634744"/>
                <a:gd name="connsiteX75" fmla="*/ 186174 w 998519"/>
                <a:gd name="connsiteY75" fmla="*/ 2784 h 634744"/>
                <a:gd name="connsiteX76" fmla="*/ 192039 w 998519"/>
                <a:gd name="connsiteY76" fmla="*/ 12899 h 634744"/>
                <a:gd name="connsiteX77" fmla="*/ 192280 w 998519"/>
                <a:gd name="connsiteY77" fmla="*/ 35820 h 634744"/>
                <a:gd name="connsiteX78" fmla="*/ 201077 w 998519"/>
                <a:gd name="connsiteY78" fmla="*/ 42929 h 634744"/>
                <a:gd name="connsiteX79" fmla="*/ 186916 w 998519"/>
                <a:gd name="connsiteY79" fmla="*/ 71548 h 634744"/>
                <a:gd name="connsiteX80" fmla="*/ 187102 w 998519"/>
                <a:gd name="connsiteY80" fmla="*/ 83426 h 634744"/>
                <a:gd name="connsiteX81" fmla="*/ 174184 w 998519"/>
                <a:gd name="connsiteY81" fmla="*/ 93133 h 634744"/>
                <a:gd name="connsiteX82" fmla="*/ 196196 w 998519"/>
                <a:gd name="connsiteY82" fmla="*/ 103229 h 634744"/>
                <a:gd name="connsiteX83" fmla="*/ 203212 w 998519"/>
                <a:gd name="connsiteY83" fmla="*/ 125928 h 634744"/>
                <a:gd name="connsiteX84" fmla="*/ 241074 w 998519"/>
                <a:gd name="connsiteY84" fmla="*/ 123311 h 634744"/>
                <a:gd name="connsiteX85" fmla="*/ 259819 w 998519"/>
                <a:gd name="connsiteY85" fmla="*/ 128823 h 634744"/>
                <a:gd name="connsiteX86" fmla="*/ 269693 w 998519"/>
                <a:gd name="connsiteY86" fmla="*/ 121307 h 634744"/>
                <a:gd name="connsiteX87" fmla="*/ 295194 w 998519"/>
                <a:gd name="connsiteY87" fmla="*/ 126596 h 634744"/>
                <a:gd name="connsiteX88" fmla="*/ 319675 w 998519"/>
                <a:gd name="connsiteY88" fmla="*/ 141425 h 634744"/>
                <a:gd name="connsiteX89" fmla="*/ 310692 w 998519"/>
                <a:gd name="connsiteY89" fmla="*/ 159855 h 634744"/>
                <a:gd name="connsiteX90" fmla="*/ 324129 w 998519"/>
                <a:gd name="connsiteY90" fmla="*/ 174722 h 634744"/>
                <a:gd name="connsiteX91" fmla="*/ 341464 w 998519"/>
                <a:gd name="connsiteY91" fmla="*/ 182183 h 634744"/>
                <a:gd name="connsiteX92" fmla="*/ 367132 w 998519"/>
                <a:gd name="connsiteY92" fmla="*/ 167038 h 634744"/>
                <a:gd name="connsiteX93" fmla="*/ 381423 w 998519"/>
                <a:gd name="connsiteY93" fmla="*/ 176670 h 634744"/>
                <a:gd name="connsiteX94" fmla="*/ 383892 w 998519"/>
                <a:gd name="connsiteY94" fmla="*/ 160115 h 634744"/>
                <a:gd name="connsiteX95" fmla="*/ 397570 w 998519"/>
                <a:gd name="connsiteY95" fmla="*/ 160486 h 634744"/>
                <a:gd name="connsiteX96" fmla="*/ 421475 w 998519"/>
                <a:gd name="connsiteY96" fmla="*/ 177097 h 634744"/>
                <a:gd name="connsiteX97" fmla="*/ 432537 w 998519"/>
                <a:gd name="connsiteY97" fmla="*/ 177042 h 634744"/>
                <a:gd name="connsiteX98" fmla="*/ 446661 w 998519"/>
                <a:gd name="connsiteY98" fmla="*/ 190961 h 634744"/>
                <a:gd name="connsiteX99" fmla="*/ 436750 w 998519"/>
                <a:gd name="connsiteY99" fmla="*/ 203582 h 634744"/>
                <a:gd name="connsiteX100" fmla="*/ 445380 w 998519"/>
                <a:gd name="connsiteY100" fmla="*/ 231125 h 634744"/>
                <a:gd name="connsiteX101" fmla="*/ 461249 w 998519"/>
                <a:gd name="connsiteY101" fmla="*/ 234559 h 634744"/>
                <a:gd name="connsiteX102" fmla="*/ 466279 w 998519"/>
                <a:gd name="connsiteY102" fmla="*/ 244803 h 634744"/>
                <a:gd name="connsiteX103" fmla="*/ 463031 w 998519"/>
                <a:gd name="connsiteY103" fmla="*/ 272532 h 634744"/>
                <a:gd name="connsiteX104" fmla="*/ 484338 w 998519"/>
                <a:gd name="connsiteY104" fmla="*/ 267446 h 634744"/>
                <a:gd name="connsiteX105" fmla="*/ 501988 w 998519"/>
                <a:gd name="connsiteY105" fmla="*/ 271437 h 634744"/>
                <a:gd name="connsiteX106" fmla="*/ 520028 w 998519"/>
                <a:gd name="connsiteY106" fmla="*/ 261767 h 634744"/>
                <a:gd name="connsiteX107" fmla="*/ 526376 w 998519"/>
                <a:gd name="connsiteY107" fmla="*/ 280327 h 634744"/>
                <a:gd name="connsiteX108" fmla="*/ 558094 w 998519"/>
                <a:gd name="connsiteY108" fmla="*/ 287175 h 634744"/>
                <a:gd name="connsiteX109" fmla="*/ 566706 w 998519"/>
                <a:gd name="connsiteY109" fmla="*/ 298571 h 634744"/>
                <a:gd name="connsiteX110" fmla="*/ 581480 w 998519"/>
                <a:gd name="connsiteY110" fmla="*/ 300464 h 634744"/>
                <a:gd name="connsiteX111" fmla="*/ 615054 w 998519"/>
                <a:gd name="connsiteY111" fmla="*/ 297680 h 634744"/>
                <a:gd name="connsiteX112" fmla="*/ 631666 w 998519"/>
                <a:gd name="connsiteY112" fmla="*/ 311192 h 634744"/>
                <a:gd name="connsiteX113" fmla="*/ 644416 w 998519"/>
                <a:gd name="connsiteY113" fmla="*/ 305772 h 634744"/>
                <a:gd name="connsiteX114" fmla="*/ 659004 w 998519"/>
                <a:gd name="connsiteY114" fmla="*/ 311953 h 634744"/>
                <a:gd name="connsiteX115" fmla="*/ 668247 w 998519"/>
                <a:gd name="connsiteY115" fmla="*/ 332591 h 634744"/>
                <a:gd name="connsiteX116" fmla="*/ 693656 w 998519"/>
                <a:gd name="connsiteY116" fmla="*/ 353211 h 634744"/>
                <a:gd name="connsiteX117" fmla="*/ 722590 w 998519"/>
                <a:gd name="connsiteY117" fmla="*/ 342651 h 634744"/>
                <a:gd name="connsiteX118" fmla="*/ 761250 w 998519"/>
                <a:gd name="connsiteY118" fmla="*/ 345008 h 634744"/>
                <a:gd name="connsiteX119" fmla="*/ 764814 w 998519"/>
                <a:gd name="connsiteY119" fmla="*/ 329993 h 634744"/>
                <a:gd name="connsiteX120" fmla="*/ 789387 w 998519"/>
                <a:gd name="connsiteY120" fmla="*/ 313326 h 634744"/>
                <a:gd name="connsiteX121" fmla="*/ 807799 w 998519"/>
                <a:gd name="connsiteY121" fmla="*/ 306144 h 634744"/>
                <a:gd name="connsiteX122" fmla="*/ 818136 w 998519"/>
                <a:gd name="connsiteY122" fmla="*/ 328304 h 634744"/>
                <a:gd name="connsiteX123" fmla="*/ 836715 w 998519"/>
                <a:gd name="connsiteY123" fmla="*/ 338103 h 634744"/>
                <a:gd name="connsiteX124" fmla="*/ 844788 w 998519"/>
                <a:gd name="connsiteY124" fmla="*/ 330011 h 634744"/>
                <a:gd name="connsiteX125" fmla="*/ 869770 w 998519"/>
                <a:gd name="connsiteY125" fmla="*/ 331997 h 634744"/>
                <a:gd name="connsiteX126" fmla="*/ 892116 w 998519"/>
                <a:gd name="connsiteY126" fmla="*/ 354807 h 634744"/>
                <a:gd name="connsiteX127" fmla="*/ 910267 w 998519"/>
                <a:gd name="connsiteY127" fmla="*/ 345973 h 634744"/>
                <a:gd name="connsiteX128" fmla="*/ 926749 w 998519"/>
                <a:gd name="connsiteY128" fmla="*/ 358649 h 634744"/>
                <a:gd name="connsiteX129" fmla="*/ 935063 w 998519"/>
                <a:gd name="connsiteY129" fmla="*/ 373478 h 63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998519" h="634744">
                  <a:moveTo>
                    <a:pt x="935063" y="373478"/>
                  </a:moveTo>
                  <a:lnTo>
                    <a:pt x="940984" y="394655"/>
                  </a:lnTo>
                  <a:lnTo>
                    <a:pt x="977862" y="412602"/>
                  </a:lnTo>
                  <a:lnTo>
                    <a:pt x="997313" y="417168"/>
                  </a:lnTo>
                  <a:lnTo>
                    <a:pt x="987903" y="438215"/>
                  </a:lnTo>
                  <a:lnTo>
                    <a:pt x="935008" y="474703"/>
                  </a:lnTo>
                  <a:lnTo>
                    <a:pt x="924484" y="478063"/>
                  </a:lnTo>
                  <a:lnTo>
                    <a:pt x="904031" y="461767"/>
                  </a:lnTo>
                  <a:lnTo>
                    <a:pt x="889926" y="464013"/>
                  </a:lnTo>
                  <a:lnTo>
                    <a:pt x="861418" y="488104"/>
                  </a:lnTo>
                  <a:lnTo>
                    <a:pt x="850950" y="502525"/>
                  </a:lnTo>
                  <a:lnTo>
                    <a:pt x="838589" y="494284"/>
                  </a:lnTo>
                  <a:lnTo>
                    <a:pt x="810675" y="495323"/>
                  </a:lnTo>
                  <a:lnTo>
                    <a:pt x="794324" y="483464"/>
                  </a:lnTo>
                  <a:lnTo>
                    <a:pt x="772034" y="492966"/>
                  </a:lnTo>
                  <a:lnTo>
                    <a:pt x="739573" y="492187"/>
                  </a:lnTo>
                  <a:lnTo>
                    <a:pt x="732353" y="478861"/>
                  </a:lnTo>
                  <a:lnTo>
                    <a:pt x="717690" y="482907"/>
                  </a:lnTo>
                  <a:lnTo>
                    <a:pt x="651580" y="473850"/>
                  </a:lnTo>
                  <a:lnTo>
                    <a:pt x="645326" y="498664"/>
                  </a:lnTo>
                  <a:lnTo>
                    <a:pt x="635897" y="503564"/>
                  </a:lnTo>
                  <a:lnTo>
                    <a:pt x="637308" y="517799"/>
                  </a:lnTo>
                  <a:lnTo>
                    <a:pt x="625058" y="569080"/>
                  </a:lnTo>
                  <a:lnTo>
                    <a:pt x="605700" y="570453"/>
                  </a:lnTo>
                  <a:lnTo>
                    <a:pt x="580960" y="591389"/>
                  </a:lnTo>
                  <a:lnTo>
                    <a:pt x="579846" y="611136"/>
                  </a:lnTo>
                  <a:lnTo>
                    <a:pt x="557036" y="633464"/>
                  </a:lnTo>
                  <a:lnTo>
                    <a:pt x="539423" y="624369"/>
                  </a:lnTo>
                  <a:lnTo>
                    <a:pt x="512641" y="621827"/>
                  </a:lnTo>
                  <a:lnTo>
                    <a:pt x="493933" y="611192"/>
                  </a:lnTo>
                  <a:lnTo>
                    <a:pt x="468562" y="606719"/>
                  </a:lnTo>
                  <a:lnTo>
                    <a:pt x="464998" y="584336"/>
                  </a:lnTo>
                  <a:lnTo>
                    <a:pt x="455997" y="586619"/>
                  </a:lnTo>
                  <a:lnTo>
                    <a:pt x="433632" y="547643"/>
                  </a:lnTo>
                  <a:lnTo>
                    <a:pt x="407982" y="525372"/>
                  </a:lnTo>
                  <a:lnTo>
                    <a:pt x="405829" y="517205"/>
                  </a:lnTo>
                  <a:lnTo>
                    <a:pt x="371976" y="518337"/>
                  </a:lnTo>
                  <a:lnTo>
                    <a:pt x="363754" y="509447"/>
                  </a:lnTo>
                  <a:lnTo>
                    <a:pt x="341835" y="505271"/>
                  </a:lnTo>
                  <a:lnTo>
                    <a:pt x="331126" y="496771"/>
                  </a:lnTo>
                  <a:lnTo>
                    <a:pt x="320027" y="501949"/>
                  </a:lnTo>
                  <a:lnTo>
                    <a:pt x="326727" y="511934"/>
                  </a:lnTo>
                  <a:lnTo>
                    <a:pt x="292670" y="522458"/>
                  </a:lnTo>
                  <a:lnTo>
                    <a:pt x="281070" y="540461"/>
                  </a:lnTo>
                  <a:lnTo>
                    <a:pt x="254697" y="540405"/>
                  </a:lnTo>
                  <a:lnTo>
                    <a:pt x="222124" y="554937"/>
                  </a:lnTo>
                  <a:lnTo>
                    <a:pt x="210543" y="551671"/>
                  </a:lnTo>
                  <a:lnTo>
                    <a:pt x="204195" y="570546"/>
                  </a:lnTo>
                  <a:lnTo>
                    <a:pt x="187473" y="572347"/>
                  </a:lnTo>
                  <a:lnTo>
                    <a:pt x="169414" y="565869"/>
                  </a:lnTo>
                  <a:lnTo>
                    <a:pt x="159800" y="558891"/>
                  </a:lnTo>
                  <a:lnTo>
                    <a:pt x="146548" y="502320"/>
                  </a:lnTo>
                  <a:lnTo>
                    <a:pt x="102673" y="477840"/>
                  </a:lnTo>
                  <a:lnTo>
                    <a:pt x="108371" y="454826"/>
                  </a:lnTo>
                  <a:lnTo>
                    <a:pt x="108037" y="425966"/>
                  </a:lnTo>
                  <a:lnTo>
                    <a:pt x="97105" y="410691"/>
                  </a:lnTo>
                  <a:lnTo>
                    <a:pt x="93152" y="364551"/>
                  </a:lnTo>
                  <a:lnTo>
                    <a:pt x="100260" y="355772"/>
                  </a:lnTo>
                  <a:lnTo>
                    <a:pt x="90795" y="328360"/>
                  </a:lnTo>
                  <a:lnTo>
                    <a:pt x="54102" y="284874"/>
                  </a:lnTo>
                  <a:lnTo>
                    <a:pt x="15572" y="267187"/>
                  </a:lnTo>
                  <a:lnTo>
                    <a:pt x="17613" y="253248"/>
                  </a:lnTo>
                  <a:lnTo>
                    <a:pt x="2784" y="240312"/>
                  </a:lnTo>
                  <a:lnTo>
                    <a:pt x="2988" y="230921"/>
                  </a:lnTo>
                  <a:lnTo>
                    <a:pt x="22791" y="205661"/>
                  </a:lnTo>
                  <a:lnTo>
                    <a:pt x="22661" y="167409"/>
                  </a:lnTo>
                  <a:lnTo>
                    <a:pt x="33779" y="140980"/>
                  </a:lnTo>
                  <a:lnTo>
                    <a:pt x="60022" y="102784"/>
                  </a:lnTo>
                  <a:lnTo>
                    <a:pt x="75037" y="90200"/>
                  </a:lnTo>
                  <a:lnTo>
                    <a:pt x="68597" y="81867"/>
                  </a:lnTo>
                  <a:lnTo>
                    <a:pt x="85468" y="43467"/>
                  </a:lnTo>
                  <a:lnTo>
                    <a:pt x="109466" y="28582"/>
                  </a:lnTo>
                  <a:lnTo>
                    <a:pt x="121771" y="47049"/>
                  </a:lnTo>
                  <a:lnTo>
                    <a:pt x="152710" y="27654"/>
                  </a:lnTo>
                  <a:lnTo>
                    <a:pt x="152042" y="23515"/>
                  </a:lnTo>
                  <a:lnTo>
                    <a:pt x="186174" y="2784"/>
                  </a:lnTo>
                  <a:lnTo>
                    <a:pt x="192039" y="12899"/>
                  </a:lnTo>
                  <a:lnTo>
                    <a:pt x="192280" y="35820"/>
                  </a:lnTo>
                  <a:lnTo>
                    <a:pt x="201077" y="42929"/>
                  </a:lnTo>
                  <a:lnTo>
                    <a:pt x="186916" y="71548"/>
                  </a:lnTo>
                  <a:lnTo>
                    <a:pt x="187102" y="83426"/>
                  </a:lnTo>
                  <a:lnTo>
                    <a:pt x="174184" y="93133"/>
                  </a:lnTo>
                  <a:lnTo>
                    <a:pt x="196196" y="103229"/>
                  </a:lnTo>
                  <a:lnTo>
                    <a:pt x="203212" y="125928"/>
                  </a:lnTo>
                  <a:lnTo>
                    <a:pt x="241074" y="123311"/>
                  </a:lnTo>
                  <a:lnTo>
                    <a:pt x="259819" y="128823"/>
                  </a:lnTo>
                  <a:lnTo>
                    <a:pt x="269693" y="121307"/>
                  </a:lnTo>
                  <a:lnTo>
                    <a:pt x="295194" y="126596"/>
                  </a:lnTo>
                  <a:lnTo>
                    <a:pt x="319675" y="141425"/>
                  </a:lnTo>
                  <a:lnTo>
                    <a:pt x="310692" y="159855"/>
                  </a:lnTo>
                  <a:lnTo>
                    <a:pt x="324129" y="174722"/>
                  </a:lnTo>
                  <a:lnTo>
                    <a:pt x="341464" y="182183"/>
                  </a:lnTo>
                  <a:lnTo>
                    <a:pt x="367132" y="167038"/>
                  </a:lnTo>
                  <a:lnTo>
                    <a:pt x="381423" y="176670"/>
                  </a:lnTo>
                  <a:lnTo>
                    <a:pt x="383892" y="160115"/>
                  </a:lnTo>
                  <a:lnTo>
                    <a:pt x="397570" y="160486"/>
                  </a:lnTo>
                  <a:lnTo>
                    <a:pt x="421475" y="177097"/>
                  </a:lnTo>
                  <a:lnTo>
                    <a:pt x="432537" y="177042"/>
                  </a:lnTo>
                  <a:lnTo>
                    <a:pt x="446661" y="190961"/>
                  </a:lnTo>
                  <a:lnTo>
                    <a:pt x="436750" y="203582"/>
                  </a:lnTo>
                  <a:lnTo>
                    <a:pt x="445380" y="231125"/>
                  </a:lnTo>
                  <a:lnTo>
                    <a:pt x="461249" y="234559"/>
                  </a:lnTo>
                  <a:lnTo>
                    <a:pt x="466279" y="244803"/>
                  </a:lnTo>
                  <a:lnTo>
                    <a:pt x="463031" y="272532"/>
                  </a:lnTo>
                  <a:lnTo>
                    <a:pt x="484338" y="267446"/>
                  </a:lnTo>
                  <a:lnTo>
                    <a:pt x="501988" y="271437"/>
                  </a:lnTo>
                  <a:lnTo>
                    <a:pt x="520028" y="261767"/>
                  </a:lnTo>
                  <a:lnTo>
                    <a:pt x="526376" y="280327"/>
                  </a:lnTo>
                  <a:lnTo>
                    <a:pt x="558094" y="287175"/>
                  </a:lnTo>
                  <a:lnTo>
                    <a:pt x="566706" y="298571"/>
                  </a:lnTo>
                  <a:lnTo>
                    <a:pt x="581480" y="300464"/>
                  </a:lnTo>
                  <a:lnTo>
                    <a:pt x="615054" y="297680"/>
                  </a:lnTo>
                  <a:lnTo>
                    <a:pt x="631666" y="311192"/>
                  </a:lnTo>
                  <a:lnTo>
                    <a:pt x="644416" y="305772"/>
                  </a:lnTo>
                  <a:lnTo>
                    <a:pt x="659004" y="311953"/>
                  </a:lnTo>
                  <a:lnTo>
                    <a:pt x="668247" y="332591"/>
                  </a:lnTo>
                  <a:lnTo>
                    <a:pt x="693656" y="353211"/>
                  </a:lnTo>
                  <a:lnTo>
                    <a:pt x="722590" y="342651"/>
                  </a:lnTo>
                  <a:lnTo>
                    <a:pt x="761250" y="345008"/>
                  </a:lnTo>
                  <a:lnTo>
                    <a:pt x="764814" y="329993"/>
                  </a:lnTo>
                  <a:lnTo>
                    <a:pt x="789387" y="313326"/>
                  </a:lnTo>
                  <a:lnTo>
                    <a:pt x="807799" y="306144"/>
                  </a:lnTo>
                  <a:lnTo>
                    <a:pt x="818136" y="328304"/>
                  </a:lnTo>
                  <a:lnTo>
                    <a:pt x="836715" y="338103"/>
                  </a:lnTo>
                  <a:lnTo>
                    <a:pt x="844788" y="330011"/>
                  </a:lnTo>
                  <a:lnTo>
                    <a:pt x="869770" y="331997"/>
                  </a:lnTo>
                  <a:lnTo>
                    <a:pt x="892116" y="354807"/>
                  </a:lnTo>
                  <a:lnTo>
                    <a:pt x="910267" y="345973"/>
                  </a:lnTo>
                  <a:lnTo>
                    <a:pt x="926749" y="358649"/>
                  </a:lnTo>
                  <a:lnTo>
                    <a:pt x="935063" y="373478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E7F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: Shape 224">
              <a:extLst>
                <a:ext uri="{FF2B5EF4-FFF2-40B4-BE49-F238E27FC236}">
                  <a16:creationId xmlns:a16="http://schemas.microsoft.com/office/drawing/2014/main" id="{99CB2F0C-378C-4542-9FB5-B73794662321}"/>
                </a:ext>
              </a:extLst>
            </p:cNvPr>
            <p:cNvSpPr/>
            <p:nvPr/>
          </p:nvSpPr>
          <p:spPr>
            <a:xfrm>
              <a:off x="2978316" y="4757546"/>
              <a:ext cx="811065" cy="863030"/>
            </a:xfrm>
            <a:custGeom>
              <a:avLst/>
              <a:gdLst>
                <a:gd name="connsiteX0" fmla="*/ 183371 w 811065"/>
                <a:gd name="connsiteY0" fmla="*/ 292799 h 863029"/>
                <a:gd name="connsiteX1" fmla="*/ 180383 w 811065"/>
                <a:gd name="connsiteY1" fmla="*/ 322179 h 863029"/>
                <a:gd name="connsiteX2" fmla="*/ 169915 w 811065"/>
                <a:gd name="connsiteY2" fmla="*/ 336600 h 863029"/>
                <a:gd name="connsiteX3" fmla="*/ 168505 w 811065"/>
                <a:gd name="connsiteY3" fmla="*/ 359800 h 863029"/>
                <a:gd name="connsiteX4" fmla="*/ 187807 w 811065"/>
                <a:gd name="connsiteY4" fmla="*/ 363530 h 863029"/>
                <a:gd name="connsiteX5" fmla="*/ 184466 w 811065"/>
                <a:gd name="connsiteY5" fmla="*/ 385320 h 863029"/>
                <a:gd name="connsiteX6" fmla="*/ 174815 w 811065"/>
                <a:gd name="connsiteY6" fmla="*/ 383445 h 863029"/>
                <a:gd name="connsiteX7" fmla="*/ 179548 w 811065"/>
                <a:gd name="connsiteY7" fmla="*/ 397161 h 863029"/>
                <a:gd name="connsiteX8" fmla="*/ 145027 w 811065"/>
                <a:gd name="connsiteY8" fmla="*/ 415405 h 863029"/>
                <a:gd name="connsiteX9" fmla="*/ 138401 w 811065"/>
                <a:gd name="connsiteY9" fmla="*/ 432610 h 863029"/>
                <a:gd name="connsiteX10" fmla="*/ 77098 w 811065"/>
                <a:gd name="connsiteY10" fmla="*/ 448330 h 863029"/>
                <a:gd name="connsiteX11" fmla="*/ 46771 w 811065"/>
                <a:gd name="connsiteY11" fmla="*/ 476949 h 863029"/>
                <a:gd name="connsiteX12" fmla="*/ 44210 w 811065"/>
                <a:gd name="connsiteY12" fmla="*/ 487565 h 863029"/>
                <a:gd name="connsiteX13" fmla="*/ 14774 w 811065"/>
                <a:gd name="connsiteY13" fmla="*/ 489700 h 863029"/>
                <a:gd name="connsiteX14" fmla="*/ 20639 w 811065"/>
                <a:gd name="connsiteY14" fmla="*/ 499833 h 863029"/>
                <a:gd name="connsiteX15" fmla="*/ 20880 w 811065"/>
                <a:gd name="connsiteY15" fmla="*/ 522755 h 863029"/>
                <a:gd name="connsiteX16" fmla="*/ 29677 w 811065"/>
                <a:gd name="connsiteY16" fmla="*/ 529863 h 863029"/>
                <a:gd name="connsiteX17" fmla="*/ 15516 w 811065"/>
                <a:gd name="connsiteY17" fmla="*/ 558464 h 863029"/>
                <a:gd name="connsiteX18" fmla="*/ 15702 w 811065"/>
                <a:gd name="connsiteY18" fmla="*/ 570342 h 863029"/>
                <a:gd name="connsiteX19" fmla="*/ 2784 w 811065"/>
                <a:gd name="connsiteY19" fmla="*/ 580049 h 863029"/>
                <a:gd name="connsiteX20" fmla="*/ 24815 w 811065"/>
                <a:gd name="connsiteY20" fmla="*/ 590164 h 863029"/>
                <a:gd name="connsiteX21" fmla="*/ 31812 w 811065"/>
                <a:gd name="connsiteY21" fmla="*/ 612862 h 863029"/>
                <a:gd name="connsiteX22" fmla="*/ 69674 w 811065"/>
                <a:gd name="connsiteY22" fmla="*/ 610227 h 863029"/>
                <a:gd name="connsiteX23" fmla="*/ 88419 w 811065"/>
                <a:gd name="connsiteY23" fmla="*/ 615758 h 863029"/>
                <a:gd name="connsiteX24" fmla="*/ 98293 w 811065"/>
                <a:gd name="connsiteY24" fmla="*/ 608241 h 863029"/>
                <a:gd name="connsiteX25" fmla="*/ 123794 w 811065"/>
                <a:gd name="connsiteY25" fmla="*/ 613531 h 863029"/>
                <a:gd name="connsiteX26" fmla="*/ 148275 w 811065"/>
                <a:gd name="connsiteY26" fmla="*/ 628341 h 863029"/>
                <a:gd name="connsiteX27" fmla="*/ 139292 w 811065"/>
                <a:gd name="connsiteY27" fmla="*/ 646790 h 863029"/>
                <a:gd name="connsiteX28" fmla="*/ 152729 w 811065"/>
                <a:gd name="connsiteY28" fmla="*/ 661656 h 863029"/>
                <a:gd name="connsiteX29" fmla="*/ 170064 w 811065"/>
                <a:gd name="connsiteY29" fmla="*/ 669099 h 863029"/>
                <a:gd name="connsiteX30" fmla="*/ 195732 w 811065"/>
                <a:gd name="connsiteY30" fmla="*/ 653954 h 863029"/>
                <a:gd name="connsiteX31" fmla="*/ 210023 w 811065"/>
                <a:gd name="connsiteY31" fmla="*/ 663587 h 863029"/>
                <a:gd name="connsiteX32" fmla="*/ 212492 w 811065"/>
                <a:gd name="connsiteY32" fmla="*/ 647050 h 863029"/>
                <a:gd name="connsiteX33" fmla="*/ 226170 w 811065"/>
                <a:gd name="connsiteY33" fmla="*/ 647421 h 863029"/>
                <a:gd name="connsiteX34" fmla="*/ 250076 w 811065"/>
                <a:gd name="connsiteY34" fmla="*/ 664032 h 863029"/>
                <a:gd name="connsiteX35" fmla="*/ 261137 w 811065"/>
                <a:gd name="connsiteY35" fmla="*/ 663976 h 863029"/>
                <a:gd name="connsiteX36" fmla="*/ 275261 w 811065"/>
                <a:gd name="connsiteY36" fmla="*/ 677877 h 863029"/>
                <a:gd name="connsiteX37" fmla="*/ 265350 w 811065"/>
                <a:gd name="connsiteY37" fmla="*/ 690517 h 863029"/>
                <a:gd name="connsiteX38" fmla="*/ 273981 w 811065"/>
                <a:gd name="connsiteY38" fmla="*/ 718059 h 863029"/>
                <a:gd name="connsiteX39" fmla="*/ 289849 w 811065"/>
                <a:gd name="connsiteY39" fmla="*/ 721474 h 863029"/>
                <a:gd name="connsiteX40" fmla="*/ 294879 w 811065"/>
                <a:gd name="connsiteY40" fmla="*/ 731738 h 863029"/>
                <a:gd name="connsiteX41" fmla="*/ 291631 w 811065"/>
                <a:gd name="connsiteY41" fmla="*/ 759466 h 863029"/>
                <a:gd name="connsiteX42" fmla="*/ 312938 w 811065"/>
                <a:gd name="connsiteY42" fmla="*/ 754381 h 863029"/>
                <a:gd name="connsiteX43" fmla="*/ 330588 w 811065"/>
                <a:gd name="connsiteY43" fmla="*/ 758371 h 863029"/>
                <a:gd name="connsiteX44" fmla="*/ 348628 w 811065"/>
                <a:gd name="connsiteY44" fmla="*/ 748702 h 863029"/>
                <a:gd name="connsiteX45" fmla="*/ 354976 w 811065"/>
                <a:gd name="connsiteY45" fmla="*/ 767243 h 863029"/>
                <a:gd name="connsiteX46" fmla="*/ 386694 w 811065"/>
                <a:gd name="connsiteY46" fmla="*/ 774110 h 863029"/>
                <a:gd name="connsiteX47" fmla="*/ 395306 w 811065"/>
                <a:gd name="connsiteY47" fmla="*/ 785487 h 863029"/>
                <a:gd name="connsiteX48" fmla="*/ 410080 w 811065"/>
                <a:gd name="connsiteY48" fmla="*/ 787399 h 863029"/>
                <a:gd name="connsiteX49" fmla="*/ 443655 w 811065"/>
                <a:gd name="connsiteY49" fmla="*/ 784596 h 863029"/>
                <a:gd name="connsiteX50" fmla="*/ 460266 w 811065"/>
                <a:gd name="connsiteY50" fmla="*/ 798126 h 863029"/>
                <a:gd name="connsiteX51" fmla="*/ 473016 w 811065"/>
                <a:gd name="connsiteY51" fmla="*/ 792688 h 863029"/>
                <a:gd name="connsiteX52" fmla="*/ 487604 w 811065"/>
                <a:gd name="connsiteY52" fmla="*/ 798869 h 863029"/>
                <a:gd name="connsiteX53" fmla="*/ 496847 w 811065"/>
                <a:gd name="connsiteY53" fmla="*/ 819507 h 863029"/>
                <a:gd name="connsiteX54" fmla="*/ 522255 w 811065"/>
                <a:gd name="connsiteY54" fmla="*/ 840127 h 863029"/>
                <a:gd name="connsiteX55" fmla="*/ 551190 w 811065"/>
                <a:gd name="connsiteY55" fmla="*/ 829585 h 863029"/>
                <a:gd name="connsiteX56" fmla="*/ 589850 w 811065"/>
                <a:gd name="connsiteY56" fmla="*/ 831942 h 863029"/>
                <a:gd name="connsiteX57" fmla="*/ 593414 w 811065"/>
                <a:gd name="connsiteY57" fmla="*/ 816909 h 863029"/>
                <a:gd name="connsiteX58" fmla="*/ 617987 w 811065"/>
                <a:gd name="connsiteY58" fmla="*/ 800242 h 863029"/>
                <a:gd name="connsiteX59" fmla="*/ 636398 w 811065"/>
                <a:gd name="connsiteY59" fmla="*/ 793059 h 863029"/>
                <a:gd name="connsiteX60" fmla="*/ 646736 w 811065"/>
                <a:gd name="connsiteY60" fmla="*/ 815220 h 863029"/>
                <a:gd name="connsiteX61" fmla="*/ 665315 w 811065"/>
                <a:gd name="connsiteY61" fmla="*/ 825038 h 863029"/>
                <a:gd name="connsiteX62" fmla="*/ 673388 w 811065"/>
                <a:gd name="connsiteY62" fmla="*/ 816946 h 863029"/>
                <a:gd name="connsiteX63" fmla="*/ 698370 w 811065"/>
                <a:gd name="connsiteY63" fmla="*/ 818913 h 863029"/>
                <a:gd name="connsiteX64" fmla="*/ 720716 w 811065"/>
                <a:gd name="connsiteY64" fmla="*/ 841723 h 863029"/>
                <a:gd name="connsiteX65" fmla="*/ 738868 w 811065"/>
                <a:gd name="connsiteY65" fmla="*/ 832889 h 863029"/>
                <a:gd name="connsiteX66" fmla="*/ 755349 w 811065"/>
                <a:gd name="connsiteY66" fmla="*/ 845565 h 863029"/>
                <a:gd name="connsiteX67" fmla="*/ 763663 w 811065"/>
                <a:gd name="connsiteY67" fmla="*/ 860413 h 863029"/>
                <a:gd name="connsiteX68" fmla="*/ 801897 w 811065"/>
                <a:gd name="connsiteY68" fmla="*/ 790554 h 863029"/>
                <a:gd name="connsiteX69" fmla="*/ 802212 w 811065"/>
                <a:gd name="connsiteY69" fmla="*/ 765832 h 863029"/>
                <a:gd name="connsiteX70" fmla="*/ 781852 w 811065"/>
                <a:gd name="connsiteY70" fmla="*/ 755457 h 863029"/>
                <a:gd name="connsiteX71" fmla="*/ 794658 w 811065"/>
                <a:gd name="connsiteY71" fmla="*/ 723665 h 863029"/>
                <a:gd name="connsiteX72" fmla="*/ 809098 w 811065"/>
                <a:gd name="connsiteY72" fmla="*/ 712863 h 863029"/>
                <a:gd name="connsiteX73" fmla="*/ 809785 w 811065"/>
                <a:gd name="connsiteY73" fmla="*/ 695751 h 863029"/>
                <a:gd name="connsiteX74" fmla="*/ 802026 w 811065"/>
                <a:gd name="connsiteY74" fmla="*/ 679121 h 863029"/>
                <a:gd name="connsiteX75" fmla="*/ 801488 w 811065"/>
                <a:gd name="connsiteY75" fmla="*/ 659652 h 863029"/>
                <a:gd name="connsiteX76" fmla="*/ 792264 w 811065"/>
                <a:gd name="connsiteY76" fmla="*/ 655160 h 863029"/>
                <a:gd name="connsiteX77" fmla="*/ 777992 w 811065"/>
                <a:gd name="connsiteY77" fmla="*/ 661675 h 863029"/>
                <a:gd name="connsiteX78" fmla="*/ 764127 w 811065"/>
                <a:gd name="connsiteY78" fmla="*/ 649425 h 863029"/>
                <a:gd name="connsiteX79" fmla="*/ 746310 w 811065"/>
                <a:gd name="connsiteY79" fmla="*/ 649722 h 863029"/>
                <a:gd name="connsiteX80" fmla="*/ 754402 w 811065"/>
                <a:gd name="connsiteY80" fmla="*/ 620361 h 863029"/>
                <a:gd name="connsiteX81" fmla="*/ 743971 w 811065"/>
                <a:gd name="connsiteY81" fmla="*/ 592261 h 863029"/>
                <a:gd name="connsiteX82" fmla="*/ 734228 w 811065"/>
                <a:gd name="connsiteY82" fmla="*/ 584448 h 863029"/>
                <a:gd name="connsiteX83" fmla="*/ 719287 w 811065"/>
                <a:gd name="connsiteY83" fmla="*/ 586823 h 863029"/>
                <a:gd name="connsiteX84" fmla="*/ 708968 w 811065"/>
                <a:gd name="connsiteY84" fmla="*/ 564663 h 863029"/>
                <a:gd name="connsiteX85" fmla="*/ 716076 w 811065"/>
                <a:gd name="connsiteY85" fmla="*/ 555884 h 863029"/>
                <a:gd name="connsiteX86" fmla="*/ 700764 w 811065"/>
                <a:gd name="connsiteY86" fmla="*/ 534503 h 863029"/>
                <a:gd name="connsiteX87" fmla="*/ 706685 w 811065"/>
                <a:gd name="connsiteY87" fmla="*/ 518245 h 863029"/>
                <a:gd name="connsiteX88" fmla="*/ 702342 w 811065"/>
                <a:gd name="connsiteY88" fmla="*/ 507035 h 863029"/>
                <a:gd name="connsiteX89" fmla="*/ 668322 w 811065"/>
                <a:gd name="connsiteY89" fmla="*/ 475019 h 863029"/>
                <a:gd name="connsiteX90" fmla="*/ 676655 w 811065"/>
                <a:gd name="connsiteY90" fmla="*/ 452450 h 863029"/>
                <a:gd name="connsiteX91" fmla="*/ 655738 w 811065"/>
                <a:gd name="connsiteY91" fmla="*/ 422606 h 863029"/>
                <a:gd name="connsiteX92" fmla="*/ 674131 w 811065"/>
                <a:gd name="connsiteY92" fmla="*/ 420527 h 863029"/>
                <a:gd name="connsiteX93" fmla="*/ 675504 w 811065"/>
                <a:gd name="connsiteY93" fmla="*/ 402450 h 863029"/>
                <a:gd name="connsiteX94" fmla="*/ 683578 w 811065"/>
                <a:gd name="connsiteY94" fmla="*/ 394358 h 863029"/>
                <a:gd name="connsiteX95" fmla="*/ 676562 w 811065"/>
                <a:gd name="connsiteY95" fmla="*/ 371660 h 863029"/>
                <a:gd name="connsiteX96" fmla="*/ 692356 w 811065"/>
                <a:gd name="connsiteY96" fmla="*/ 364050 h 863029"/>
                <a:gd name="connsiteX97" fmla="*/ 679587 w 811065"/>
                <a:gd name="connsiteY97" fmla="*/ 353323 h 863029"/>
                <a:gd name="connsiteX98" fmla="*/ 674409 w 811065"/>
                <a:gd name="connsiteY98" fmla="*/ 326095 h 863029"/>
                <a:gd name="connsiteX99" fmla="*/ 658949 w 811065"/>
                <a:gd name="connsiteY99" fmla="*/ 325149 h 863029"/>
                <a:gd name="connsiteX100" fmla="*/ 659450 w 811065"/>
                <a:gd name="connsiteY100" fmla="*/ 312305 h 863029"/>
                <a:gd name="connsiteX101" fmla="*/ 632167 w 811065"/>
                <a:gd name="connsiteY101" fmla="*/ 322606 h 863029"/>
                <a:gd name="connsiteX102" fmla="*/ 625875 w 811065"/>
                <a:gd name="connsiteY102" fmla="*/ 315108 h 863029"/>
                <a:gd name="connsiteX103" fmla="*/ 601580 w 811065"/>
                <a:gd name="connsiteY103" fmla="*/ 312157 h 863029"/>
                <a:gd name="connsiteX104" fmla="*/ 591818 w 811065"/>
                <a:gd name="connsiteY104" fmla="*/ 288196 h 863029"/>
                <a:gd name="connsiteX105" fmla="*/ 578455 w 811065"/>
                <a:gd name="connsiteY105" fmla="*/ 284373 h 863029"/>
                <a:gd name="connsiteX106" fmla="*/ 575504 w 811065"/>
                <a:gd name="connsiteY106" fmla="*/ 271233 h 863029"/>
                <a:gd name="connsiteX107" fmla="*/ 626506 w 811065"/>
                <a:gd name="connsiteY107" fmla="*/ 212101 h 863029"/>
                <a:gd name="connsiteX108" fmla="*/ 621495 w 811065"/>
                <a:gd name="connsiteY108" fmla="*/ 180587 h 863029"/>
                <a:gd name="connsiteX109" fmla="*/ 606629 w 811065"/>
                <a:gd name="connsiteY109" fmla="*/ 172736 h 863029"/>
                <a:gd name="connsiteX110" fmla="*/ 586083 w 811065"/>
                <a:gd name="connsiteY110" fmla="*/ 150501 h 863029"/>
                <a:gd name="connsiteX111" fmla="*/ 592133 w 811065"/>
                <a:gd name="connsiteY111" fmla="*/ 135078 h 863029"/>
                <a:gd name="connsiteX112" fmla="*/ 611083 w 811065"/>
                <a:gd name="connsiteY112" fmla="*/ 131218 h 863029"/>
                <a:gd name="connsiteX113" fmla="*/ 616874 w 811065"/>
                <a:gd name="connsiteY113" fmla="*/ 114124 h 863029"/>
                <a:gd name="connsiteX114" fmla="*/ 601228 w 811065"/>
                <a:gd name="connsiteY114" fmla="*/ 101318 h 863029"/>
                <a:gd name="connsiteX115" fmla="*/ 576580 w 811065"/>
                <a:gd name="connsiteY115" fmla="*/ 90776 h 863029"/>
                <a:gd name="connsiteX116" fmla="*/ 573239 w 811065"/>
                <a:gd name="connsiteY116" fmla="*/ 75149 h 863029"/>
                <a:gd name="connsiteX117" fmla="*/ 563718 w 811065"/>
                <a:gd name="connsiteY117" fmla="*/ 74109 h 863029"/>
                <a:gd name="connsiteX118" fmla="*/ 546272 w 811065"/>
                <a:gd name="connsiteY118" fmla="*/ 98144 h 863029"/>
                <a:gd name="connsiteX119" fmla="*/ 558447 w 811065"/>
                <a:gd name="connsiteY119" fmla="*/ 94506 h 863029"/>
                <a:gd name="connsiteX120" fmla="*/ 561491 w 811065"/>
                <a:gd name="connsiteY120" fmla="*/ 113586 h 863029"/>
                <a:gd name="connsiteX121" fmla="*/ 548351 w 811065"/>
                <a:gd name="connsiteY121" fmla="*/ 116537 h 863029"/>
                <a:gd name="connsiteX122" fmla="*/ 533688 w 811065"/>
                <a:gd name="connsiteY122" fmla="*/ 99295 h 863029"/>
                <a:gd name="connsiteX123" fmla="*/ 509468 w 811065"/>
                <a:gd name="connsiteY123" fmla="*/ 107405 h 863029"/>
                <a:gd name="connsiteX124" fmla="*/ 514776 w 811065"/>
                <a:gd name="connsiteY124" fmla="*/ 135468 h 863029"/>
                <a:gd name="connsiteX125" fmla="*/ 548314 w 811065"/>
                <a:gd name="connsiteY125" fmla="*/ 159057 h 863029"/>
                <a:gd name="connsiteX126" fmla="*/ 563199 w 811065"/>
                <a:gd name="connsiteY126" fmla="*/ 161785 h 863029"/>
                <a:gd name="connsiteX127" fmla="*/ 566985 w 811065"/>
                <a:gd name="connsiteY127" fmla="*/ 190943 h 863029"/>
                <a:gd name="connsiteX128" fmla="*/ 554884 w 811065"/>
                <a:gd name="connsiteY128" fmla="*/ 184373 h 863029"/>
                <a:gd name="connsiteX129" fmla="*/ 550151 w 811065"/>
                <a:gd name="connsiteY129" fmla="*/ 170676 h 863029"/>
                <a:gd name="connsiteX130" fmla="*/ 505069 w 811065"/>
                <a:gd name="connsiteY130" fmla="*/ 159985 h 863029"/>
                <a:gd name="connsiteX131" fmla="*/ 486528 w 811065"/>
                <a:gd name="connsiteY131" fmla="*/ 145063 h 863029"/>
                <a:gd name="connsiteX132" fmla="*/ 495177 w 811065"/>
                <a:gd name="connsiteY132" fmla="*/ 135189 h 863029"/>
                <a:gd name="connsiteX133" fmla="*/ 490036 w 811065"/>
                <a:gd name="connsiteY133" fmla="*/ 119005 h 863029"/>
                <a:gd name="connsiteX134" fmla="*/ 492523 w 811065"/>
                <a:gd name="connsiteY134" fmla="*/ 102450 h 863029"/>
                <a:gd name="connsiteX135" fmla="*/ 505236 w 811065"/>
                <a:gd name="connsiteY135" fmla="*/ 80865 h 863029"/>
                <a:gd name="connsiteX136" fmla="*/ 506665 w 811065"/>
                <a:gd name="connsiteY136" fmla="*/ 57684 h 863029"/>
                <a:gd name="connsiteX137" fmla="*/ 494713 w 811065"/>
                <a:gd name="connsiteY137" fmla="*/ 30661 h 863029"/>
                <a:gd name="connsiteX138" fmla="*/ 486676 w 811065"/>
                <a:gd name="connsiteY138" fmla="*/ 33649 h 863029"/>
                <a:gd name="connsiteX139" fmla="*/ 488477 w 811065"/>
                <a:gd name="connsiteY139" fmla="*/ 12955 h 863029"/>
                <a:gd name="connsiteX140" fmla="*/ 472849 w 811065"/>
                <a:gd name="connsiteY140" fmla="*/ 16277 h 863029"/>
                <a:gd name="connsiteX141" fmla="*/ 491149 w 811065"/>
                <a:gd name="connsiteY141" fmla="*/ 45694 h 863029"/>
                <a:gd name="connsiteX142" fmla="*/ 491075 w 811065"/>
                <a:gd name="connsiteY142" fmla="*/ 72068 h 863029"/>
                <a:gd name="connsiteX143" fmla="*/ 484598 w 811065"/>
                <a:gd name="connsiteY143" fmla="*/ 90108 h 863029"/>
                <a:gd name="connsiteX144" fmla="*/ 447441 w 811065"/>
                <a:gd name="connsiteY144" fmla="*/ 107925 h 863029"/>
                <a:gd name="connsiteX145" fmla="*/ 444453 w 811065"/>
                <a:gd name="connsiteY145" fmla="*/ 121158 h 863029"/>
                <a:gd name="connsiteX146" fmla="*/ 431052 w 811065"/>
                <a:gd name="connsiteY146" fmla="*/ 138586 h 863029"/>
                <a:gd name="connsiteX147" fmla="*/ 442560 w 811065"/>
                <a:gd name="connsiteY147" fmla="*/ 152060 h 863029"/>
                <a:gd name="connsiteX148" fmla="*/ 455384 w 811065"/>
                <a:gd name="connsiteY148" fmla="*/ 211266 h 863029"/>
                <a:gd name="connsiteX149" fmla="*/ 436268 w 811065"/>
                <a:gd name="connsiteY149" fmla="*/ 235561 h 863029"/>
                <a:gd name="connsiteX150" fmla="*/ 426097 w 811065"/>
                <a:gd name="connsiteY150" fmla="*/ 267799 h 863029"/>
                <a:gd name="connsiteX151" fmla="*/ 433762 w 811065"/>
                <a:gd name="connsiteY151" fmla="*/ 294637 h 863029"/>
                <a:gd name="connsiteX152" fmla="*/ 427136 w 811065"/>
                <a:gd name="connsiteY152" fmla="*/ 311841 h 863029"/>
                <a:gd name="connsiteX153" fmla="*/ 465462 w 811065"/>
                <a:gd name="connsiteY153" fmla="*/ 322755 h 863029"/>
                <a:gd name="connsiteX154" fmla="*/ 477285 w 811065"/>
                <a:gd name="connsiteY154" fmla="*/ 311526 h 863029"/>
                <a:gd name="connsiteX155" fmla="*/ 511714 w 811065"/>
                <a:gd name="connsiteY155" fmla="*/ 324759 h 863029"/>
                <a:gd name="connsiteX156" fmla="*/ 516613 w 811065"/>
                <a:gd name="connsiteY156" fmla="*/ 334187 h 863029"/>
                <a:gd name="connsiteX157" fmla="*/ 537939 w 811065"/>
                <a:gd name="connsiteY157" fmla="*/ 345249 h 863029"/>
                <a:gd name="connsiteX158" fmla="*/ 536955 w 811065"/>
                <a:gd name="connsiteY158" fmla="*/ 365813 h 863029"/>
                <a:gd name="connsiteX159" fmla="*/ 549056 w 811065"/>
                <a:gd name="connsiteY159" fmla="*/ 393653 h 863029"/>
                <a:gd name="connsiteX160" fmla="*/ 530199 w 811065"/>
                <a:gd name="connsiteY160" fmla="*/ 403453 h 863029"/>
                <a:gd name="connsiteX161" fmla="*/ 527211 w 811065"/>
                <a:gd name="connsiteY161" fmla="*/ 432851 h 863029"/>
                <a:gd name="connsiteX162" fmla="*/ 545511 w 811065"/>
                <a:gd name="connsiteY162" fmla="*/ 440980 h 863029"/>
                <a:gd name="connsiteX163" fmla="*/ 571736 w 811065"/>
                <a:gd name="connsiteY163" fmla="*/ 445323 h 863029"/>
                <a:gd name="connsiteX164" fmla="*/ 542690 w 811065"/>
                <a:gd name="connsiteY164" fmla="*/ 449945 h 863029"/>
                <a:gd name="connsiteX165" fmla="*/ 515759 w 811065"/>
                <a:gd name="connsiteY165" fmla="*/ 430420 h 863029"/>
                <a:gd name="connsiteX166" fmla="*/ 524594 w 811065"/>
                <a:gd name="connsiteY166" fmla="*/ 394989 h 863029"/>
                <a:gd name="connsiteX167" fmla="*/ 519657 w 811065"/>
                <a:gd name="connsiteY167" fmla="*/ 390683 h 863029"/>
                <a:gd name="connsiteX168" fmla="*/ 525169 w 811065"/>
                <a:gd name="connsiteY168" fmla="*/ 371938 h 863029"/>
                <a:gd name="connsiteX169" fmla="*/ 507649 w 811065"/>
                <a:gd name="connsiteY169" fmla="*/ 352617 h 863029"/>
                <a:gd name="connsiteX170" fmla="*/ 500466 w 811065"/>
                <a:gd name="connsiteY170" fmla="*/ 334206 h 863029"/>
                <a:gd name="connsiteX171" fmla="*/ 465741 w 811065"/>
                <a:gd name="connsiteY171" fmla="*/ 340572 h 863029"/>
                <a:gd name="connsiteX172" fmla="*/ 442875 w 811065"/>
                <a:gd name="connsiteY172" fmla="*/ 351875 h 863029"/>
                <a:gd name="connsiteX173" fmla="*/ 436472 w 811065"/>
                <a:gd name="connsiteY173" fmla="*/ 375836 h 863029"/>
                <a:gd name="connsiteX174" fmla="*/ 445882 w 811065"/>
                <a:gd name="connsiteY174" fmla="*/ 392205 h 863029"/>
                <a:gd name="connsiteX175" fmla="*/ 447255 w 811065"/>
                <a:gd name="connsiteY175" fmla="*/ 411545 h 863029"/>
                <a:gd name="connsiteX176" fmla="*/ 442560 w 811065"/>
                <a:gd name="connsiteY176" fmla="*/ 430160 h 863029"/>
                <a:gd name="connsiteX177" fmla="*/ 413773 w 811065"/>
                <a:gd name="connsiteY177" fmla="*/ 457703 h 863029"/>
                <a:gd name="connsiteX178" fmla="*/ 409597 w 811065"/>
                <a:gd name="connsiteY178" fmla="*/ 479622 h 863029"/>
                <a:gd name="connsiteX179" fmla="*/ 396253 w 811065"/>
                <a:gd name="connsiteY179" fmla="*/ 491945 h 863029"/>
                <a:gd name="connsiteX180" fmla="*/ 362325 w 811065"/>
                <a:gd name="connsiteY180" fmla="*/ 503304 h 863029"/>
                <a:gd name="connsiteX181" fmla="*/ 355403 w 811065"/>
                <a:gd name="connsiteY181" fmla="*/ 523961 h 863029"/>
                <a:gd name="connsiteX182" fmla="*/ 341965 w 811065"/>
                <a:gd name="connsiteY182" fmla="*/ 530346 h 863029"/>
                <a:gd name="connsiteX183" fmla="*/ 315907 w 811065"/>
                <a:gd name="connsiteY183" fmla="*/ 516537 h 863029"/>
                <a:gd name="connsiteX184" fmla="*/ 290851 w 811065"/>
                <a:gd name="connsiteY184" fmla="*/ 514681 h 863029"/>
                <a:gd name="connsiteX185" fmla="*/ 257035 w 811065"/>
                <a:gd name="connsiteY185" fmla="*/ 484429 h 863029"/>
                <a:gd name="connsiteX186" fmla="*/ 237028 w 811065"/>
                <a:gd name="connsiteY186" fmla="*/ 471066 h 863029"/>
                <a:gd name="connsiteX187" fmla="*/ 202692 w 811065"/>
                <a:gd name="connsiteY187" fmla="*/ 457703 h 863029"/>
                <a:gd name="connsiteX188" fmla="*/ 184466 w 811065"/>
                <a:gd name="connsiteY188" fmla="*/ 484429 h 863029"/>
                <a:gd name="connsiteX189" fmla="*/ 159782 w 811065"/>
                <a:gd name="connsiteY189" fmla="*/ 491945 h 863029"/>
                <a:gd name="connsiteX190" fmla="*/ 137733 w 811065"/>
                <a:gd name="connsiteY190" fmla="*/ 521177 h 863029"/>
                <a:gd name="connsiteX191" fmla="*/ 152729 w 811065"/>
                <a:gd name="connsiteY191" fmla="*/ 487565 h 863029"/>
                <a:gd name="connsiteX192" fmla="*/ 179548 w 811065"/>
                <a:gd name="connsiteY192" fmla="*/ 476949 h 863029"/>
                <a:gd name="connsiteX193" fmla="*/ 200205 w 811065"/>
                <a:gd name="connsiteY193" fmla="*/ 445323 h 863029"/>
                <a:gd name="connsiteX194" fmla="*/ 210023 w 811065"/>
                <a:gd name="connsiteY194" fmla="*/ 452450 h 863029"/>
                <a:gd name="connsiteX195" fmla="*/ 235228 w 811065"/>
                <a:gd name="connsiteY195" fmla="*/ 460208 h 863029"/>
                <a:gd name="connsiteX196" fmla="*/ 257035 w 811065"/>
                <a:gd name="connsiteY196" fmla="*/ 460208 h 863029"/>
                <a:gd name="connsiteX197" fmla="*/ 281887 w 811065"/>
                <a:gd name="connsiteY197" fmla="*/ 473571 h 863029"/>
                <a:gd name="connsiteX198" fmla="*/ 303843 w 811065"/>
                <a:gd name="connsiteY198" fmla="*/ 499833 h 863029"/>
                <a:gd name="connsiteX199" fmla="*/ 333929 w 811065"/>
                <a:gd name="connsiteY199" fmla="*/ 495917 h 863029"/>
                <a:gd name="connsiteX200" fmla="*/ 334615 w 811065"/>
                <a:gd name="connsiteY200" fmla="*/ 478787 h 863029"/>
                <a:gd name="connsiteX201" fmla="*/ 360581 w 811065"/>
                <a:gd name="connsiteY201" fmla="*/ 460208 h 863029"/>
                <a:gd name="connsiteX202" fmla="*/ 377396 w 811065"/>
                <a:gd name="connsiteY202" fmla="*/ 426912 h 863029"/>
                <a:gd name="connsiteX203" fmla="*/ 395251 w 811065"/>
                <a:gd name="connsiteY203" fmla="*/ 421530 h 863029"/>
                <a:gd name="connsiteX204" fmla="*/ 398573 w 811065"/>
                <a:gd name="connsiteY204" fmla="*/ 383575 h 863029"/>
                <a:gd name="connsiteX205" fmla="*/ 417634 w 811065"/>
                <a:gd name="connsiteY205" fmla="*/ 364384 h 863029"/>
                <a:gd name="connsiteX206" fmla="*/ 391130 w 811065"/>
                <a:gd name="connsiteY206" fmla="*/ 326077 h 863029"/>
                <a:gd name="connsiteX207" fmla="*/ 397125 w 811065"/>
                <a:gd name="connsiteY207" fmla="*/ 299610 h 863029"/>
                <a:gd name="connsiteX208" fmla="*/ 396921 w 811065"/>
                <a:gd name="connsiteY208" fmla="*/ 271585 h 863029"/>
                <a:gd name="connsiteX209" fmla="*/ 404902 w 811065"/>
                <a:gd name="connsiteY209" fmla="*/ 257554 h 863029"/>
                <a:gd name="connsiteX210" fmla="*/ 402118 w 811065"/>
                <a:gd name="connsiteY210" fmla="*/ 223979 h 863029"/>
                <a:gd name="connsiteX211" fmla="*/ 413105 w 811065"/>
                <a:gd name="connsiteY211" fmla="*/ 212881 h 863029"/>
                <a:gd name="connsiteX212" fmla="*/ 420269 w 811065"/>
                <a:gd name="connsiteY212" fmla="*/ 177728 h 863029"/>
                <a:gd name="connsiteX213" fmla="*/ 418320 w 811065"/>
                <a:gd name="connsiteY213" fmla="*/ 160171 h 863029"/>
                <a:gd name="connsiteX214" fmla="*/ 406294 w 811065"/>
                <a:gd name="connsiteY214" fmla="*/ 143374 h 863029"/>
                <a:gd name="connsiteX215" fmla="*/ 402303 w 811065"/>
                <a:gd name="connsiteY215" fmla="*/ 123608 h 863029"/>
                <a:gd name="connsiteX216" fmla="*/ 412697 w 811065"/>
                <a:gd name="connsiteY216" fmla="*/ 119395 h 863029"/>
                <a:gd name="connsiteX217" fmla="*/ 419044 w 811065"/>
                <a:gd name="connsiteY217" fmla="*/ 100538 h 863029"/>
                <a:gd name="connsiteX218" fmla="*/ 435562 w 811065"/>
                <a:gd name="connsiteY218" fmla="*/ 70694 h 863029"/>
                <a:gd name="connsiteX219" fmla="*/ 440388 w 811065"/>
                <a:gd name="connsiteY219" fmla="*/ 36748 h 863029"/>
                <a:gd name="connsiteX220" fmla="*/ 412492 w 811065"/>
                <a:gd name="connsiteY220" fmla="*/ 16537 h 863029"/>
                <a:gd name="connsiteX221" fmla="*/ 366539 w 811065"/>
                <a:gd name="connsiteY221" fmla="*/ 11080 h 863029"/>
                <a:gd name="connsiteX222" fmla="*/ 365221 w 811065"/>
                <a:gd name="connsiteY222" fmla="*/ 2784 h 863029"/>
                <a:gd name="connsiteX223" fmla="*/ 350299 w 811065"/>
                <a:gd name="connsiteY223" fmla="*/ 21325 h 863029"/>
                <a:gd name="connsiteX224" fmla="*/ 323869 w 811065"/>
                <a:gd name="connsiteY224" fmla="*/ 85059 h 863029"/>
                <a:gd name="connsiteX225" fmla="*/ 305068 w 811065"/>
                <a:gd name="connsiteY225" fmla="*/ 105902 h 863029"/>
                <a:gd name="connsiteX226" fmla="*/ 276115 w 811065"/>
                <a:gd name="connsiteY226" fmla="*/ 116463 h 863029"/>
                <a:gd name="connsiteX227" fmla="*/ 253620 w 811065"/>
                <a:gd name="connsiteY227" fmla="*/ 151504 h 863029"/>
                <a:gd name="connsiteX228" fmla="*/ 275410 w 811065"/>
                <a:gd name="connsiteY228" fmla="*/ 154844 h 863029"/>
                <a:gd name="connsiteX229" fmla="*/ 268413 w 811065"/>
                <a:gd name="connsiteY229" fmla="*/ 185728 h 863029"/>
                <a:gd name="connsiteX230" fmla="*/ 260302 w 811065"/>
                <a:gd name="connsiteY230" fmla="*/ 198924 h 863029"/>
                <a:gd name="connsiteX231" fmla="*/ 260320 w 811065"/>
                <a:gd name="connsiteY231" fmla="*/ 215071 h 863029"/>
                <a:gd name="connsiteX232" fmla="*/ 250112 w 811065"/>
                <a:gd name="connsiteY232" fmla="*/ 214996 h 863029"/>
                <a:gd name="connsiteX233" fmla="*/ 240220 w 811065"/>
                <a:gd name="connsiteY233" fmla="*/ 243783 h 863029"/>
                <a:gd name="connsiteX234" fmla="*/ 244229 w 811065"/>
                <a:gd name="connsiteY234" fmla="*/ 263567 h 863029"/>
                <a:gd name="connsiteX235" fmla="*/ 254864 w 811065"/>
                <a:gd name="connsiteY235" fmla="*/ 244859 h 863029"/>
                <a:gd name="connsiteX236" fmla="*/ 271865 w 811065"/>
                <a:gd name="connsiteY236" fmla="*/ 260858 h 863029"/>
                <a:gd name="connsiteX237" fmla="*/ 268598 w 811065"/>
                <a:gd name="connsiteY237" fmla="*/ 272439 h 863029"/>
                <a:gd name="connsiteX238" fmla="*/ 275966 w 811065"/>
                <a:gd name="connsiteY238" fmla="*/ 302729 h 863029"/>
                <a:gd name="connsiteX239" fmla="*/ 292225 w 811065"/>
                <a:gd name="connsiteY239" fmla="*/ 308649 h 863029"/>
                <a:gd name="connsiteX240" fmla="*/ 282945 w 811065"/>
                <a:gd name="connsiteY240" fmla="*/ 330531 h 863029"/>
                <a:gd name="connsiteX241" fmla="*/ 257035 w 811065"/>
                <a:gd name="connsiteY241" fmla="*/ 360171 h 863029"/>
                <a:gd name="connsiteX242" fmla="*/ 258632 w 811065"/>
                <a:gd name="connsiteY242" fmla="*/ 348850 h 863029"/>
                <a:gd name="connsiteX243" fmla="*/ 232425 w 811065"/>
                <a:gd name="connsiteY243" fmla="*/ 307109 h 863029"/>
                <a:gd name="connsiteX244" fmla="*/ 235228 w 811065"/>
                <a:gd name="connsiteY244" fmla="*/ 303267 h 863029"/>
                <a:gd name="connsiteX245" fmla="*/ 200205 w 811065"/>
                <a:gd name="connsiteY245" fmla="*/ 275669 h 863029"/>
                <a:gd name="connsiteX246" fmla="*/ 204659 w 811065"/>
                <a:gd name="connsiteY246" fmla="*/ 271548 h 863029"/>
                <a:gd name="connsiteX247" fmla="*/ 185988 w 811065"/>
                <a:gd name="connsiteY247" fmla="*/ 255809 h 863029"/>
                <a:gd name="connsiteX248" fmla="*/ 166964 w 811065"/>
                <a:gd name="connsiteY248" fmla="*/ 269896 h 863029"/>
                <a:gd name="connsiteX249" fmla="*/ 163698 w 811065"/>
                <a:gd name="connsiteY249" fmla="*/ 281478 h 863029"/>
                <a:gd name="connsiteX250" fmla="*/ 183371 w 811065"/>
                <a:gd name="connsiteY250" fmla="*/ 292799 h 86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811065" h="863029">
                  <a:moveTo>
                    <a:pt x="183371" y="292799"/>
                  </a:moveTo>
                  <a:lnTo>
                    <a:pt x="180383" y="322179"/>
                  </a:lnTo>
                  <a:lnTo>
                    <a:pt x="169915" y="336600"/>
                  </a:lnTo>
                  <a:lnTo>
                    <a:pt x="168505" y="359800"/>
                  </a:lnTo>
                  <a:lnTo>
                    <a:pt x="187807" y="363530"/>
                  </a:lnTo>
                  <a:lnTo>
                    <a:pt x="184466" y="385320"/>
                  </a:lnTo>
                  <a:lnTo>
                    <a:pt x="174815" y="383445"/>
                  </a:lnTo>
                  <a:lnTo>
                    <a:pt x="179548" y="397161"/>
                  </a:lnTo>
                  <a:lnTo>
                    <a:pt x="145027" y="415405"/>
                  </a:lnTo>
                  <a:lnTo>
                    <a:pt x="138401" y="432610"/>
                  </a:lnTo>
                  <a:lnTo>
                    <a:pt x="77098" y="448330"/>
                  </a:lnTo>
                  <a:lnTo>
                    <a:pt x="46771" y="476949"/>
                  </a:lnTo>
                  <a:lnTo>
                    <a:pt x="44210" y="487565"/>
                  </a:lnTo>
                  <a:lnTo>
                    <a:pt x="14774" y="489700"/>
                  </a:lnTo>
                  <a:lnTo>
                    <a:pt x="20639" y="499833"/>
                  </a:lnTo>
                  <a:lnTo>
                    <a:pt x="20880" y="522755"/>
                  </a:lnTo>
                  <a:lnTo>
                    <a:pt x="29677" y="529863"/>
                  </a:lnTo>
                  <a:lnTo>
                    <a:pt x="15516" y="558464"/>
                  </a:lnTo>
                  <a:lnTo>
                    <a:pt x="15702" y="570342"/>
                  </a:lnTo>
                  <a:lnTo>
                    <a:pt x="2784" y="580049"/>
                  </a:lnTo>
                  <a:lnTo>
                    <a:pt x="24815" y="590164"/>
                  </a:lnTo>
                  <a:lnTo>
                    <a:pt x="31812" y="612862"/>
                  </a:lnTo>
                  <a:lnTo>
                    <a:pt x="69674" y="610227"/>
                  </a:lnTo>
                  <a:lnTo>
                    <a:pt x="88419" y="615758"/>
                  </a:lnTo>
                  <a:lnTo>
                    <a:pt x="98293" y="608241"/>
                  </a:lnTo>
                  <a:lnTo>
                    <a:pt x="123794" y="613531"/>
                  </a:lnTo>
                  <a:lnTo>
                    <a:pt x="148275" y="628341"/>
                  </a:lnTo>
                  <a:lnTo>
                    <a:pt x="139292" y="646790"/>
                  </a:lnTo>
                  <a:lnTo>
                    <a:pt x="152729" y="661656"/>
                  </a:lnTo>
                  <a:lnTo>
                    <a:pt x="170064" y="669099"/>
                  </a:lnTo>
                  <a:lnTo>
                    <a:pt x="195732" y="653954"/>
                  </a:lnTo>
                  <a:lnTo>
                    <a:pt x="210023" y="663587"/>
                  </a:lnTo>
                  <a:lnTo>
                    <a:pt x="212492" y="647050"/>
                  </a:lnTo>
                  <a:lnTo>
                    <a:pt x="226170" y="647421"/>
                  </a:lnTo>
                  <a:lnTo>
                    <a:pt x="250076" y="664032"/>
                  </a:lnTo>
                  <a:lnTo>
                    <a:pt x="261137" y="663976"/>
                  </a:lnTo>
                  <a:lnTo>
                    <a:pt x="275261" y="677877"/>
                  </a:lnTo>
                  <a:lnTo>
                    <a:pt x="265350" y="690517"/>
                  </a:lnTo>
                  <a:lnTo>
                    <a:pt x="273981" y="718059"/>
                  </a:lnTo>
                  <a:lnTo>
                    <a:pt x="289849" y="721474"/>
                  </a:lnTo>
                  <a:lnTo>
                    <a:pt x="294879" y="731738"/>
                  </a:lnTo>
                  <a:lnTo>
                    <a:pt x="291631" y="759466"/>
                  </a:lnTo>
                  <a:lnTo>
                    <a:pt x="312938" y="754381"/>
                  </a:lnTo>
                  <a:lnTo>
                    <a:pt x="330588" y="758371"/>
                  </a:lnTo>
                  <a:lnTo>
                    <a:pt x="348628" y="748702"/>
                  </a:lnTo>
                  <a:lnTo>
                    <a:pt x="354976" y="767243"/>
                  </a:lnTo>
                  <a:lnTo>
                    <a:pt x="386694" y="774110"/>
                  </a:lnTo>
                  <a:lnTo>
                    <a:pt x="395306" y="785487"/>
                  </a:lnTo>
                  <a:lnTo>
                    <a:pt x="410080" y="787399"/>
                  </a:lnTo>
                  <a:lnTo>
                    <a:pt x="443655" y="784596"/>
                  </a:lnTo>
                  <a:lnTo>
                    <a:pt x="460266" y="798126"/>
                  </a:lnTo>
                  <a:lnTo>
                    <a:pt x="473016" y="792688"/>
                  </a:lnTo>
                  <a:lnTo>
                    <a:pt x="487604" y="798869"/>
                  </a:lnTo>
                  <a:lnTo>
                    <a:pt x="496847" y="819507"/>
                  </a:lnTo>
                  <a:lnTo>
                    <a:pt x="522255" y="840127"/>
                  </a:lnTo>
                  <a:lnTo>
                    <a:pt x="551190" y="829585"/>
                  </a:lnTo>
                  <a:lnTo>
                    <a:pt x="589850" y="831942"/>
                  </a:lnTo>
                  <a:lnTo>
                    <a:pt x="593414" y="816909"/>
                  </a:lnTo>
                  <a:lnTo>
                    <a:pt x="617987" y="800242"/>
                  </a:lnTo>
                  <a:lnTo>
                    <a:pt x="636398" y="793059"/>
                  </a:lnTo>
                  <a:lnTo>
                    <a:pt x="646736" y="815220"/>
                  </a:lnTo>
                  <a:lnTo>
                    <a:pt x="665315" y="825038"/>
                  </a:lnTo>
                  <a:lnTo>
                    <a:pt x="673388" y="816946"/>
                  </a:lnTo>
                  <a:lnTo>
                    <a:pt x="698370" y="818913"/>
                  </a:lnTo>
                  <a:lnTo>
                    <a:pt x="720716" y="841723"/>
                  </a:lnTo>
                  <a:lnTo>
                    <a:pt x="738868" y="832889"/>
                  </a:lnTo>
                  <a:lnTo>
                    <a:pt x="755349" y="845565"/>
                  </a:lnTo>
                  <a:lnTo>
                    <a:pt x="763663" y="860413"/>
                  </a:lnTo>
                  <a:lnTo>
                    <a:pt x="801897" y="790554"/>
                  </a:lnTo>
                  <a:lnTo>
                    <a:pt x="802212" y="765832"/>
                  </a:lnTo>
                  <a:lnTo>
                    <a:pt x="781852" y="755457"/>
                  </a:lnTo>
                  <a:lnTo>
                    <a:pt x="794658" y="723665"/>
                  </a:lnTo>
                  <a:lnTo>
                    <a:pt x="809098" y="712863"/>
                  </a:lnTo>
                  <a:lnTo>
                    <a:pt x="809785" y="695751"/>
                  </a:lnTo>
                  <a:lnTo>
                    <a:pt x="802026" y="679121"/>
                  </a:lnTo>
                  <a:lnTo>
                    <a:pt x="801488" y="659652"/>
                  </a:lnTo>
                  <a:lnTo>
                    <a:pt x="792264" y="655160"/>
                  </a:lnTo>
                  <a:lnTo>
                    <a:pt x="777992" y="661675"/>
                  </a:lnTo>
                  <a:lnTo>
                    <a:pt x="764127" y="649425"/>
                  </a:lnTo>
                  <a:lnTo>
                    <a:pt x="746310" y="649722"/>
                  </a:lnTo>
                  <a:lnTo>
                    <a:pt x="754402" y="620361"/>
                  </a:lnTo>
                  <a:lnTo>
                    <a:pt x="743971" y="592261"/>
                  </a:lnTo>
                  <a:lnTo>
                    <a:pt x="734228" y="584448"/>
                  </a:lnTo>
                  <a:lnTo>
                    <a:pt x="719287" y="586823"/>
                  </a:lnTo>
                  <a:lnTo>
                    <a:pt x="708968" y="564663"/>
                  </a:lnTo>
                  <a:lnTo>
                    <a:pt x="716076" y="555884"/>
                  </a:lnTo>
                  <a:lnTo>
                    <a:pt x="700764" y="534503"/>
                  </a:lnTo>
                  <a:lnTo>
                    <a:pt x="706685" y="518245"/>
                  </a:lnTo>
                  <a:lnTo>
                    <a:pt x="702342" y="507035"/>
                  </a:lnTo>
                  <a:lnTo>
                    <a:pt x="668322" y="475019"/>
                  </a:lnTo>
                  <a:lnTo>
                    <a:pt x="676655" y="452450"/>
                  </a:lnTo>
                  <a:lnTo>
                    <a:pt x="655738" y="422606"/>
                  </a:lnTo>
                  <a:lnTo>
                    <a:pt x="674131" y="420527"/>
                  </a:lnTo>
                  <a:lnTo>
                    <a:pt x="675504" y="402450"/>
                  </a:lnTo>
                  <a:lnTo>
                    <a:pt x="683578" y="394358"/>
                  </a:lnTo>
                  <a:lnTo>
                    <a:pt x="676562" y="371660"/>
                  </a:lnTo>
                  <a:lnTo>
                    <a:pt x="692356" y="364050"/>
                  </a:lnTo>
                  <a:lnTo>
                    <a:pt x="679587" y="353323"/>
                  </a:lnTo>
                  <a:lnTo>
                    <a:pt x="674409" y="326095"/>
                  </a:lnTo>
                  <a:lnTo>
                    <a:pt x="658949" y="325149"/>
                  </a:lnTo>
                  <a:lnTo>
                    <a:pt x="659450" y="312305"/>
                  </a:lnTo>
                  <a:lnTo>
                    <a:pt x="632167" y="322606"/>
                  </a:lnTo>
                  <a:lnTo>
                    <a:pt x="625875" y="315108"/>
                  </a:lnTo>
                  <a:lnTo>
                    <a:pt x="601580" y="312157"/>
                  </a:lnTo>
                  <a:lnTo>
                    <a:pt x="591818" y="288196"/>
                  </a:lnTo>
                  <a:lnTo>
                    <a:pt x="578455" y="284373"/>
                  </a:lnTo>
                  <a:lnTo>
                    <a:pt x="575504" y="271233"/>
                  </a:lnTo>
                  <a:lnTo>
                    <a:pt x="626506" y="212101"/>
                  </a:lnTo>
                  <a:lnTo>
                    <a:pt x="621495" y="180587"/>
                  </a:lnTo>
                  <a:lnTo>
                    <a:pt x="606629" y="172736"/>
                  </a:lnTo>
                  <a:lnTo>
                    <a:pt x="586083" y="150501"/>
                  </a:lnTo>
                  <a:lnTo>
                    <a:pt x="592133" y="135078"/>
                  </a:lnTo>
                  <a:lnTo>
                    <a:pt x="611083" y="131218"/>
                  </a:lnTo>
                  <a:lnTo>
                    <a:pt x="616874" y="114124"/>
                  </a:lnTo>
                  <a:lnTo>
                    <a:pt x="601228" y="101318"/>
                  </a:lnTo>
                  <a:lnTo>
                    <a:pt x="576580" y="90776"/>
                  </a:lnTo>
                  <a:lnTo>
                    <a:pt x="573239" y="75149"/>
                  </a:lnTo>
                  <a:lnTo>
                    <a:pt x="563718" y="74109"/>
                  </a:lnTo>
                  <a:lnTo>
                    <a:pt x="546272" y="98144"/>
                  </a:lnTo>
                  <a:lnTo>
                    <a:pt x="558447" y="94506"/>
                  </a:lnTo>
                  <a:lnTo>
                    <a:pt x="561491" y="113586"/>
                  </a:lnTo>
                  <a:lnTo>
                    <a:pt x="548351" y="116537"/>
                  </a:lnTo>
                  <a:lnTo>
                    <a:pt x="533688" y="99295"/>
                  </a:lnTo>
                  <a:lnTo>
                    <a:pt x="509468" y="107405"/>
                  </a:lnTo>
                  <a:lnTo>
                    <a:pt x="514776" y="135468"/>
                  </a:lnTo>
                  <a:lnTo>
                    <a:pt x="548314" y="159057"/>
                  </a:lnTo>
                  <a:lnTo>
                    <a:pt x="563199" y="161785"/>
                  </a:lnTo>
                  <a:lnTo>
                    <a:pt x="566985" y="190943"/>
                  </a:lnTo>
                  <a:lnTo>
                    <a:pt x="554884" y="184373"/>
                  </a:lnTo>
                  <a:lnTo>
                    <a:pt x="550151" y="170676"/>
                  </a:lnTo>
                  <a:lnTo>
                    <a:pt x="505069" y="159985"/>
                  </a:lnTo>
                  <a:lnTo>
                    <a:pt x="486528" y="145063"/>
                  </a:lnTo>
                  <a:lnTo>
                    <a:pt x="495177" y="135189"/>
                  </a:lnTo>
                  <a:lnTo>
                    <a:pt x="490036" y="119005"/>
                  </a:lnTo>
                  <a:lnTo>
                    <a:pt x="492523" y="102450"/>
                  </a:lnTo>
                  <a:lnTo>
                    <a:pt x="505236" y="80865"/>
                  </a:lnTo>
                  <a:lnTo>
                    <a:pt x="506665" y="57684"/>
                  </a:lnTo>
                  <a:lnTo>
                    <a:pt x="494713" y="30661"/>
                  </a:lnTo>
                  <a:lnTo>
                    <a:pt x="486676" y="33649"/>
                  </a:lnTo>
                  <a:lnTo>
                    <a:pt x="488477" y="12955"/>
                  </a:lnTo>
                  <a:lnTo>
                    <a:pt x="472849" y="16277"/>
                  </a:lnTo>
                  <a:lnTo>
                    <a:pt x="491149" y="45694"/>
                  </a:lnTo>
                  <a:lnTo>
                    <a:pt x="491075" y="72068"/>
                  </a:lnTo>
                  <a:lnTo>
                    <a:pt x="484598" y="90108"/>
                  </a:lnTo>
                  <a:lnTo>
                    <a:pt x="447441" y="107925"/>
                  </a:lnTo>
                  <a:lnTo>
                    <a:pt x="444453" y="121158"/>
                  </a:lnTo>
                  <a:lnTo>
                    <a:pt x="431052" y="138586"/>
                  </a:lnTo>
                  <a:lnTo>
                    <a:pt x="442560" y="152060"/>
                  </a:lnTo>
                  <a:lnTo>
                    <a:pt x="455384" y="211266"/>
                  </a:lnTo>
                  <a:lnTo>
                    <a:pt x="436268" y="235561"/>
                  </a:lnTo>
                  <a:lnTo>
                    <a:pt x="426097" y="267799"/>
                  </a:lnTo>
                  <a:lnTo>
                    <a:pt x="433762" y="294637"/>
                  </a:lnTo>
                  <a:lnTo>
                    <a:pt x="427136" y="311841"/>
                  </a:lnTo>
                  <a:lnTo>
                    <a:pt x="465462" y="322755"/>
                  </a:lnTo>
                  <a:lnTo>
                    <a:pt x="477285" y="311526"/>
                  </a:lnTo>
                  <a:lnTo>
                    <a:pt x="511714" y="324759"/>
                  </a:lnTo>
                  <a:lnTo>
                    <a:pt x="516613" y="334187"/>
                  </a:lnTo>
                  <a:lnTo>
                    <a:pt x="537939" y="345249"/>
                  </a:lnTo>
                  <a:lnTo>
                    <a:pt x="536955" y="365813"/>
                  </a:lnTo>
                  <a:lnTo>
                    <a:pt x="549056" y="393653"/>
                  </a:lnTo>
                  <a:lnTo>
                    <a:pt x="530199" y="403453"/>
                  </a:lnTo>
                  <a:lnTo>
                    <a:pt x="527211" y="432851"/>
                  </a:lnTo>
                  <a:lnTo>
                    <a:pt x="545511" y="440980"/>
                  </a:lnTo>
                  <a:lnTo>
                    <a:pt x="571736" y="445323"/>
                  </a:lnTo>
                  <a:lnTo>
                    <a:pt x="542690" y="449945"/>
                  </a:lnTo>
                  <a:lnTo>
                    <a:pt x="515759" y="430420"/>
                  </a:lnTo>
                  <a:lnTo>
                    <a:pt x="524594" y="394989"/>
                  </a:lnTo>
                  <a:lnTo>
                    <a:pt x="519657" y="390683"/>
                  </a:lnTo>
                  <a:lnTo>
                    <a:pt x="525169" y="371938"/>
                  </a:lnTo>
                  <a:lnTo>
                    <a:pt x="507649" y="352617"/>
                  </a:lnTo>
                  <a:lnTo>
                    <a:pt x="500466" y="334206"/>
                  </a:lnTo>
                  <a:lnTo>
                    <a:pt x="465741" y="340572"/>
                  </a:lnTo>
                  <a:lnTo>
                    <a:pt x="442875" y="351875"/>
                  </a:lnTo>
                  <a:lnTo>
                    <a:pt x="436472" y="375836"/>
                  </a:lnTo>
                  <a:lnTo>
                    <a:pt x="445882" y="392205"/>
                  </a:lnTo>
                  <a:lnTo>
                    <a:pt x="447255" y="411545"/>
                  </a:lnTo>
                  <a:lnTo>
                    <a:pt x="442560" y="430160"/>
                  </a:lnTo>
                  <a:lnTo>
                    <a:pt x="413773" y="457703"/>
                  </a:lnTo>
                  <a:lnTo>
                    <a:pt x="409597" y="479622"/>
                  </a:lnTo>
                  <a:lnTo>
                    <a:pt x="396253" y="491945"/>
                  </a:lnTo>
                  <a:lnTo>
                    <a:pt x="362325" y="503304"/>
                  </a:lnTo>
                  <a:lnTo>
                    <a:pt x="355403" y="523961"/>
                  </a:lnTo>
                  <a:lnTo>
                    <a:pt x="341965" y="530346"/>
                  </a:lnTo>
                  <a:lnTo>
                    <a:pt x="315907" y="516537"/>
                  </a:lnTo>
                  <a:lnTo>
                    <a:pt x="290851" y="514681"/>
                  </a:lnTo>
                  <a:lnTo>
                    <a:pt x="257035" y="484429"/>
                  </a:lnTo>
                  <a:lnTo>
                    <a:pt x="237028" y="471066"/>
                  </a:lnTo>
                  <a:lnTo>
                    <a:pt x="202692" y="457703"/>
                  </a:lnTo>
                  <a:lnTo>
                    <a:pt x="184466" y="484429"/>
                  </a:lnTo>
                  <a:lnTo>
                    <a:pt x="159782" y="491945"/>
                  </a:lnTo>
                  <a:lnTo>
                    <a:pt x="137733" y="521177"/>
                  </a:lnTo>
                  <a:lnTo>
                    <a:pt x="152729" y="487565"/>
                  </a:lnTo>
                  <a:lnTo>
                    <a:pt x="179548" y="476949"/>
                  </a:lnTo>
                  <a:lnTo>
                    <a:pt x="200205" y="445323"/>
                  </a:lnTo>
                  <a:lnTo>
                    <a:pt x="210023" y="452450"/>
                  </a:lnTo>
                  <a:lnTo>
                    <a:pt x="235228" y="460208"/>
                  </a:lnTo>
                  <a:lnTo>
                    <a:pt x="257035" y="460208"/>
                  </a:lnTo>
                  <a:lnTo>
                    <a:pt x="281887" y="473571"/>
                  </a:lnTo>
                  <a:lnTo>
                    <a:pt x="303843" y="499833"/>
                  </a:lnTo>
                  <a:lnTo>
                    <a:pt x="333929" y="495917"/>
                  </a:lnTo>
                  <a:lnTo>
                    <a:pt x="334615" y="478787"/>
                  </a:lnTo>
                  <a:lnTo>
                    <a:pt x="360581" y="460208"/>
                  </a:lnTo>
                  <a:lnTo>
                    <a:pt x="377396" y="426912"/>
                  </a:lnTo>
                  <a:lnTo>
                    <a:pt x="395251" y="421530"/>
                  </a:lnTo>
                  <a:lnTo>
                    <a:pt x="398573" y="383575"/>
                  </a:lnTo>
                  <a:lnTo>
                    <a:pt x="417634" y="364384"/>
                  </a:lnTo>
                  <a:lnTo>
                    <a:pt x="391130" y="326077"/>
                  </a:lnTo>
                  <a:lnTo>
                    <a:pt x="397125" y="299610"/>
                  </a:lnTo>
                  <a:lnTo>
                    <a:pt x="396921" y="271585"/>
                  </a:lnTo>
                  <a:lnTo>
                    <a:pt x="404902" y="257554"/>
                  </a:lnTo>
                  <a:lnTo>
                    <a:pt x="402118" y="223979"/>
                  </a:lnTo>
                  <a:lnTo>
                    <a:pt x="413105" y="212881"/>
                  </a:lnTo>
                  <a:lnTo>
                    <a:pt x="420269" y="177728"/>
                  </a:lnTo>
                  <a:lnTo>
                    <a:pt x="418320" y="160171"/>
                  </a:lnTo>
                  <a:lnTo>
                    <a:pt x="406294" y="143374"/>
                  </a:lnTo>
                  <a:lnTo>
                    <a:pt x="402303" y="123608"/>
                  </a:lnTo>
                  <a:lnTo>
                    <a:pt x="412697" y="119395"/>
                  </a:lnTo>
                  <a:lnTo>
                    <a:pt x="419044" y="100538"/>
                  </a:lnTo>
                  <a:lnTo>
                    <a:pt x="435562" y="70694"/>
                  </a:lnTo>
                  <a:lnTo>
                    <a:pt x="440388" y="36748"/>
                  </a:lnTo>
                  <a:lnTo>
                    <a:pt x="412492" y="16537"/>
                  </a:lnTo>
                  <a:lnTo>
                    <a:pt x="366539" y="11080"/>
                  </a:lnTo>
                  <a:lnTo>
                    <a:pt x="365221" y="2784"/>
                  </a:lnTo>
                  <a:lnTo>
                    <a:pt x="350299" y="21325"/>
                  </a:lnTo>
                  <a:lnTo>
                    <a:pt x="323869" y="85059"/>
                  </a:lnTo>
                  <a:lnTo>
                    <a:pt x="305068" y="105902"/>
                  </a:lnTo>
                  <a:lnTo>
                    <a:pt x="276115" y="116463"/>
                  </a:lnTo>
                  <a:lnTo>
                    <a:pt x="253620" y="151504"/>
                  </a:lnTo>
                  <a:lnTo>
                    <a:pt x="275410" y="154844"/>
                  </a:lnTo>
                  <a:lnTo>
                    <a:pt x="268413" y="185728"/>
                  </a:lnTo>
                  <a:lnTo>
                    <a:pt x="260302" y="198924"/>
                  </a:lnTo>
                  <a:lnTo>
                    <a:pt x="260320" y="215071"/>
                  </a:lnTo>
                  <a:lnTo>
                    <a:pt x="250112" y="214996"/>
                  </a:lnTo>
                  <a:lnTo>
                    <a:pt x="240220" y="243783"/>
                  </a:lnTo>
                  <a:lnTo>
                    <a:pt x="244229" y="263567"/>
                  </a:lnTo>
                  <a:lnTo>
                    <a:pt x="254864" y="244859"/>
                  </a:lnTo>
                  <a:lnTo>
                    <a:pt x="271865" y="260858"/>
                  </a:lnTo>
                  <a:lnTo>
                    <a:pt x="268598" y="272439"/>
                  </a:lnTo>
                  <a:lnTo>
                    <a:pt x="275966" y="302729"/>
                  </a:lnTo>
                  <a:lnTo>
                    <a:pt x="292225" y="308649"/>
                  </a:lnTo>
                  <a:lnTo>
                    <a:pt x="282945" y="330531"/>
                  </a:lnTo>
                  <a:lnTo>
                    <a:pt x="257035" y="360171"/>
                  </a:lnTo>
                  <a:lnTo>
                    <a:pt x="258632" y="348850"/>
                  </a:lnTo>
                  <a:lnTo>
                    <a:pt x="232425" y="307109"/>
                  </a:lnTo>
                  <a:lnTo>
                    <a:pt x="235228" y="303267"/>
                  </a:lnTo>
                  <a:lnTo>
                    <a:pt x="200205" y="275669"/>
                  </a:lnTo>
                  <a:lnTo>
                    <a:pt x="204659" y="271548"/>
                  </a:lnTo>
                  <a:lnTo>
                    <a:pt x="185988" y="255809"/>
                  </a:lnTo>
                  <a:lnTo>
                    <a:pt x="166964" y="269896"/>
                  </a:lnTo>
                  <a:lnTo>
                    <a:pt x="163698" y="281478"/>
                  </a:lnTo>
                  <a:lnTo>
                    <a:pt x="183371" y="292799"/>
                  </a:lnTo>
                  <a:close/>
                </a:path>
              </a:pathLst>
            </a:custGeom>
            <a:solidFill>
              <a:srgbClr val="E7F6FF"/>
            </a:solidFill>
            <a:ln w="6350" cap="flat">
              <a:solidFill>
                <a:srgbClr val="19A7FF"/>
              </a:solidFill>
              <a:prstDash val="solid"/>
              <a:round/>
            </a:ln>
            <a:effectLst>
              <a:outerShdw blurRad="1270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70342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usiness1 - Title and Content" preserve="1">
  <p:cSld name="3_Business1 - Title and Content">
    <p:bg>
      <p:bgPr>
        <a:solidFill>
          <a:srgbClr val="FDFDFD"/>
        </a:solidFill>
        <a:effectLst/>
      </p:bgPr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2117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EB20BE-D8DD-4CBC-AF2E-53EFCC1AF4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71502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52190F38-E026-E7C7-16D1-EC08E416F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3" y="349536"/>
            <a:ext cx="10956927" cy="523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11467739" y="6474171"/>
            <a:ext cx="0" cy="134566"/>
          </a:xfrm>
          <a:prstGeom prst="line">
            <a:avLst/>
          </a:prstGeom>
          <a:ln>
            <a:solidFill>
              <a:srgbClr val="8A8A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1358740" y="6471790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AF528B6D-1001-487C-8FFE-85B114390330}" type="slidenum">
              <a:rPr lang="ru-RU" sz="800" b="0" cap="all" smtClean="0">
                <a:solidFill>
                  <a:srgbClr val="3C3C3C">
                    <a:lumMod val="60000"/>
                    <a:lumOff val="40000"/>
                  </a:srgbClr>
                </a:solidFill>
                <a:latin typeface="DINPro-Regular" panose="02000503030000020004" pitchFamily="50" charset="0"/>
                <a:ea typeface="GPN_DIN Bold" panose="020B0504020202020204" pitchFamily="34" charset="-52"/>
              </a:rPr>
              <a:pPr algn="r">
                <a:lnSpc>
                  <a:spcPct val="90000"/>
                </a:lnSpc>
              </a:pPr>
              <a:t>‹#›</a:t>
            </a:fld>
            <a:endParaRPr lang="ru-RU" sz="800" b="0" cap="all" dirty="0">
              <a:solidFill>
                <a:srgbClr val="3C3C3C">
                  <a:lumMod val="60000"/>
                  <a:lumOff val="40000"/>
                </a:srgbClr>
              </a:solidFill>
              <a:latin typeface="DINPro-Regular" panose="02000503030000020004" pitchFamily="50" charset="0"/>
              <a:ea typeface="GPN_DIN Bold" panose="020B0504020202020204" pitchFamily="34" charset="-52"/>
            </a:endParaRPr>
          </a:p>
        </p:txBody>
      </p:sp>
      <p:sp>
        <p:nvSpPr>
          <p:cNvPr id="12" name="LogoRus"/>
          <p:cNvSpPr/>
          <p:nvPr/>
        </p:nvSpPr>
        <p:spPr>
          <a:xfrm>
            <a:off x="10351615" y="6471356"/>
            <a:ext cx="1024741" cy="16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r>
              <a:rPr lang="ru-RU" sz="800" spc="-10" baseline="0" dirty="0">
                <a:solidFill>
                  <a:srgbClr val="3C3C3C">
                    <a:lumMod val="60000"/>
                    <a:lumOff val="40000"/>
                  </a:srgbClr>
                </a:solidFill>
                <a:latin typeface="DINPro-Regular" panose="02000503030000020004" pitchFamily="50" charset="0"/>
                <a:ea typeface="GPN_DIN" panose="020B0504020202020204" pitchFamily="34" charset="-52"/>
              </a:rPr>
              <a:t> Газпром нефть</a:t>
            </a:r>
          </a:p>
        </p:txBody>
      </p:sp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396873" y="6500555"/>
            <a:ext cx="6720000" cy="165600"/>
          </a:xfrm>
          <a:prstGeom prst="rect">
            <a:avLst/>
          </a:prstGeom>
        </p:spPr>
        <p:txBody>
          <a:bodyPr vert="horz" lIns="0" tIns="0" rIns="0" bIns="36000" rtlCol="0" anchor="ctr" anchorCtr="0">
            <a:normAutofit fontScale="92500" lnSpcReduction="10000"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391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5" r:id="rId2"/>
    <p:sldLayoutId id="2147483916" r:id="rId3"/>
    <p:sldLayoutId id="2147483918" r:id="rId4"/>
    <p:sldLayoutId id="2147483917" r:id="rId5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ru-RU" sz="2800" b="1" kern="1200" cap="all" baseline="0" dirty="0">
          <a:solidFill>
            <a:srgbClr val="002E5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266700" marR="0" indent="-26670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3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orient="horz" pos="278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sv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image" Target="../media/image3.png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21" Type="http://schemas.openxmlformats.org/officeDocument/2006/relationships/image" Target="../media/image42.svg"/><Relationship Id="rId34" Type="http://schemas.openxmlformats.org/officeDocument/2006/relationships/image" Target="../media/image55.png"/><Relationship Id="rId7" Type="http://schemas.openxmlformats.org/officeDocument/2006/relationships/image" Target="../media/image30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5" Type="http://schemas.openxmlformats.org/officeDocument/2006/relationships/image" Target="../media/image46.svg"/><Relationship Id="rId33" Type="http://schemas.openxmlformats.org/officeDocument/2006/relationships/image" Target="../media/image54.svg"/><Relationship Id="rId2" Type="http://schemas.openxmlformats.org/officeDocument/2006/relationships/tags" Target="../tags/tag4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50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png"/><Relationship Id="rId11" Type="http://schemas.openxmlformats.org/officeDocument/2006/relationships/image" Target="../media/image32.svg"/><Relationship Id="rId24" Type="http://schemas.openxmlformats.org/officeDocument/2006/relationships/image" Target="../media/image45.png"/><Relationship Id="rId32" Type="http://schemas.openxmlformats.org/officeDocument/2006/relationships/image" Target="../media/image53.png"/><Relationship Id="rId37" Type="http://schemas.openxmlformats.org/officeDocument/2006/relationships/image" Target="../media/image58.svg"/><Relationship Id="rId5" Type="http://schemas.openxmlformats.org/officeDocument/2006/relationships/image" Target="../media/image28.emf"/><Relationship Id="rId15" Type="http://schemas.openxmlformats.org/officeDocument/2006/relationships/image" Target="../media/image36.svg"/><Relationship Id="rId23" Type="http://schemas.openxmlformats.org/officeDocument/2006/relationships/image" Target="../media/image44.svg"/><Relationship Id="rId28" Type="http://schemas.openxmlformats.org/officeDocument/2006/relationships/image" Target="../media/image49.png"/><Relationship Id="rId36" Type="http://schemas.openxmlformats.org/officeDocument/2006/relationships/image" Target="../media/image57.pn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31" Type="http://schemas.openxmlformats.org/officeDocument/2006/relationships/image" Target="../media/image52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9.sv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svg"/><Relationship Id="rId30" Type="http://schemas.openxmlformats.org/officeDocument/2006/relationships/image" Target="../media/image51.png"/><Relationship Id="rId35" Type="http://schemas.openxmlformats.org/officeDocument/2006/relationships/image" Target="../media/image56.svg"/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png"/><Relationship Id="rId3" Type="http://schemas.openxmlformats.org/officeDocument/2006/relationships/image" Target="../media/image66.png"/><Relationship Id="rId7" Type="http://schemas.microsoft.com/office/2007/relationships/hdphoto" Target="../media/hdphoto2.wdp"/><Relationship Id="rId12" Type="http://schemas.microsoft.com/office/2007/relationships/hdphoto" Target="../media/hdphoto3.wdp"/><Relationship Id="rId17" Type="http://schemas.openxmlformats.org/officeDocument/2006/relationships/image" Target="../media/image77.png"/><Relationship Id="rId2" Type="http://schemas.openxmlformats.org/officeDocument/2006/relationships/image" Target="../media/image65.png"/><Relationship Id="rId16" Type="http://schemas.microsoft.com/office/2007/relationships/hdphoto" Target="../media/hdphoto4.wdp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png"/><Relationship Id="rId11" Type="http://schemas.openxmlformats.org/officeDocument/2006/relationships/image" Target="../media/image73.png"/><Relationship Id="rId5" Type="http://schemas.openxmlformats.org/officeDocument/2006/relationships/image" Target="../media/image68.png"/><Relationship Id="rId15" Type="http://schemas.openxmlformats.org/officeDocument/2006/relationships/image" Target="../media/image76.png"/><Relationship Id="rId10" Type="http://schemas.openxmlformats.org/officeDocument/2006/relationships/image" Target="../media/image72.png"/><Relationship Id="rId4" Type="http://schemas.openxmlformats.org/officeDocument/2006/relationships/image" Target="../media/image67.png"/><Relationship Id="rId9" Type="http://schemas.openxmlformats.org/officeDocument/2006/relationships/image" Target="../media/image71.png"/><Relationship Id="rId14" Type="http://schemas.openxmlformats.org/officeDocument/2006/relationships/image" Target="../media/image7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левидение, экран, монитор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16B3C1BA-5275-4DD8-967F-41D8B67D5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2" r="10278" b="891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TitleLogoRus">
            <a:extLst>
              <a:ext uri="{FF2B5EF4-FFF2-40B4-BE49-F238E27FC236}">
                <a16:creationId xmlns:a16="http://schemas.microsoft.com/office/drawing/2014/main" id="{24D7ED81-5F04-4374-8C38-C3CBF22FD6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7082" y="597017"/>
            <a:ext cx="881095" cy="416325"/>
            <a:chOff x="264" y="1159"/>
            <a:chExt cx="3492" cy="1650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183E1AE6-0F21-4441-AB5E-6D51E3A496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15E2BD0-9F01-43E9-BDAA-5B0458895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DCB12CB2-1A5F-412B-AE0E-3DDB766B70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ABA93617-7163-4892-8E47-56244582C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44B4C39-12CD-45E6-AF34-7C899CC758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EFA2838F-2A22-4237-BC52-5AC2BAF006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DFC648F9-7CEB-47C4-BF1F-D834F17E5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DBA4B225-E89E-4D9D-A1E7-7C0AB04C20F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9510E123-2B51-43F8-84EF-7AA79DABFD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8D0070A1-B397-45FE-993B-84053BA56E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8B5E8666-4C05-40FF-B440-CCA066974C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EFF59CE5-58ED-4511-A8A9-26630B4561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506DE415-B97F-4CD2-B9CA-E1121A95B7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  <a:latin typeface="HeliosCond" panose="020B0500000000000000" pitchFamily="34" charset="0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B37A597-7BAE-43B4-9E41-FD0C3654EF22}"/>
              </a:ext>
            </a:extLst>
          </p:cNvPr>
          <p:cNvSpPr txBox="1"/>
          <p:nvPr/>
        </p:nvSpPr>
        <p:spPr>
          <a:xfrm>
            <a:off x="559255" y="1372704"/>
            <a:ext cx="574844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3600" b="1" dirty="0">
                <a:solidFill>
                  <a:schemeClr val="bg1"/>
                </a:solidFill>
              </a:rPr>
              <a:t>Сотрудничество бизнеса </a:t>
            </a:r>
            <a:br>
              <a:rPr lang="en-US" sz="3600" b="1" dirty="0">
                <a:solidFill>
                  <a:schemeClr val="bg1"/>
                </a:solidFill>
              </a:rPr>
            </a:br>
            <a:r>
              <a:rPr lang="ru-RU" sz="3600" b="1" dirty="0">
                <a:solidFill>
                  <a:schemeClr val="bg1"/>
                </a:solidFill>
              </a:rPr>
              <a:t>и государства </a:t>
            </a:r>
            <a:br>
              <a:rPr lang="ru-RU" sz="3600" b="1" dirty="0">
                <a:solidFill>
                  <a:schemeClr val="bg1"/>
                </a:solidFill>
              </a:rPr>
            </a:br>
            <a:r>
              <a:rPr lang="ru-RU" sz="3600" b="1" dirty="0">
                <a:solidFill>
                  <a:schemeClr val="bg1"/>
                </a:solidFill>
              </a:rPr>
              <a:t>в рамках реализации логистических проектов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21" name="Прямая соединительная линия 28">
            <a:extLst>
              <a:ext uri="{FF2B5EF4-FFF2-40B4-BE49-F238E27FC236}">
                <a16:creationId xmlns:a16="http://schemas.microsoft.com/office/drawing/2014/main" id="{D2A24B54-AD59-43E7-8E5A-3828FA361599}"/>
              </a:ext>
            </a:extLst>
          </p:cNvPr>
          <p:cNvCxnSpPr>
            <a:cxnSpLocks/>
          </p:cNvCxnSpPr>
          <p:nvPr/>
        </p:nvCxnSpPr>
        <p:spPr>
          <a:xfrm>
            <a:off x="687082" y="4790810"/>
            <a:ext cx="771084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9EAEF11-5368-4445-BD44-58B961F11B7B}"/>
              </a:ext>
            </a:extLst>
          </p:cNvPr>
          <p:cNvSpPr txBox="1"/>
          <p:nvPr/>
        </p:nvSpPr>
        <p:spPr>
          <a:xfrm>
            <a:off x="687082" y="4944250"/>
            <a:ext cx="6309018" cy="132831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>
              <a:lnSpc>
                <a:spcPct val="80000"/>
              </a:lnSpc>
              <a:buClrTx/>
              <a:defRPr/>
            </a:pPr>
            <a:r>
              <a:rPr lang="ru-RU" sz="2000" b="1" kern="120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rPr>
              <a:t>Вяткин Кирилл</a:t>
            </a:r>
          </a:p>
          <a:p>
            <a:pPr lvl="0">
              <a:lnSpc>
                <a:spcPct val="80000"/>
              </a:lnSpc>
              <a:buClrTx/>
              <a:defRPr/>
            </a:pPr>
            <a:endParaRPr lang="ru-RU" sz="160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lvl="0">
              <a:lnSpc>
                <a:spcPct val="80000"/>
              </a:lnSpc>
              <a:buClrTx/>
              <a:defRPr/>
            </a:pPr>
            <a:r>
              <a:rPr lang="ru-RU" sz="16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alibri" panose="020F0502020204030204" pitchFamily="34" charset="0"/>
              </a:rPr>
              <a:t>Руководитель практики повышения </a:t>
            </a:r>
            <a:br>
              <a:rPr lang="ru-RU" sz="16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alibri" panose="020F0502020204030204" pitchFamily="34" charset="0"/>
              </a:rPr>
            </a:br>
            <a:r>
              <a:rPr lang="ru-RU" sz="16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alibri" panose="020F0502020204030204" pitchFamily="34" charset="0"/>
              </a:rPr>
              <a:t>операционной эффективности</a:t>
            </a:r>
          </a:p>
          <a:p>
            <a:pPr lvl="0">
              <a:lnSpc>
                <a:spcPct val="80000"/>
              </a:lnSpc>
              <a:buClrTx/>
              <a:defRPr/>
            </a:pPr>
            <a:endParaRPr lang="ru-RU" sz="1600" kern="12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alibri" panose="020F0502020204030204" pitchFamily="34" charset="0"/>
            </a:endParaRPr>
          </a:p>
          <a:p>
            <a:pPr>
              <a:lnSpc>
                <a:spcPct val="80000"/>
              </a:lnSpc>
              <a:defRPr/>
            </a:pPr>
            <a:r>
              <a:rPr lang="ru-RU" sz="1600" dirty="0">
                <a:solidFill>
                  <a:schemeClr val="bg1">
                    <a:alpha val="60000"/>
                  </a:schemeClr>
                </a:solidFill>
                <a:cs typeface="Calibri" panose="020F0502020204030204" pitchFamily="34" charset="0"/>
              </a:rPr>
              <a:t>Блок технологических сервисов </a:t>
            </a:r>
            <a:r>
              <a:rPr lang="ru-RU" sz="16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alibri" panose="020F0502020204030204" pitchFamily="34" charset="0"/>
              </a:rPr>
              <a:t>«ГАЗПРОМНЕФТЬ-СНАБЖЕНИЕ»</a:t>
            </a:r>
          </a:p>
        </p:txBody>
      </p:sp>
    </p:spTree>
    <p:extLst>
      <p:ext uri="{BB962C8B-B14F-4D97-AF65-F5344CB8AC3E}">
        <p14:creationId xmlns:p14="http://schemas.microsoft.com/office/powerpoint/2010/main" val="3211883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9">
            <a:extLst>
              <a:ext uri="{FF2B5EF4-FFF2-40B4-BE49-F238E27FC236}">
                <a16:creationId xmlns:a16="http://schemas.microsoft.com/office/drawing/2014/main" id="{B3205162-E677-4073-8D8E-67ADBCACA2D3}"/>
              </a:ext>
            </a:extLst>
          </p:cNvPr>
          <p:cNvGrpSpPr/>
          <p:nvPr/>
        </p:nvGrpSpPr>
        <p:grpSpPr>
          <a:xfrm>
            <a:off x="6958978" y="2564904"/>
            <a:ext cx="5303201" cy="3571684"/>
            <a:chOff x="5417576" y="2450188"/>
            <a:chExt cx="6303335" cy="4107222"/>
          </a:xfrm>
        </p:grpSpPr>
        <p:pic>
          <p:nvPicPr>
            <p:cNvPr id="3" name="Рисунок 157">
              <a:extLst>
                <a:ext uri="{FF2B5EF4-FFF2-40B4-BE49-F238E27FC236}">
                  <a16:creationId xmlns:a16="http://schemas.microsoft.com/office/drawing/2014/main" id="{3A16BA1D-1B32-41DB-869A-61DBC3F1E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t="36876" r="33706"/>
            <a:stretch/>
          </p:blipFill>
          <p:spPr>
            <a:xfrm>
              <a:off x="5417576" y="2450188"/>
              <a:ext cx="6215589" cy="4107222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C6E83FA-466E-488B-B280-798C39FBCCD3}"/>
                </a:ext>
              </a:extLst>
            </p:cNvPr>
            <p:cNvSpPr txBox="1"/>
            <p:nvPr/>
          </p:nvSpPr>
          <p:spPr>
            <a:xfrm>
              <a:off x="9620365" y="4612821"/>
              <a:ext cx="892135" cy="231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Мегион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AB6A5BC-C50D-4161-A58E-CD674DB212A1}"/>
                </a:ext>
              </a:extLst>
            </p:cNvPr>
            <p:cNvSpPr txBox="1"/>
            <p:nvPr/>
          </p:nvSpPr>
          <p:spPr>
            <a:xfrm>
              <a:off x="9885402" y="5180474"/>
              <a:ext cx="892135" cy="231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омск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B72AB5F-F3C2-4E30-86A7-64AEECBF20BA}"/>
                </a:ext>
              </a:extLst>
            </p:cNvPr>
            <p:cNvSpPr txBox="1"/>
            <p:nvPr/>
          </p:nvSpPr>
          <p:spPr>
            <a:xfrm>
              <a:off x="10328905" y="4743929"/>
              <a:ext cx="1191206" cy="265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Красноярск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A6A237F-9E4D-4CF3-80BF-88E9CB26F41B}"/>
                </a:ext>
              </a:extLst>
            </p:cNvPr>
            <p:cNvSpPr txBox="1"/>
            <p:nvPr/>
          </p:nvSpPr>
          <p:spPr>
            <a:xfrm>
              <a:off x="9553624" y="4261451"/>
              <a:ext cx="1069652" cy="261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Ноябрьск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73854B-ABB3-47AC-8CFB-CEC7D7806167}"/>
                </a:ext>
              </a:extLst>
            </p:cNvPr>
            <p:cNvSpPr txBox="1"/>
            <p:nvPr/>
          </p:nvSpPr>
          <p:spPr>
            <a:xfrm>
              <a:off x="9098726" y="4098138"/>
              <a:ext cx="1175611" cy="261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Салехард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7B32777-F1BF-400E-9F6C-3C6748772A3B}"/>
                </a:ext>
              </a:extLst>
            </p:cNvPr>
            <p:cNvSpPr txBox="1"/>
            <p:nvPr/>
          </p:nvSpPr>
          <p:spPr>
            <a:xfrm>
              <a:off x="7817331" y="3947274"/>
              <a:ext cx="1200958" cy="231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Лабытнанги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C6A2BC0-39B4-4CF0-B264-4BC1C152015B}"/>
                </a:ext>
              </a:extLst>
            </p:cNvPr>
            <p:cNvSpPr txBox="1"/>
            <p:nvPr/>
          </p:nvSpPr>
          <p:spPr>
            <a:xfrm>
              <a:off x="7966254" y="3258247"/>
              <a:ext cx="1052035" cy="265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Мурманск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6A5C4C1-8887-4444-A565-007B0A529D8C}"/>
                </a:ext>
              </a:extLst>
            </p:cNvPr>
            <p:cNvSpPr txBox="1"/>
            <p:nvPr/>
          </p:nvSpPr>
          <p:spPr>
            <a:xfrm>
              <a:off x="7740025" y="5454208"/>
              <a:ext cx="969440" cy="265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Оренбург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501F8BE-EC4D-49CC-817D-9AE670420283}"/>
                </a:ext>
              </a:extLst>
            </p:cNvPr>
            <p:cNvSpPr txBox="1"/>
            <p:nvPr/>
          </p:nvSpPr>
          <p:spPr>
            <a:xfrm>
              <a:off x="6874075" y="4309708"/>
              <a:ext cx="892135" cy="231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Москва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3AB122D-B520-4BB6-9EAA-7F5E88EE7F19}"/>
                </a:ext>
              </a:extLst>
            </p:cNvPr>
            <p:cNvSpPr txBox="1"/>
            <p:nvPr/>
          </p:nvSpPr>
          <p:spPr>
            <a:xfrm>
              <a:off x="6874075" y="3527527"/>
              <a:ext cx="1378386" cy="231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Санкт-Петербург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6EEFDB0-F581-4C43-A525-B73FD4995324}"/>
                </a:ext>
              </a:extLst>
            </p:cNvPr>
            <p:cNvSpPr txBox="1"/>
            <p:nvPr/>
          </p:nvSpPr>
          <p:spPr>
            <a:xfrm>
              <a:off x="8880087" y="4992450"/>
              <a:ext cx="1052035" cy="261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обольск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2111AA5-E40A-4D89-8F54-79078E77CE1A}"/>
                </a:ext>
              </a:extLst>
            </p:cNvPr>
            <p:cNvSpPr txBox="1"/>
            <p:nvPr/>
          </p:nvSpPr>
          <p:spPr>
            <a:xfrm>
              <a:off x="7817331" y="5180437"/>
              <a:ext cx="892135" cy="231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юмень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ABB3D75-4C75-4D43-93A3-42C8536A0BF1}"/>
                </a:ext>
              </a:extLst>
            </p:cNvPr>
            <p:cNvSpPr txBox="1"/>
            <p:nvPr/>
          </p:nvSpPr>
          <p:spPr>
            <a:xfrm>
              <a:off x="9164575" y="5423828"/>
              <a:ext cx="892135" cy="231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Омск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C6793AE-D2D2-4ABE-8E08-624873673525}"/>
                </a:ext>
              </a:extLst>
            </p:cNvPr>
            <p:cNvSpPr txBox="1"/>
            <p:nvPr/>
          </p:nvSpPr>
          <p:spPr>
            <a:xfrm>
              <a:off x="7647421" y="4669684"/>
              <a:ext cx="1362281" cy="231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Ханты-Мансийск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19FEFC-591F-44E8-A63C-ECD5614C08AE}"/>
                </a:ext>
              </a:extLst>
            </p:cNvPr>
            <p:cNvSpPr txBox="1"/>
            <p:nvPr/>
          </p:nvSpPr>
          <p:spPr>
            <a:xfrm>
              <a:off x="10702184" y="5221136"/>
              <a:ext cx="1018727" cy="261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Иркутск</a:t>
              </a:r>
            </a:p>
          </p:txBody>
        </p:sp>
      </p:grpSp>
      <p:grpSp>
        <p:nvGrpSpPr>
          <p:cNvPr id="20" name="Группа 30">
            <a:extLst>
              <a:ext uri="{FF2B5EF4-FFF2-40B4-BE49-F238E27FC236}">
                <a16:creationId xmlns:a16="http://schemas.microsoft.com/office/drawing/2014/main" id="{AEEFA2D3-DCB2-4403-BEE1-9A531DF281EF}"/>
              </a:ext>
            </a:extLst>
          </p:cNvPr>
          <p:cNvGrpSpPr/>
          <p:nvPr/>
        </p:nvGrpSpPr>
        <p:grpSpPr>
          <a:xfrm>
            <a:off x="6321856" y="2757955"/>
            <a:ext cx="1367816" cy="1826975"/>
            <a:chOff x="4698091" y="3146399"/>
            <a:chExt cx="1542414" cy="1955485"/>
          </a:xfrm>
        </p:grpSpPr>
        <p:sp>
          <p:nvSpPr>
            <p:cNvPr id="21" name="TextBox 80">
              <a:extLst>
                <a:ext uri="{FF2B5EF4-FFF2-40B4-BE49-F238E27FC236}">
                  <a16:creationId xmlns:a16="http://schemas.microsoft.com/office/drawing/2014/main" id="{EB427284-F58F-4605-B576-44912A6FC5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98091" y="3146399"/>
              <a:ext cx="1115335" cy="359699"/>
            </a:xfrm>
            <a:prstGeom prst="rect">
              <a:avLst/>
            </a:prstGeom>
            <a:noFill/>
            <a:ln>
              <a:noFill/>
            </a:ln>
            <a:effectLst>
              <a:outerShdw algn="ctr" rotWithShape="0">
                <a:schemeClr val="bg1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19451" tIns="59725" rIns="119451" bIns="59725">
              <a:spAutoFit/>
            </a:bodyPr>
            <a:lstStyle>
              <a:defPPr>
                <a:defRPr lang="ru-RU"/>
              </a:defPPr>
              <a:lvl1pPr>
                <a:defRPr sz="1200" b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400">
                  <a:latin typeface="Arial Narrow" pitchFamily="34" charset="0"/>
                </a:defRPr>
              </a:lvl2pPr>
              <a:lvl3pPr marL="1143000" indent="-228600" eaLnBrk="0" hangingPunct="0">
                <a:defRPr sz="1400">
                  <a:latin typeface="Arial Narrow" pitchFamily="34" charset="0"/>
                </a:defRPr>
              </a:lvl3pPr>
              <a:lvl4pPr marL="1600200" indent="-228600" eaLnBrk="0" hangingPunct="0">
                <a:defRPr sz="1400">
                  <a:latin typeface="Arial Narrow" pitchFamily="34" charset="0"/>
                </a:defRPr>
              </a:lvl4pPr>
              <a:lvl5pPr marL="2057400" indent="-228600" eaLnBrk="0" hangingPunct="0">
                <a:defRPr sz="1400"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latin typeface="Arial Narrow" pitchFamily="34" charset="0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Сербия</a:t>
              </a:r>
              <a:r>
                <a:rPr kumimoji="0" lang="en-US" alt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427A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   </a:t>
              </a:r>
            </a:p>
          </p:txBody>
        </p:sp>
        <p:pic>
          <p:nvPicPr>
            <p:cNvPr id="22" name="Рисунок 155" descr="Изображение выглядит как торт, большой, мужчина, синий&#10;&#10;Автоматически созданное описание">
              <a:extLst>
                <a:ext uri="{FF2B5EF4-FFF2-40B4-BE49-F238E27FC236}">
                  <a16:creationId xmlns:a16="http://schemas.microsoft.com/office/drawing/2014/main" id="{7639873C-C1F9-4D2B-B8ED-BC99F3DF3D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37771" r="88873" b="21193"/>
            <a:stretch/>
          </p:blipFill>
          <p:spPr>
            <a:xfrm>
              <a:off x="5125170" y="3274909"/>
              <a:ext cx="1115335" cy="1826975"/>
            </a:xfrm>
            <a:prstGeom prst="rect">
              <a:avLst/>
            </a:prstGeom>
          </p:spPr>
        </p:pic>
      </p:grpSp>
      <p:grpSp>
        <p:nvGrpSpPr>
          <p:cNvPr id="23" name="Группа 2">
            <a:extLst>
              <a:ext uri="{FF2B5EF4-FFF2-40B4-BE49-F238E27FC236}">
                <a16:creationId xmlns:a16="http://schemas.microsoft.com/office/drawing/2014/main" id="{1BC8C11D-196F-40F3-8115-1F2F5EA3AAA2}"/>
              </a:ext>
            </a:extLst>
          </p:cNvPr>
          <p:cNvGrpSpPr/>
          <p:nvPr/>
        </p:nvGrpSpPr>
        <p:grpSpPr>
          <a:xfrm>
            <a:off x="6384251" y="2070545"/>
            <a:ext cx="1341425" cy="277126"/>
            <a:chOff x="4805588" y="2514764"/>
            <a:chExt cx="1341425" cy="27712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5694C3E-D4FA-481C-9319-51866C70AA7C}"/>
                </a:ext>
              </a:extLst>
            </p:cNvPr>
            <p:cNvSpPr txBox="1"/>
            <p:nvPr/>
          </p:nvSpPr>
          <p:spPr>
            <a:xfrm>
              <a:off x="5105061" y="2527202"/>
              <a:ext cx="1041952" cy="264688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b="1" kern="1200" dirty="0">
                  <a:solidFill>
                    <a:srgbClr val="0070BA"/>
                  </a:solidFill>
                  <a:latin typeface="+mj-lt"/>
                  <a:ea typeface="+mn-ea"/>
                  <a:cs typeface="+mn-cs"/>
                </a:rPr>
                <a:t>ГЕОГРАФИЯ</a:t>
              </a:r>
            </a:p>
          </p:txBody>
        </p:sp>
        <p:pic>
          <p:nvPicPr>
            <p:cNvPr id="25" name="Рисунок 21">
              <a:extLst>
                <a:ext uri="{FF2B5EF4-FFF2-40B4-BE49-F238E27FC236}">
                  <a16:creationId xmlns:a16="http://schemas.microsoft.com/office/drawing/2014/main" id="{D6F518C1-3D9E-4814-88CD-18F4F7C0B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05588" y="2514764"/>
              <a:ext cx="247544" cy="247544"/>
            </a:xfrm>
            <a:prstGeom prst="rect">
              <a:avLst/>
            </a:prstGeom>
          </p:spPr>
        </p:pic>
      </p:grpSp>
      <p:grpSp>
        <p:nvGrpSpPr>
          <p:cNvPr id="26" name="Группа 1">
            <a:extLst>
              <a:ext uri="{FF2B5EF4-FFF2-40B4-BE49-F238E27FC236}">
                <a16:creationId xmlns:a16="http://schemas.microsoft.com/office/drawing/2014/main" id="{DDF0843C-A05B-4F0F-BF74-D5F17A5850EF}"/>
              </a:ext>
            </a:extLst>
          </p:cNvPr>
          <p:cNvGrpSpPr/>
          <p:nvPr/>
        </p:nvGrpSpPr>
        <p:grpSpPr>
          <a:xfrm>
            <a:off x="2975002" y="2070545"/>
            <a:ext cx="2295130" cy="285903"/>
            <a:chOff x="518061" y="2510283"/>
            <a:chExt cx="2295130" cy="285903"/>
          </a:xfrm>
        </p:grpSpPr>
        <p:pic>
          <p:nvPicPr>
            <p:cNvPr id="27" name="Рисунок 27">
              <a:extLst>
                <a:ext uri="{FF2B5EF4-FFF2-40B4-BE49-F238E27FC236}">
                  <a16:creationId xmlns:a16="http://schemas.microsoft.com/office/drawing/2014/main" id="{413BFF9A-8B7D-4D31-BAF2-BFCD740E6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18061" y="2510283"/>
              <a:ext cx="247650" cy="24765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2C72DDB-AFCD-4E15-9992-46265533D8FD}"/>
                </a:ext>
              </a:extLst>
            </p:cNvPr>
            <p:cNvSpPr txBox="1"/>
            <p:nvPr/>
          </p:nvSpPr>
          <p:spPr>
            <a:xfrm>
              <a:off x="842972" y="2527202"/>
              <a:ext cx="1970219" cy="26898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b="1" kern="1200" dirty="0">
                  <a:solidFill>
                    <a:srgbClr val="0070BA"/>
                  </a:solidFill>
                  <a:latin typeface="+mj-lt"/>
                  <a:ea typeface="+mn-ea"/>
                  <a:cs typeface="+mn-cs"/>
                </a:rPr>
                <a:t>КЛЮЧЕВЫЕ ПОКАЗАТЕЛИ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332EE54-A2F1-497E-84CA-A9E6AB66301D}"/>
              </a:ext>
            </a:extLst>
          </p:cNvPr>
          <p:cNvGrpSpPr/>
          <p:nvPr/>
        </p:nvGrpSpPr>
        <p:grpSpPr>
          <a:xfrm>
            <a:off x="3010133" y="2561962"/>
            <a:ext cx="1512000" cy="1620000"/>
            <a:chOff x="2207724" y="2780928"/>
            <a:chExt cx="1512000" cy="1620000"/>
          </a:xfrm>
        </p:grpSpPr>
        <p:sp>
          <p:nvSpPr>
            <p:cNvPr id="30" name="Скругленный прямоугольник 51">
              <a:extLst>
                <a:ext uri="{FF2B5EF4-FFF2-40B4-BE49-F238E27FC236}">
                  <a16:creationId xmlns:a16="http://schemas.microsoft.com/office/drawing/2014/main" id="{AED93896-C588-480C-B5A1-4093765B510F}"/>
                </a:ext>
              </a:extLst>
            </p:cNvPr>
            <p:cNvSpPr/>
            <p:nvPr/>
          </p:nvSpPr>
          <p:spPr>
            <a:xfrm>
              <a:off x="2207724" y="2780928"/>
              <a:ext cx="1512000" cy="1620000"/>
            </a:xfrm>
            <a:prstGeom prst="roundRect">
              <a:avLst>
                <a:gd name="adj" fmla="val 6334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EE85C1D-16FE-4C84-BB07-5B31DBD748A2}"/>
                </a:ext>
              </a:extLst>
            </p:cNvPr>
            <p:cNvSpPr txBox="1"/>
            <p:nvPr/>
          </p:nvSpPr>
          <p:spPr>
            <a:xfrm>
              <a:off x="2359088" y="3124961"/>
              <a:ext cx="891270" cy="496161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4</a:t>
              </a:r>
              <a:r>
                <a:rPr lang="en-US" sz="20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 </a:t>
              </a: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50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C582F8F-54D3-4F64-9BE6-FFA758C616AB}"/>
                </a:ext>
              </a:extLst>
            </p:cNvPr>
            <p:cNvSpPr txBox="1"/>
            <p:nvPr/>
          </p:nvSpPr>
          <p:spPr>
            <a:xfrm>
              <a:off x="2367429" y="3584396"/>
              <a:ext cx="844413" cy="389237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ТЫС. ТОНН</a:t>
              </a:r>
            </a:p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ГРУЗООБОРОТ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1142450-A636-4C2E-B955-CDA0921BBD89}"/>
              </a:ext>
            </a:extLst>
          </p:cNvPr>
          <p:cNvGrpSpPr/>
          <p:nvPr/>
        </p:nvGrpSpPr>
        <p:grpSpPr>
          <a:xfrm>
            <a:off x="4666485" y="2561962"/>
            <a:ext cx="1512000" cy="1620000"/>
            <a:chOff x="2591769" y="2922972"/>
            <a:chExt cx="1923100" cy="1629490"/>
          </a:xfrm>
        </p:grpSpPr>
        <p:sp>
          <p:nvSpPr>
            <p:cNvPr id="35" name="Скругленный прямоугольник 51">
              <a:extLst>
                <a:ext uri="{FF2B5EF4-FFF2-40B4-BE49-F238E27FC236}">
                  <a16:creationId xmlns:a16="http://schemas.microsoft.com/office/drawing/2014/main" id="{57F65A16-09D7-40CB-9DF7-18AAA4460B95}"/>
                </a:ext>
              </a:extLst>
            </p:cNvPr>
            <p:cNvSpPr/>
            <p:nvPr/>
          </p:nvSpPr>
          <p:spPr>
            <a:xfrm>
              <a:off x="2591769" y="2922972"/>
              <a:ext cx="1923100" cy="1629490"/>
            </a:xfrm>
            <a:prstGeom prst="roundRect">
              <a:avLst>
                <a:gd name="adj" fmla="val 6334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58A2B58-D57F-4A05-94FC-D9F10500BDB1}"/>
                </a:ext>
              </a:extLst>
            </p:cNvPr>
            <p:cNvSpPr txBox="1"/>
            <p:nvPr/>
          </p:nvSpPr>
          <p:spPr>
            <a:xfrm>
              <a:off x="2758017" y="3269020"/>
              <a:ext cx="1512823" cy="499068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3</a:t>
              </a:r>
              <a:r>
                <a:rPr lang="en-US" sz="20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 </a:t>
              </a: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000</a:t>
              </a:r>
              <a:r>
                <a:rPr lang="en-US" sz="20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 </a:t>
              </a: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C5AC0E6-DC4C-400A-835F-5708E8AD2E19}"/>
                </a:ext>
              </a:extLst>
            </p:cNvPr>
            <p:cNvSpPr txBox="1"/>
            <p:nvPr/>
          </p:nvSpPr>
          <p:spPr>
            <a:xfrm>
              <a:off x="2765871" y="3731147"/>
              <a:ext cx="1690193" cy="53925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ТРАНСПОРТНЫХ </a:t>
              </a:r>
              <a:br>
                <a:rPr lang="en-US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СРЕДСТВ В УПРАВЛЕНИИ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576F289-4291-4656-A289-B8A3097646FC}"/>
              </a:ext>
            </a:extLst>
          </p:cNvPr>
          <p:cNvGrpSpPr/>
          <p:nvPr/>
        </p:nvGrpSpPr>
        <p:grpSpPr>
          <a:xfrm>
            <a:off x="3010133" y="4581128"/>
            <a:ext cx="1512000" cy="1620000"/>
            <a:chOff x="517540" y="4690348"/>
            <a:chExt cx="1923100" cy="1629490"/>
          </a:xfrm>
        </p:grpSpPr>
        <p:sp>
          <p:nvSpPr>
            <p:cNvPr id="39" name="Скругленный прямоугольник 51">
              <a:extLst>
                <a:ext uri="{FF2B5EF4-FFF2-40B4-BE49-F238E27FC236}">
                  <a16:creationId xmlns:a16="http://schemas.microsoft.com/office/drawing/2014/main" id="{FBAFCC3A-2A60-4F22-8535-F525A4D0E047}"/>
                </a:ext>
              </a:extLst>
            </p:cNvPr>
            <p:cNvSpPr/>
            <p:nvPr/>
          </p:nvSpPr>
          <p:spPr>
            <a:xfrm>
              <a:off x="517540" y="4690348"/>
              <a:ext cx="1923100" cy="1629490"/>
            </a:xfrm>
            <a:prstGeom prst="roundRect">
              <a:avLst>
                <a:gd name="adj" fmla="val 6334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0621C41-3865-47E9-BD87-CC1676B68AD2}"/>
                </a:ext>
              </a:extLst>
            </p:cNvPr>
            <p:cNvSpPr txBox="1"/>
            <p:nvPr/>
          </p:nvSpPr>
          <p:spPr>
            <a:xfrm>
              <a:off x="705778" y="5106226"/>
              <a:ext cx="742140" cy="499068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460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D61B3AC-A7C1-4906-8314-553352BCBAAD}"/>
                </a:ext>
              </a:extLst>
            </p:cNvPr>
            <p:cNvSpPr txBox="1"/>
            <p:nvPr/>
          </p:nvSpPr>
          <p:spPr>
            <a:xfrm>
              <a:off x="716385" y="5568353"/>
              <a:ext cx="1414989" cy="3877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ГА СКЛАДСКИХ ПЛОЩАДЕЙ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98A3B81-FC07-459E-9F1B-B1B223F280D4}"/>
              </a:ext>
            </a:extLst>
          </p:cNvPr>
          <p:cNvGrpSpPr/>
          <p:nvPr/>
        </p:nvGrpSpPr>
        <p:grpSpPr>
          <a:xfrm>
            <a:off x="4666485" y="4581128"/>
            <a:ext cx="1512000" cy="1620000"/>
            <a:chOff x="2591769" y="4690348"/>
            <a:chExt cx="1923100" cy="1629490"/>
          </a:xfrm>
        </p:grpSpPr>
        <p:sp>
          <p:nvSpPr>
            <p:cNvPr id="43" name="Скругленный прямоугольник 51">
              <a:extLst>
                <a:ext uri="{FF2B5EF4-FFF2-40B4-BE49-F238E27FC236}">
                  <a16:creationId xmlns:a16="http://schemas.microsoft.com/office/drawing/2014/main" id="{63DF8EA0-C161-496E-BD4F-6FA739F63CDE}"/>
                </a:ext>
              </a:extLst>
            </p:cNvPr>
            <p:cNvSpPr/>
            <p:nvPr/>
          </p:nvSpPr>
          <p:spPr>
            <a:xfrm>
              <a:off x="2591769" y="4690348"/>
              <a:ext cx="1923100" cy="1629490"/>
            </a:xfrm>
            <a:prstGeom prst="roundRect">
              <a:avLst>
                <a:gd name="adj" fmla="val 6334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68AB654-BACB-4443-BC67-8B2D4A8D9CFC}"/>
                </a:ext>
              </a:extLst>
            </p:cNvPr>
            <p:cNvSpPr txBox="1"/>
            <p:nvPr/>
          </p:nvSpPr>
          <p:spPr>
            <a:xfrm>
              <a:off x="2796149" y="5106226"/>
              <a:ext cx="1512823" cy="499068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3</a:t>
              </a:r>
              <a:r>
                <a:rPr lang="en-US" sz="20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 </a:t>
              </a: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000</a:t>
              </a:r>
              <a:r>
                <a:rPr lang="en-US" sz="20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 </a:t>
              </a:r>
              <a:r>
                <a:rPr lang="ru-RU" sz="3200" b="1" kern="1200" dirty="0">
                  <a:solidFill>
                    <a:srgbClr val="19A7FF"/>
                  </a:solidFill>
                  <a:latin typeface="+mj-lt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AA50E67-69A4-43CF-888D-AD6DF947C252}"/>
                </a:ext>
              </a:extLst>
            </p:cNvPr>
            <p:cNvSpPr txBox="1"/>
            <p:nvPr/>
          </p:nvSpPr>
          <p:spPr>
            <a:xfrm>
              <a:off x="2804002" y="5568353"/>
              <a:ext cx="1274120" cy="39151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ct val="80000"/>
                </a:lnSpc>
                <a:buClrTx/>
                <a:defRPr/>
              </a:pPr>
              <a:r>
                <a:rPr lang="ru-RU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ЧЕЛОВЕК ПЕРСОНАЛА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254DC146-A8ED-48C7-83F7-71CA67CC5BBB}"/>
              </a:ext>
            </a:extLst>
          </p:cNvPr>
          <p:cNvSpPr txBox="1"/>
          <p:nvPr/>
        </p:nvSpPr>
        <p:spPr>
          <a:xfrm>
            <a:off x="517540" y="1341386"/>
            <a:ext cx="10887550" cy="252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altLang="ru-RU" sz="2000" b="1" dirty="0">
                <a:solidFill>
                  <a:srgbClr val="0070BA"/>
                </a:solidFill>
              </a:rPr>
              <a:t>Крупнейший закупочный и логистический оператор в нефтегазовой отрасли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B1FA256-3B35-4A07-B60D-A211230DBC53}"/>
              </a:ext>
            </a:extLst>
          </p:cNvPr>
          <p:cNvCxnSpPr>
            <a:cxnSpLocks/>
          </p:cNvCxnSpPr>
          <p:nvPr/>
        </p:nvCxnSpPr>
        <p:spPr>
          <a:xfrm>
            <a:off x="517540" y="1847653"/>
            <a:ext cx="11260333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C1634E9-D577-40C0-98F6-2B83799C2064}"/>
              </a:ext>
            </a:extLst>
          </p:cNvPr>
          <p:cNvCxnSpPr>
            <a:cxnSpLocks/>
          </p:cNvCxnSpPr>
          <p:nvPr/>
        </p:nvCxnSpPr>
        <p:spPr>
          <a:xfrm>
            <a:off x="517540" y="1084081"/>
            <a:ext cx="11260333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Группа 69">
            <a:extLst>
              <a:ext uri="{FF2B5EF4-FFF2-40B4-BE49-F238E27FC236}">
                <a16:creationId xmlns:a16="http://schemas.microsoft.com/office/drawing/2014/main" id="{9C21DF61-4E70-4CA6-8456-BD9DDF358D9C}"/>
              </a:ext>
            </a:extLst>
          </p:cNvPr>
          <p:cNvGrpSpPr/>
          <p:nvPr/>
        </p:nvGrpSpPr>
        <p:grpSpPr>
          <a:xfrm>
            <a:off x="7069363" y="6111440"/>
            <a:ext cx="4776584" cy="274505"/>
            <a:chOff x="5167576" y="6174853"/>
            <a:chExt cx="4776584" cy="274505"/>
          </a:xfrm>
        </p:grpSpPr>
        <p:grpSp>
          <p:nvGrpSpPr>
            <p:cNvPr id="50" name="Группа 22">
              <a:extLst>
                <a:ext uri="{FF2B5EF4-FFF2-40B4-BE49-F238E27FC236}">
                  <a16:creationId xmlns:a16="http://schemas.microsoft.com/office/drawing/2014/main" id="{E9562566-5574-4467-8449-D3FFB002416F}"/>
                </a:ext>
              </a:extLst>
            </p:cNvPr>
            <p:cNvGrpSpPr/>
            <p:nvPr/>
          </p:nvGrpSpPr>
          <p:grpSpPr>
            <a:xfrm>
              <a:off x="6631792" y="6174853"/>
              <a:ext cx="1651823" cy="274505"/>
              <a:chOff x="6631792" y="6174853"/>
              <a:chExt cx="1651823" cy="274505"/>
            </a:xfrm>
          </p:grpSpPr>
          <p:sp>
            <p:nvSpPr>
              <p:cNvPr id="57" name="TextBox 80">
                <a:extLst>
                  <a:ext uri="{FF2B5EF4-FFF2-40B4-BE49-F238E27FC236}">
                    <a16:creationId xmlns:a16="http://schemas.microsoft.com/office/drawing/2014/main" id="{CBD5AB1E-4D33-4BF0-9755-E9ECD3D8DFD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23171" y="6174853"/>
                <a:ext cx="1560444" cy="274505"/>
              </a:xfrm>
              <a:prstGeom prst="rect">
                <a:avLst/>
              </a:prstGeom>
              <a:noFill/>
              <a:ln>
                <a:noFill/>
              </a:ln>
              <a:effectLst>
                <a:outerShdw algn="ctr" rotWithShape="0">
                  <a:schemeClr val="bg1">
                    <a:alpha val="50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19451" tIns="59725" rIns="119451" bIns="59725">
                <a:spAutoFit/>
              </a:bodyPr>
              <a:lstStyle>
                <a:defPPr>
                  <a:defRPr lang="ru-RU"/>
                </a:defPPr>
                <a:lvl1pPr>
                  <a:defRPr sz="1200" b="0">
                    <a:solidFill>
                      <a:schemeClr val="tx1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400">
                    <a:latin typeface="Arial Narrow" pitchFamily="34" charset="0"/>
                  </a:defRPr>
                </a:lvl2pPr>
                <a:lvl3pPr marL="1143000" indent="-228600" eaLnBrk="0" hangingPunct="0">
                  <a:defRPr sz="1400">
                    <a:latin typeface="Arial Narrow" pitchFamily="34" charset="0"/>
                  </a:defRPr>
                </a:lvl3pPr>
                <a:lvl4pPr marL="1600200" indent="-228600" eaLnBrk="0" hangingPunct="0">
                  <a:defRPr sz="1400">
                    <a:latin typeface="Arial Narrow" pitchFamily="34" charset="0"/>
                  </a:defRPr>
                </a:lvl4pPr>
                <a:lvl5pPr marL="2057400" indent="-228600" eaLnBrk="0" hangingPunct="0">
                  <a:defRPr sz="1400">
                    <a:latin typeface="Arial Narrow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9pPr>
              </a:lstStyle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Arial" pitchFamily="34" charset="0"/>
                  </a:rPr>
                  <a:t>Регионы присутствия</a:t>
                </a:r>
              </a:p>
            </p:txBody>
          </p:sp>
          <p:sp>
            <p:nvSpPr>
              <p:cNvPr id="58" name="Oval 7">
                <a:extLst>
                  <a:ext uri="{FF2B5EF4-FFF2-40B4-BE49-F238E27FC236}">
                    <a16:creationId xmlns:a16="http://schemas.microsoft.com/office/drawing/2014/main" id="{42D55470-C03D-4A87-B255-D36AF905BB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 flipV="1">
                <a:off x="6631792" y="6220802"/>
                <a:ext cx="144000" cy="144000"/>
              </a:xfrm>
              <a:prstGeom prst="ellipse">
                <a:avLst/>
              </a:prstGeom>
              <a:solidFill>
                <a:srgbClr val="B1DBFF"/>
              </a:solidFill>
              <a:ln w="3175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Группа 47">
              <a:extLst>
                <a:ext uri="{FF2B5EF4-FFF2-40B4-BE49-F238E27FC236}">
                  <a16:creationId xmlns:a16="http://schemas.microsoft.com/office/drawing/2014/main" id="{E6C3B5BF-D5F5-4F13-B17F-7C3029F73354}"/>
                </a:ext>
              </a:extLst>
            </p:cNvPr>
            <p:cNvGrpSpPr/>
            <p:nvPr/>
          </p:nvGrpSpPr>
          <p:grpSpPr>
            <a:xfrm>
              <a:off x="8107972" y="6174853"/>
              <a:ext cx="1836188" cy="274505"/>
              <a:chOff x="8107972" y="6174853"/>
              <a:chExt cx="1836188" cy="274505"/>
            </a:xfrm>
          </p:grpSpPr>
          <p:sp>
            <p:nvSpPr>
              <p:cNvPr id="55" name="TextBox 80">
                <a:extLst>
                  <a:ext uri="{FF2B5EF4-FFF2-40B4-BE49-F238E27FC236}">
                    <a16:creationId xmlns:a16="http://schemas.microsoft.com/office/drawing/2014/main" id="{CF99FAA2-F95A-4AEA-BEC8-BEFA5A98BE2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207418" y="6174853"/>
                <a:ext cx="1736742" cy="274505"/>
              </a:xfrm>
              <a:prstGeom prst="rect">
                <a:avLst/>
              </a:prstGeom>
              <a:noFill/>
              <a:ln>
                <a:noFill/>
              </a:ln>
              <a:effectLst>
                <a:outerShdw algn="ctr" rotWithShape="0">
                  <a:schemeClr val="bg1">
                    <a:alpha val="50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19451" tIns="59725" rIns="119451" bIns="59725">
                <a:spAutoFit/>
              </a:bodyPr>
              <a:lstStyle>
                <a:defPPr>
                  <a:defRPr lang="ru-RU"/>
                </a:defPPr>
                <a:lvl1pPr>
                  <a:defRPr sz="1200" b="0">
                    <a:solidFill>
                      <a:schemeClr val="tx1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400">
                    <a:latin typeface="Arial Narrow" pitchFamily="34" charset="0"/>
                  </a:defRPr>
                </a:lvl2pPr>
                <a:lvl3pPr marL="1143000" indent="-228600" eaLnBrk="0" hangingPunct="0">
                  <a:defRPr sz="1400">
                    <a:latin typeface="Arial Narrow" pitchFamily="34" charset="0"/>
                  </a:defRPr>
                </a:lvl3pPr>
                <a:lvl4pPr marL="1600200" indent="-228600" eaLnBrk="0" hangingPunct="0">
                  <a:defRPr sz="1400">
                    <a:latin typeface="Arial Narrow" pitchFamily="34" charset="0"/>
                  </a:defRPr>
                </a:lvl4pPr>
                <a:lvl5pPr marL="2057400" indent="-228600" eaLnBrk="0" hangingPunct="0">
                  <a:defRPr sz="1400">
                    <a:latin typeface="Arial Narrow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9pPr>
              </a:lstStyle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Arial" pitchFamily="34" charset="0"/>
                  </a:rPr>
                  <a:t>Перспективные регионы</a:t>
                </a:r>
              </a:p>
            </p:txBody>
          </p:sp>
          <p:sp>
            <p:nvSpPr>
              <p:cNvPr id="56" name="Oval 7">
                <a:extLst>
                  <a:ext uri="{FF2B5EF4-FFF2-40B4-BE49-F238E27FC236}">
                    <a16:creationId xmlns:a16="http://schemas.microsoft.com/office/drawing/2014/main" id="{0E963143-27AF-4D35-918B-97C504FC69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 flipV="1">
                <a:off x="8107972" y="6220802"/>
                <a:ext cx="144000" cy="144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 cap="rnd" cmpd="sng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altLang="ru-RU" sz="1600" b="0" i="0" u="none" strike="noStrike" kern="1200" cap="none" spc="0" normalizeH="0" baseline="0" noProof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Группа 21">
              <a:extLst>
                <a:ext uri="{FF2B5EF4-FFF2-40B4-BE49-F238E27FC236}">
                  <a16:creationId xmlns:a16="http://schemas.microsoft.com/office/drawing/2014/main" id="{13E9A2B4-568D-4BDF-9A64-236A75CBC029}"/>
                </a:ext>
              </a:extLst>
            </p:cNvPr>
            <p:cNvGrpSpPr/>
            <p:nvPr/>
          </p:nvGrpSpPr>
          <p:grpSpPr>
            <a:xfrm>
              <a:off x="5167576" y="6174853"/>
              <a:ext cx="1572228" cy="274505"/>
              <a:chOff x="5167576" y="6174853"/>
              <a:chExt cx="1572228" cy="274505"/>
            </a:xfrm>
          </p:grpSpPr>
          <p:sp>
            <p:nvSpPr>
              <p:cNvPr id="53" name="TextBox 80">
                <a:extLst>
                  <a:ext uri="{FF2B5EF4-FFF2-40B4-BE49-F238E27FC236}">
                    <a16:creationId xmlns:a16="http://schemas.microsoft.com/office/drawing/2014/main" id="{C4F6FEBB-F4BF-494E-AE55-596566712E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62614" y="6174853"/>
                <a:ext cx="1477190" cy="274505"/>
              </a:xfrm>
              <a:prstGeom prst="rect">
                <a:avLst/>
              </a:prstGeom>
              <a:noFill/>
              <a:ln>
                <a:noFill/>
              </a:ln>
              <a:effectLst>
                <a:outerShdw algn="ctr" rotWithShape="0">
                  <a:schemeClr val="bg1">
                    <a:alpha val="50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19451" tIns="59725" rIns="119451" bIns="59725">
                <a:spAutoFit/>
              </a:bodyPr>
              <a:lstStyle>
                <a:defPPr>
                  <a:defRPr lang="ru-RU"/>
                </a:defPPr>
                <a:lvl1pPr>
                  <a:defRPr sz="1200" b="0">
                    <a:solidFill>
                      <a:schemeClr val="tx1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sz="1400">
                    <a:latin typeface="Arial Narrow" pitchFamily="34" charset="0"/>
                  </a:defRPr>
                </a:lvl2pPr>
                <a:lvl3pPr marL="1143000" indent="-228600" eaLnBrk="0" hangingPunct="0">
                  <a:defRPr sz="1400">
                    <a:latin typeface="Arial Narrow" pitchFamily="34" charset="0"/>
                  </a:defRPr>
                </a:lvl3pPr>
                <a:lvl4pPr marL="1600200" indent="-228600" eaLnBrk="0" hangingPunct="0">
                  <a:defRPr sz="1400">
                    <a:latin typeface="Arial Narrow" pitchFamily="34" charset="0"/>
                  </a:defRPr>
                </a:lvl4pPr>
                <a:lvl5pPr marL="2057400" indent="-228600" eaLnBrk="0" hangingPunct="0">
                  <a:defRPr sz="1400">
                    <a:latin typeface="Arial Narrow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latin typeface="Arial Narrow" pitchFamily="34" charset="0"/>
                  </a:defRPr>
                </a:lvl9pPr>
              </a:lstStyle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Arial" pitchFamily="34" charset="0"/>
                  </a:rPr>
                  <a:t>Города присутствия</a:t>
                </a:r>
                <a:endParaRPr kumimoji="0" lang="en-US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4" name="AutoShape 7">
                <a:extLst>
                  <a:ext uri="{FF2B5EF4-FFF2-40B4-BE49-F238E27FC236}">
                    <a16:creationId xmlns:a16="http://schemas.microsoft.com/office/drawing/2014/main" id="{F361AFD4-1C07-4898-A9B8-96D87DFDB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7576" y="6220802"/>
                <a:ext cx="144000" cy="144000"/>
              </a:xfrm>
              <a:custGeom>
                <a:avLst/>
                <a:gdLst>
                  <a:gd name="T0" fmla="*/ 102785736 w 21598"/>
                  <a:gd name="T1" fmla="*/ 51392901 h 21598"/>
                  <a:gd name="T2" fmla="*/ 98874034 w 21598"/>
                  <a:gd name="T3" fmla="*/ 31723603 h 21598"/>
                  <a:gd name="T4" fmla="*/ 87732966 w 21598"/>
                  <a:gd name="T5" fmla="*/ 15052770 h 21598"/>
                  <a:gd name="T6" fmla="*/ 71062133 w 21598"/>
                  <a:gd name="T7" fmla="*/ 3911702 h 21598"/>
                  <a:gd name="T8" fmla="*/ 51392901 w 21598"/>
                  <a:gd name="T9" fmla="*/ 0 h 21598"/>
                  <a:gd name="T10" fmla="*/ 31723603 w 21598"/>
                  <a:gd name="T11" fmla="*/ 3911702 h 21598"/>
                  <a:gd name="T12" fmla="*/ 15052770 w 21598"/>
                  <a:gd name="T13" fmla="*/ 15052770 h 21598"/>
                  <a:gd name="T14" fmla="*/ 3911702 w 21598"/>
                  <a:gd name="T15" fmla="*/ 31723603 h 21598"/>
                  <a:gd name="T16" fmla="*/ 0 w 21598"/>
                  <a:gd name="T17" fmla="*/ 51392901 h 21598"/>
                  <a:gd name="T18" fmla="*/ 3911702 w 21598"/>
                  <a:gd name="T19" fmla="*/ 71062133 h 21598"/>
                  <a:gd name="T20" fmla="*/ 15052770 w 21598"/>
                  <a:gd name="T21" fmla="*/ 87732966 h 21598"/>
                  <a:gd name="T22" fmla="*/ 31723603 w 21598"/>
                  <a:gd name="T23" fmla="*/ 98874034 h 21598"/>
                  <a:gd name="T24" fmla="*/ 51392901 w 21598"/>
                  <a:gd name="T25" fmla="*/ 102785736 h 21598"/>
                  <a:gd name="T26" fmla="*/ 71062133 w 21598"/>
                  <a:gd name="T27" fmla="*/ 98874034 h 21598"/>
                  <a:gd name="T28" fmla="*/ 87732966 w 21598"/>
                  <a:gd name="T29" fmla="*/ 87732966 h 21598"/>
                  <a:gd name="T30" fmla="*/ 98874034 w 21598"/>
                  <a:gd name="T31" fmla="*/ 71062133 h 21598"/>
                  <a:gd name="T32" fmla="*/ 102785736 w 21598"/>
                  <a:gd name="T33" fmla="*/ 51392901 h 21598"/>
                  <a:gd name="T34" fmla="*/ 102785736 w 21598"/>
                  <a:gd name="T35" fmla="*/ 51392901 h 2159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1598" h="21598">
                    <a:moveTo>
                      <a:pt x="21598" y="10799"/>
                    </a:moveTo>
                    <a:cubicBezTo>
                      <a:pt x="21599" y="9385"/>
                      <a:pt x="21318" y="7972"/>
                      <a:pt x="20776" y="6666"/>
                    </a:cubicBezTo>
                    <a:cubicBezTo>
                      <a:pt x="20236" y="5360"/>
                      <a:pt x="19435" y="4162"/>
                      <a:pt x="18435" y="3163"/>
                    </a:cubicBezTo>
                    <a:cubicBezTo>
                      <a:pt x="17436" y="2163"/>
                      <a:pt x="16238" y="1362"/>
                      <a:pt x="14932" y="822"/>
                    </a:cubicBezTo>
                    <a:cubicBezTo>
                      <a:pt x="13626" y="280"/>
                      <a:pt x="12213" y="-1"/>
                      <a:pt x="10799" y="0"/>
                    </a:cubicBezTo>
                    <a:cubicBezTo>
                      <a:pt x="9385" y="-1"/>
                      <a:pt x="7972" y="280"/>
                      <a:pt x="6666" y="822"/>
                    </a:cubicBezTo>
                    <a:cubicBezTo>
                      <a:pt x="5360" y="1362"/>
                      <a:pt x="4162" y="2163"/>
                      <a:pt x="3163" y="3163"/>
                    </a:cubicBezTo>
                    <a:cubicBezTo>
                      <a:pt x="2163" y="4162"/>
                      <a:pt x="1362" y="5360"/>
                      <a:pt x="822" y="6666"/>
                    </a:cubicBezTo>
                    <a:cubicBezTo>
                      <a:pt x="280" y="7972"/>
                      <a:pt x="-1" y="9385"/>
                      <a:pt x="0" y="10799"/>
                    </a:cubicBezTo>
                    <a:cubicBezTo>
                      <a:pt x="-1" y="12213"/>
                      <a:pt x="280" y="13626"/>
                      <a:pt x="822" y="14932"/>
                    </a:cubicBezTo>
                    <a:cubicBezTo>
                      <a:pt x="1362" y="16238"/>
                      <a:pt x="2163" y="17436"/>
                      <a:pt x="3163" y="18435"/>
                    </a:cubicBezTo>
                    <a:cubicBezTo>
                      <a:pt x="4162" y="19435"/>
                      <a:pt x="5360" y="20236"/>
                      <a:pt x="6666" y="20776"/>
                    </a:cubicBezTo>
                    <a:cubicBezTo>
                      <a:pt x="7972" y="21318"/>
                      <a:pt x="9385" y="21599"/>
                      <a:pt x="10799" y="21598"/>
                    </a:cubicBezTo>
                    <a:cubicBezTo>
                      <a:pt x="12213" y="21599"/>
                      <a:pt x="13626" y="21318"/>
                      <a:pt x="14932" y="20776"/>
                    </a:cubicBezTo>
                    <a:cubicBezTo>
                      <a:pt x="16238" y="20236"/>
                      <a:pt x="17436" y="19435"/>
                      <a:pt x="18435" y="18435"/>
                    </a:cubicBezTo>
                    <a:cubicBezTo>
                      <a:pt x="19435" y="17436"/>
                      <a:pt x="20236" y="16238"/>
                      <a:pt x="20776" y="14932"/>
                    </a:cubicBezTo>
                    <a:cubicBezTo>
                      <a:pt x="21318" y="13626"/>
                      <a:pt x="21599" y="12213"/>
                      <a:pt x="21598" y="10799"/>
                    </a:cubicBezTo>
                    <a:close/>
                    <a:moveTo>
                      <a:pt x="21598" y="10799"/>
                    </a:moveTo>
                  </a:path>
                </a:pathLst>
              </a:custGeom>
              <a:solidFill>
                <a:srgbClr val="006AB2"/>
              </a:solidFill>
              <a:ln w="6350" cap="flat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Lato Bold" charset="0"/>
                </a:endParaRPr>
              </a:p>
            </p:txBody>
          </p:sp>
        </p:grp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D5DC1AFA-14E9-449D-82B0-5A8EA5DF8C20}"/>
              </a:ext>
            </a:extLst>
          </p:cNvPr>
          <p:cNvSpPr txBox="1"/>
          <p:nvPr/>
        </p:nvSpPr>
        <p:spPr>
          <a:xfrm>
            <a:off x="914459" y="2087464"/>
            <a:ext cx="764825" cy="319446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lvl="0">
              <a:lnSpc>
                <a:spcPct val="80000"/>
              </a:lnSpc>
              <a:buClrTx/>
              <a:defRPr/>
            </a:pPr>
            <a:r>
              <a:rPr lang="ru-RU" b="1" dirty="0">
                <a:solidFill>
                  <a:srgbClr val="0070BA"/>
                </a:solidFill>
                <a:latin typeface="+mj-lt"/>
              </a:rPr>
              <a:t>УСЛУГИ</a:t>
            </a:r>
            <a:endParaRPr lang="ru-RU" b="1" kern="1200" dirty="0">
              <a:solidFill>
                <a:srgbClr val="0070BA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1F948F0-E8FA-449C-A878-E14B44821467}"/>
              </a:ext>
            </a:extLst>
          </p:cNvPr>
          <p:cNvGrpSpPr/>
          <p:nvPr/>
        </p:nvGrpSpPr>
        <p:grpSpPr>
          <a:xfrm>
            <a:off x="596045" y="3480759"/>
            <a:ext cx="1503006" cy="451406"/>
            <a:chOff x="551169" y="3480759"/>
            <a:chExt cx="1503006" cy="451406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0EB2AFC-9B99-4450-A38E-31AC9AB7BC5F}"/>
                </a:ext>
              </a:extLst>
            </p:cNvPr>
            <p:cNvSpPr txBox="1"/>
            <p:nvPr/>
          </p:nvSpPr>
          <p:spPr>
            <a:xfrm>
              <a:off x="1038733" y="3480759"/>
              <a:ext cx="1015442" cy="4514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rgbClr val="002060"/>
                  </a:solidFill>
                  <a:latin typeface="+mn-lt"/>
                  <a:ea typeface="+mn-ea"/>
                  <a:cs typeface="+mn-cs"/>
                </a:rPr>
                <a:t>Складская логистика</a:t>
              </a:r>
            </a:p>
          </p:txBody>
        </p:sp>
        <p:grpSp>
          <p:nvGrpSpPr>
            <p:cNvPr id="62" name="Graphic 35">
              <a:extLst>
                <a:ext uri="{FF2B5EF4-FFF2-40B4-BE49-F238E27FC236}">
                  <a16:creationId xmlns:a16="http://schemas.microsoft.com/office/drawing/2014/main" id="{C328246B-3DFC-4B35-9754-DAABC80B777F}"/>
                </a:ext>
              </a:extLst>
            </p:cNvPr>
            <p:cNvGrpSpPr/>
            <p:nvPr/>
          </p:nvGrpSpPr>
          <p:grpSpPr>
            <a:xfrm>
              <a:off x="551169" y="3571755"/>
              <a:ext cx="290811" cy="269414"/>
              <a:chOff x="771395" y="3622053"/>
              <a:chExt cx="290811" cy="269414"/>
            </a:xfrm>
            <a:solidFill>
              <a:srgbClr val="19A7FF"/>
            </a:solidFill>
          </p:grpSpPr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120059DB-9D7E-4443-BD08-FBCDE0060AA2}"/>
                  </a:ext>
                </a:extLst>
              </p:cNvPr>
              <p:cNvSpPr/>
              <p:nvPr/>
            </p:nvSpPr>
            <p:spPr>
              <a:xfrm>
                <a:off x="771395" y="3622053"/>
                <a:ext cx="290811" cy="269410"/>
              </a:xfrm>
              <a:custGeom>
                <a:avLst/>
                <a:gdLst>
                  <a:gd name="connsiteX0" fmla="*/ 288640 w 290811"/>
                  <a:gd name="connsiteY0" fmla="*/ 101063 h 269410"/>
                  <a:gd name="connsiteX1" fmla="*/ 148386 w 290811"/>
                  <a:gd name="connsiteY1" fmla="*/ 957 h 269410"/>
                  <a:gd name="connsiteX2" fmla="*/ 142405 w 290811"/>
                  <a:gd name="connsiteY2" fmla="*/ 957 h 269410"/>
                  <a:gd name="connsiteX3" fmla="*/ 2159 w 290811"/>
                  <a:gd name="connsiteY3" fmla="*/ 101063 h 269410"/>
                  <a:gd name="connsiteX4" fmla="*/ 243 w 290811"/>
                  <a:gd name="connsiteY4" fmla="*/ 106829 h 269410"/>
                  <a:gd name="connsiteX5" fmla="*/ 5144 w 290811"/>
                  <a:gd name="connsiteY5" fmla="*/ 110411 h 269410"/>
                  <a:gd name="connsiteX6" fmla="*/ 27374 w 290811"/>
                  <a:gd name="connsiteY6" fmla="*/ 110411 h 269410"/>
                  <a:gd name="connsiteX7" fmla="*/ 27374 w 290811"/>
                  <a:gd name="connsiteY7" fmla="*/ 264263 h 269410"/>
                  <a:gd name="connsiteX8" fmla="*/ 32522 w 290811"/>
                  <a:gd name="connsiteY8" fmla="*/ 269411 h 269410"/>
                  <a:gd name="connsiteX9" fmla="*/ 64912 w 290811"/>
                  <a:gd name="connsiteY9" fmla="*/ 269411 h 269410"/>
                  <a:gd name="connsiteX10" fmla="*/ 70060 w 290811"/>
                  <a:gd name="connsiteY10" fmla="*/ 264263 h 269410"/>
                  <a:gd name="connsiteX11" fmla="*/ 70063 w 290811"/>
                  <a:gd name="connsiteY11" fmla="*/ 130849 h 269410"/>
                  <a:gd name="connsiteX12" fmla="*/ 220738 w 290811"/>
                  <a:gd name="connsiteY12" fmla="*/ 130849 h 269410"/>
                  <a:gd name="connsiteX13" fmla="*/ 220738 w 290811"/>
                  <a:gd name="connsiteY13" fmla="*/ 264263 h 269410"/>
                  <a:gd name="connsiteX14" fmla="*/ 225886 w 290811"/>
                  <a:gd name="connsiteY14" fmla="*/ 269411 h 269410"/>
                  <a:gd name="connsiteX15" fmla="*/ 258276 w 290811"/>
                  <a:gd name="connsiteY15" fmla="*/ 269411 h 269410"/>
                  <a:gd name="connsiteX16" fmla="*/ 263424 w 290811"/>
                  <a:gd name="connsiteY16" fmla="*/ 264263 h 269410"/>
                  <a:gd name="connsiteX17" fmla="*/ 263424 w 290811"/>
                  <a:gd name="connsiteY17" fmla="*/ 110411 h 269410"/>
                  <a:gd name="connsiteX18" fmla="*/ 285662 w 290811"/>
                  <a:gd name="connsiteY18" fmla="*/ 110411 h 269410"/>
                  <a:gd name="connsiteX19" fmla="*/ 290563 w 290811"/>
                  <a:gd name="connsiteY19" fmla="*/ 106829 h 269410"/>
                  <a:gd name="connsiteX20" fmla="*/ 288641 w 290811"/>
                  <a:gd name="connsiteY20" fmla="*/ 101063 h 269410"/>
                  <a:gd name="connsiteX21" fmla="*/ 258266 w 290811"/>
                  <a:gd name="connsiteY21" fmla="*/ 100115 h 269410"/>
                  <a:gd name="connsiteX22" fmla="*/ 253118 w 290811"/>
                  <a:gd name="connsiteY22" fmla="*/ 105263 h 269410"/>
                  <a:gd name="connsiteX23" fmla="*/ 253118 w 290811"/>
                  <a:gd name="connsiteY23" fmla="*/ 259115 h 269410"/>
                  <a:gd name="connsiteX24" fmla="*/ 231023 w 290811"/>
                  <a:gd name="connsiteY24" fmla="*/ 259115 h 269410"/>
                  <a:gd name="connsiteX25" fmla="*/ 231023 w 290811"/>
                  <a:gd name="connsiteY25" fmla="*/ 125701 h 269410"/>
                  <a:gd name="connsiteX26" fmla="*/ 225875 w 290811"/>
                  <a:gd name="connsiteY26" fmla="*/ 120553 h 269410"/>
                  <a:gd name="connsiteX27" fmla="*/ 64920 w 290811"/>
                  <a:gd name="connsiteY27" fmla="*/ 120553 h 269410"/>
                  <a:gd name="connsiteX28" fmla="*/ 59772 w 290811"/>
                  <a:gd name="connsiteY28" fmla="*/ 125701 h 269410"/>
                  <a:gd name="connsiteX29" fmla="*/ 59772 w 290811"/>
                  <a:gd name="connsiteY29" fmla="*/ 259115 h 269410"/>
                  <a:gd name="connsiteX30" fmla="*/ 37677 w 290811"/>
                  <a:gd name="connsiteY30" fmla="*/ 259115 h 269410"/>
                  <a:gd name="connsiteX31" fmla="*/ 37677 w 290811"/>
                  <a:gd name="connsiteY31" fmla="*/ 105263 h 269410"/>
                  <a:gd name="connsiteX32" fmla="*/ 32529 w 290811"/>
                  <a:gd name="connsiteY32" fmla="*/ 100115 h 269410"/>
                  <a:gd name="connsiteX33" fmla="*/ 21222 w 290811"/>
                  <a:gd name="connsiteY33" fmla="*/ 100115 h 269410"/>
                  <a:gd name="connsiteX34" fmla="*/ 145392 w 290811"/>
                  <a:gd name="connsiteY34" fmla="*/ 11474 h 269410"/>
                  <a:gd name="connsiteX35" fmla="*/ 269583 w 290811"/>
                  <a:gd name="connsiteY35" fmla="*/ 100115 h 269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90811" h="269410">
                    <a:moveTo>
                      <a:pt x="288640" y="101063"/>
                    </a:moveTo>
                    <a:lnTo>
                      <a:pt x="148386" y="957"/>
                    </a:lnTo>
                    <a:cubicBezTo>
                      <a:pt x="146593" y="-319"/>
                      <a:pt x="144195" y="-319"/>
                      <a:pt x="142405" y="957"/>
                    </a:cubicBezTo>
                    <a:lnTo>
                      <a:pt x="2159" y="101063"/>
                    </a:lnTo>
                    <a:cubicBezTo>
                      <a:pt x="338" y="102362"/>
                      <a:pt x="-435" y="104697"/>
                      <a:pt x="243" y="106829"/>
                    </a:cubicBezTo>
                    <a:cubicBezTo>
                      <a:pt x="923" y="108960"/>
                      <a:pt x="2909" y="110411"/>
                      <a:pt x="5144" y="110411"/>
                    </a:cubicBezTo>
                    <a:lnTo>
                      <a:pt x="27374" y="110411"/>
                    </a:lnTo>
                    <a:lnTo>
                      <a:pt x="27374" y="264263"/>
                    </a:lnTo>
                    <a:cubicBezTo>
                      <a:pt x="27374" y="267095"/>
                      <a:pt x="29681" y="269411"/>
                      <a:pt x="32522" y="269411"/>
                    </a:cubicBezTo>
                    <a:lnTo>
                      <a:pt x="64912" y="269411"/>
                    </a:lnTo>
                    <a:cubicBezTo>
                      <a:pt x="67753" y="269411"/>
                      <a:pt x="70060" y="267095"/>
                      <a:pt x="70060" y="264263"/>
                    </a:cubicBezTo>
                    <a:lnTo>
                      <a:pt x="70063" y="130849"/>
                    </a:lnTo>
                    <a:lnTo>
                      <a:pt x="220738" y="130849"/>
                    </a:lnTo>
                    <a:lnTo>
                      <a:pt x="220738" y="264263"/>
                    </a:lnTo>
                    <a:cubicBezTo>
                      <a:pt x="220738" y="267095"/>
                      <a:pt x="223044" y="269411"/>
                      <a:pt x="225886" y="269411"/>
                    </a:cubicBezTo>
                    <a:lnTo>
                      <a:pt x="258276" y="269411"/>
                    </a:lnTo>
                    <a:cubicBezTo>
                      <a:pt x="261117" y="269411"/>
                      <a:pt x="263424" y="267095"/>
                      <a:pt x="263424" y="264263"/>
                    </a:cubicBezTo>
                    <a:lnTo>
                      <a:pt x="263424" y="110411"/>
                    </a:lnTo>
                    <a:lnTo>
                      <a:pt x="285662" y="110411"/>
                    </a:lnTo>
                    <a:cubicBezTo>
                      <a:pt x="287897" y="110411"/>
                      <a:pt x="289873" y="108960"/>
                      <a:pt x="290563" y="106829"/>
                    </a:cubicBezTo>
                    <a:cubicBezTo>
                      <a:pt x="291255" y="104697"/>
                      <a:pt x="290462" y="102362"/>
                      <a:pt x="288641" y="101063"/>
                    </a:cubicBezTo>
                    <a:close/>
                    <a:moveTo>
                      <a:pt x="258266" y="100115"/>
                    </a:moveTo>
                    <a:cubicBezTo>
                      <a:pt x="255425" y="100115"/>
                      <a:pt x="253118" y="102422"/>
                      <a:pt x="253118" y="105263"/>
                    </a:cubicBezTo>
                    <a:lnTo>
                      <a:pt x="253118" y="259115"/>
                    </a:lnTo>
                    <a:lnTo>
                      <a:pt x="231023" y="259115"/>
                    </a:lnTo>
                    <a:lnTo>
                      <a:pt x="231023" y="125701"/>
                    </a:lnTo>
                    <a:cubicBezTo>
                      <a:pt x="231023" y="122860"/>
                      <a:pt x="228716" y="120553"/>
                      <a:pt x="225875" y="120553"/>
                    </a:cubicBezTo>
                    <a:lnTo>
                      <a:pt x="64920" y="120553"/>
                    </a:lnTo>
                    <a:cubicBezTo>
                      <a:pt x="62087" y="120553"/>
                      <a:pt x="59772" y="122860"/>
                      <a:pt x="59772" y="125701"/>
                    </a:cubicBezTo>
                    <a:lnTo>
                      <a:pt x="59772" y="259115"/>
                    </a:lnTo>
                    <a:lnTo>
                      <a:pt x="37677" y="259115"/>
                    </a:lnTo>
                    <a:lnTo>
                      <a:pt x="37677" y="105263"/>
                    </a:lnTo>
                    <a:cubicBezTo>
                      <a:pt x="37677" y="102422"/>
                      <a:pt x="35370" y="100115"/>
                      <a:pt x="32529" y="100115"/>
                    </a:cubicBezTo>
                    <a:lnTo>
                      <a:pt x="21222" y="100115"/>
                    </a:lnTo>
                    <a:lnTo>
                      <a:pt x="145392" y="11474"/>
                    </a:lnTo>
                    <a:lnTo>
                      <a:pt x="269583" y="100115"/>
                    </a:lnTo>
                    <a:close/>
                  </a:path>
                </a:pathLst>
              </a:custGeom>
              <a:solidFill>
                <a:srgbClr val="19A7FF"/>
              </a:solidFill>
              <a:ln w="7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EF2FA5-4AAE-42F2-988E-06CCEBB80D39}"/>
                  </a:ext>
                </a:extLst>
              </p:cNvPr>
              <p:cNvSpPr/>
              <p:nvPr/>
            </p:nvSpPr>
            <p:spPr>
              <a:xfrm>
                <a:off x="844724" y="3703502"/>
                <a:ext cx="34274" cy="10296"/>
              </a:xfrm>
              <a:custGeom>
                <a:avLst/>
                <a:gdLst>
                  <a:gd name="connsiteX0" fmla="*/ 0 w 34274"/>
                  <a:gd name="connsiteY0" fmla="*/ 0 h 10296"/>
                  <a:gd name="connsiteX1" fmla="*/ 34275 w 34274"/>
                  <a:gd name="connsiteY1" fmla="*/ 0 h 10296"/>
                  <a:gd name="connsiteX2" fmla="*/ 34275 w 34274"/>
                  <a:gd name="connsiteY2" fmla="*/ 10296 h 10296"/>
                  <a:gd name="connsiteX3" fmla="*/ 0 w 34274"/>
                  <a:gd name="connsiteY3" fmla="*/ 10296 h 10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74" h="10296">
                    <a:moveTo>
                      <a:pt x="0" y="0"/>
                    </a:moveTo>
                    <a:lnTo>
                      <a:pt x="34275" y="0"/>
                    </a:lnTo>
                    <a:lnTo>
                      <a:pt x="34275" y="10296"/>
                    </a:lnTo>
                    <a:lnTo>
                      <a:pt x="0" y="10296"/>
                    </a:lnTo>
                    <a:close/>
                  </a:path>
                </a:pathLst>
              </a:custGeom>
              <a:solidFill>
                <a:srgbClr val="19A7FF"/>
              </a:solidFill>
              <a:ln w="7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888649A0-681D-470A-B6B4-8AD259F9C44D}"/>
                  </a:ext>
                </a:extLst>
              </p:cNvPr>
              <p:cNvSpPr/>
              <p:nvPr/>
            </p:nvSpPr>
            <p:spPr>
              <a:xfrm>
                <a:off x="899653" y="3703502"/>
                <a:ext cx="34274" cy="10296"/>
              </a:xfrm>
              <a:custGeom>
                <a:avLst/>
                <a:gdLst>
                  <a:gd name="connsiteX0" fmla="*/ 0 w 34274"/>
                  <a:gd name="connsiteY0" fmla="*/ 0 h 10296"/>
                  <a:gd name="connsiteX1" fmla="*/ 34275 w 34274"/>
                  <a:gd name="connsiteY1" fmla="*/ 0 h 10296"/>
                  <a:gd name="connsiteX2" fmla="*/ 34275 w 34274"/>
                  <a:gd name="connsiteY2" fmla="*/ 10296 h 10296"/>
                  <a:gd name="connsiteX3" fmla="*/ 0 w 34274"/>
                  <a:gd name="connsiteY3" fmla="*/ 10296 h 10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74" h="10296">
                    <a:moveTo>
                      <a:pt x="0" y="0"/>
                    </a:moveTo>
                    <a:lnTo>
                      <a:pt x="34275" y="0"/>
                    </a:lnTo>
                    <a:lnTo>
                      <a:pt x="34275" y="10296"/>
                    </a:lnTo>
                    <a:lnTo>
                      <a:pt x="0" y="10296"/>
                    </a:lnTo>
                    <a:close/>
                  </a:path>
                </a:pathLst>
              </a:custGeom>
              <a:solidFill>
                <a:srgbClr val="19A7FF"/>
              </a:solidFill>
              <a:ln w="7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9C08F96D-2909-4973-B6DD-4679A8682F5E}"/>
                  </a:ext>
                </a:extLst>
              </p:cNvPr>
              <p:cNvSpPr/>
              <p:nvPr/>
            </p:nvSpPr>
            <p:spPr>
              <a:xfrm>
                <a:off x="954589" y="3703502"/>
                <a:ext cx="34274" cy="10296"/>
              </a:xfrm>
              <a:custGeom>
                <a:avLst/>
                <a:gdLst>
                  <a:gd name="connsiteX0" fmla="*/ 0 w 34274"/>
                  <a:gd name="connsiteY0" fmla="*/ 0 h 10296"/>
                  <a:gd name="connsiteX1" fmla="*/ 34275 w 34274"/>
                  <a:gd name="connsiteY1" fmla="*/ 0 h 10296"/>
                  <a:gd name="connsiteX2" fmla="*/ 34275 w 34274"/>
                  <a:gd name="connsiteY2" fmla="*/ 10296 h 10296"/>
                  <a:gd name="connsiteX3" fmla="*/ 0 w 34274"/>
                  <a:gd name="connsiteY3" fmla="*/ 10296 h 10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74" h="10296">
                    <a:moveTo>
                      <a:pt x="0" y="0"/>
                    </a:moveTo>
                    <a:lnTo>
                      <a:pt x="34275" y="0"/>
                    </a:lnTo>
                    <a:lnTo>
                      <a:pt x="34275" y="10296"/>
                    </a:lnTo>
                    <a:lnTo>
                      <a:pt x="0" y="10296"/>
                    </a:lnTo>
                    <a:close/>
                  </a:path>
                </a:pathLst>
              </a:custGeom>
              <a:solidFill>
                <a:srgbClr val="19A7FF"/>
              </a:solidFill>
              <a:ln w="7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06ABA0A-EC8B-461E-9F30-C2BE69D515E5}"/>
                  </a:ext>
                </a:extLst>
              </p:cNvPr>
              <p:cNvSpPr/>
              <p:nvPr/>
            </p:nvSpPr>
            <p:spPr>
              <a:xfrm>
                <a:off x="850058" y="3785963"/>
                <a:ext cx="105497" cy="105504"/>
              </a:xfrm>
              <a:custGeom>
                <a:avLst/>
                <a:gdLst>
                  <a:gd name="connsiteX0" fmla="*/ 100346 w 105497"/>
                  <a:gd name="connsiteY0" fmla="*/ 47607 h 105504"/>
                  <a:gd name="connsiteX1" fmla="*/ 57895 w 105497"/>
                  <a:gd name="connsiteY1" fmla="*/ 47607 h 105504"/>
                  <a:gd name="connsiteX2" fmla="*/ 57895 w 105497"/>
                  <a:gd name="connsiteY2" fmla="*/ 5148 h 105504"/>
                  <a:gd name="connsiteX3" fmla="*/ 52747 w 105497"/>
                  <a:gd name="connsiteY3" fmla="*/ 0 h 105504"/>
                  <a:gd name="connsiteX4" fmla="*/ 5148 w 105497"/>
                  <a:gd name="connsiteY4" fmla="*/ 0 h 105504"/>
                  <a:gd name="connsiteX5" fmla="*/ 0 w 105497"/>
                  <a:gd name="connsiteY5" fmla="*/ 5148 h 105504"/>
                  <a:gd name="connsiteX6" fmla="*/ 0 w 105497"/>
                  <a:gd name="connsiteY6" fmla="*/ 100357 h 105504"/>
                  <a:gd name="connsiteX7" fmla="*/ 5148 w 105497"/>
                  <a:gd name="connsiteY7" fmla="*/ 105505 h 105504"/>
                  <a:gd name="connsiteX8" fmla="*/ 100349 w 105497"/>
                  <a:gd name="connsiteY8" fmla="*/ 105505 h 105504"/>
                  <a:gd name="connsiteX9" fmla="*/ 105497 w 105497"/>
                  <a:gd name="connsiteY9" fmla="*/ 100357 h 105504"/>
                  <a:gd name="connsiteX10" fmla="*/ 105497 w 105497"/>
                  <a:gd name="connsiteY10" fmla="*/ 52757 h 105504"/>
                  <a:gd name="connsiteX11" fmla="*/ 100349 w 105497"/>
                  <a:gd name="connsiteY11" fmla="*/ 47609 h 105504"/>
                  <a:gd name="connsiteX12" fmla="*/ 10300 w 105497"/>
                  <a:gd name="connsiteY12" fmla="*/ 10296 h 105504"/>
                  <a:gd name="connsiteX13" fmla="*/ 47604 w 105497"/>
                  <a:gd name="connsiteY13" fmla="*/ 10296 h 105504"/>
                  <a:gd name="connsiteX14" fmla="*/ 47604 w 105497"/>
                  <a:gd name="connsiteY14" fmla="*/ 47607 h 105504"/>
                  <a:gd name="connsiteX15" fmla="*/ 10300 w 105497"/>
                  <a:gd name="connsiteY15" fmla="*/ 47607 h 105504"/>
                  <a:gd name="connsiteX16" fmla="*/ 10300 w 105497"/>
                  <a:gd name="connsiteY16" fmla="*/ 57903 h 105504"/>
                  <a:gd name="connsiteX17" fmla="*/ 47604 w 105497"/>
                  <a:gd name="connsiteY17" fmla="*/ 57903 h 105504"/>
                  <a:gd name="connsiteX18" fmla="*/ 47604 w 105497"/>
                  <a:gd name="connsiteY18" fmla="*/ 95206 h 105504"/>
                  <a:gd name="connsiteX19" fmla="*/ 10300 w 105497"/>
                  <a:gd name="connsiteY19" fmla="*/ 95206 h 105504"/>
                  <a:gd name="connsiteX20" fmla="*/ 95198 w 105497"/>
                  <a:gd name="connsiteY20" fmla="*/ 95206 h 105504"/>
                  <a:gd name="connsiteX21" fmla="*/ 57895 w 105497"/>
                  <a:gd name="connsiteY21" fmla="*/ 95206 h 105504"/>
                  <a:gd name="connsiteX22" fmla="*/ 57895 w 105497"/>
                  <a:gd name="connsiteY22" fmla="*/ 57903 h 105504"/>
                  <a:gd name="connsiteX23" fmla="*/ 95198 w 105497"/>
                  <a:gd name="connsiteY23" fmla="*/ 57903 h 105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05497" h="105504">
                    <a:moveTo>
                      <a:pt x="100346" y="47607"/>
                    </a:moveTo>
                    <a:lnTo>
                      <a:pt x="57895" y="47607"/>
                    </a:lnTo>
                    <a:lnTo>
                      <a:pt x="57895" y="5148"/>
                    </a:lnTo>
                    <a:cubicBezTo>
                      <a:pt x="57895" y="2307"/>
                      <a:pt x="55580" y="0"/>
                      <a:pt x="52747" y="0"/>
                    </a:cubicBezTo>
                    <a:lnTo>
                      <a:pt x="5148" y="0"/>
                    </a:lnTo>
                    <a:cubicBezTo>
                      <a:pt x="2307" y="0"/>
                      <a:pt x="0" y="2307"/>
                      <a:pt x="0" y="5148"/>
                    </a:cubicBezTo>
                    <a:lnTo>
                      <a:pt x="0" y="100357"/>
                    </a:lnTo>
                    <a:cubicBezTo>
                      <a:pt x="0" y="103189"/>
                      <a:pt x="2307" y="105505"/>
                      <a:pt x="5148" y="105505"/>
                    </a:cubicBezTo>
                    <a:lnTo>
                      <a:pt x="100349" y="105505"/>
                    </a:lnTo>
                    <a:cubicBezTo>
                      <a:pt x="103190" y="105505"/>
                      <a:pt x="105497" y="103189"/>
                      <a:pt x="105497" y="100357"/>
                    </a:cubicBezTo>
                    <a:lnTo>
                      <a:pt x="105497" y="52757"/>
                    </a:lnTo>
                    <a:cubicBezTo>
                      <a:pt x="105497" y="49916"/>
                      <a:pt x="103190" y="47609"/>
                      <a:pt x="100349" y="47609"/>
                    </a:cubicBezTo>
                    <a:close/>
                    <a:moveTo>
                      <a:pt x="10300" y="10296"/>
                    </a:moveTo>
                    <a:lnTo>
                      <a:pt x="47604" y="10296"/>
                    </a:lnTo>
                    <a:lnTo>
                      <a:pt x="47604" y="47607"/>
                    </a:lnTo>
                    <a:lnTo>
                      <a:pt x="10300" y="47607"/>
                    </a:lnTo>
                    <a:close/>
                    <a:moveTo>
                      <a:pt x="10300" y="57903"/>
                    </a:moveTo>
                    <a:lnTo>
                      <a:pt x="47604" y="57903"/>
                    </a:lnTo>
                    <a:lnTo>
                      <a:pt x="47604" y="95206"/>
                    </a:lnTo>
                    <a:lnTo>
                      <a:pt x="10300" y="95206"/>
                    </a:lnTo>
                    <a:close/>
                    <a:moveTo>
                      <a:pt x="95198" y="95206"/>
                    </a:moveTo>
                    <a:lnTo>
                      <a:pt x="57895" y="95206"/>
                    </a:lnTo>
                    <a:lnTo>
                      <a:pt x="57895" y="57903"/>
                    </a:lnTo>
                    <a:lnTo>
                      <a:pt x="95198" y="57903"/>
                    </a:lnTo>
                    <a:close/>
                  </a:path>
                </a:pathLst>
              </a:custGeom>
              <a:solidFill>
                <a:srgbClr val="19A7FF"/>
              </a:solidFill>
              <a:ln w="7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pic>
        <p:nvPicPr>
          <p:cNvPr id="68" name="Graphic 67">
            <a:extLst>
              <a:ext uri="{FF2B5EF4-FFF2-40B4-BE49-F238E27FC236}">
                <a16:creationId xmlns:a16="http://schemas.microsoft.com/office/drawing/2014/main" id="{23CFBCDC-176F-4D57-8D8C-E239F735546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18802"/>
          <a:stretch/>
        </p:blipFill>
        <p:spPr>
          <a:xfrm>
            <a:off x="487636" y="2042042"/>
            <a:ext cx="426823" cy="346570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302A1656-7FCF-4100-8D44-732401F38B08}"/>
              </a:ext>
            </a:extLst>
          </p:cNvPr>
          <p:cNvGrpSpPr/>
          <p:nvPr/>
        </p:nvGrpSpPr>
        <p:grpSpPr>
          <a:xfrm>
            <a:off x="520050" y="4264970"/>
            <a:ext cx="1776974" cy="451406"/>
            <a:chOff x="475174" y="4264970"/>
            <a:chExt cx="1776974" cy="451406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AD5FF84-8779-44E7-8480-C104DDC518E3}"/>
                </a:ext>
              </a:extLst>
            </p:cNvPr>
            <p:cNvSpPr txBox="1"/>
            <p:nvPr/>
          </p:nvSpPr>
          <p:spPr>
            <a:xfrm>
              <a:off x="1038732" y="4264970"/>
              <a:ext cx="1213416" cy="4514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rgbClr val="002060"/>
                  </a:solidFill>
                  <a:latin typeface="+mn-lt"/>
                  <a:ea typeface="+mn-ea"/>
                  <a:cs typeface="+mn-cs"/>
                </a:rPr>
                <a:t>Транспортная логистика</a:t>
              </a: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4F02DEA2-9340-4477-BCC2-29C64EEE85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b="26837"/>
            <a:stretch/>
          </p:blipFill>
          <p:spPr>
            <a:xfrm>
              <a:off x="475174" y="4297770"/>
              <a:ext cx="476304" cy="348480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48F624FE-A262-434E-8A06-5B0FD075C058}"/>
              </a:ext>
            </a:extLst>
          </p:cNvPr>
          <p:cNvGrpSpPr/>
          <p:nvPr/>
        </p:nvGrpSpPr>
        <p:grpSpPr>
          <a:xfrm>
            <a:off x="520050" y="2799474"/>
            <a:ext cx="1174303" cy="348480"/>
            <a:chOff x="475174" y="2799474"/>
            <a:chExt cx="1174303" cy="348480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5E821D5-8D7F-44F1-9C5F-2A53CF737D73}"/>
                </a:ext>
              </a:extLst>
            </p:cNvPr>
            <p:cNvSpPr txBox="1"/>
            <p:nvPr/>
          </p:nvSpPr>
          <p:spPr>
            <a:xfrm>
              <a:off x="1038732" y="2836529"/>
              <a:ext cx="610745" cy="274370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rgbClr val="002060"/>
                  </a:solidFill>
                  <a:latin typeface="+mn-lt"/>
                  <a:ea typeface="+mn-ea"/>
                  <a:cs typeface="+mn-cs"/>
                </a:rPr>
                <a:t>Закупки</a:t>
              </a: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8865DAA7-B0C1-458D-B9E1-107514695A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9967"/>
            <a:stretch/>
          </p:blipFill>
          <p:spPr>
            <a:xfrm>
              <a:off x="475174" y="2799474"/>
              <a:ext cx="497591" cy="348480"/>
            </a:xfrm>
            <a:prstGeom prst="rect">
              <a:avLst/>
            </a:prstGeom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D5BA548-56C3-4A00-B66A-1FA69C2EB03B}"/>
              </a:ext>
            </a:extLst>
          </p:cNvPr>
          <p:cNvGrpSpPr/>
          <p:nvPr/>
        </p:nvGrpSpPr>
        <p:grpSpPr>
          <a:xfrm>
            <a:off x="556054" y="5049180"/>
            <a:ext cx="2155570" cy="812979"/>
            <a:chOff x="511178" y="5049180"/>
            <a:chExt cx="2155570" cy="812979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E76A033-39FB-477D-8017-B73CF8025C2D}"/>
                </a:ext>
              </a:extLst>
            </p:cNvPr>
            <p:cNvSpPr txBox="1"/>
            <p:nvPr/>
          </p:nvSpPr>
          <p:spPr>
            <a:xfrm>
              <a:off x="1038731" y="5049180"/>
              <a:ext cx="1628017" cy="81297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rgbClr val="002060"/>
                  </a:solidFill>
                  <a:latin typeface="+mn-lt"/>
                  <a:ea typeface="+mn-ea"/>
                  <a:cs typeface="+mn-cs"/>
                </a:rPr>
                <a:t>Модернизация </a:t>
              </a:r>
              <a:br>
                <a:rPr lang="ru-RU" sz="1400" kern="1200" dirty="0">
                  <a:solidFill>
                    <a:srgbClr val="002060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400" kern="1200" dirty="0">
                  <a:solidFill>
                    <a:srgbClr val="002060"/>
                  </a:solidFill>
                  <a:latin typeface="+mn-lt"/>
                  <a:ea typeface="+mn-ea"/>
                  <a:cs typeface="+mn-cs"/>
                </a:rPr>
                <a:t>и строительство складской инфраструктуры</a:t>
              </a: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9B2D333B-F853-48AD-A31A-5E59DED238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b="27713"/>
            <a:stretch/>
          </p:blipFill>
          <p:spPr>
            <a:xfrm>
              <a:off x="511178" y="5075140"/>
              <a:ext cx="438249" cy="316800"/>
            </a:xfrm>
            <a:prstGeom prst="rect">
              <a:avLst/>
            </a:prstGeom>
          </p:spPr>
        </p:pic>
      </p:grpSp>
      <p:sp>
        <p:nvSpPr>
          <p:cNvPr id="79" name="Title 10">
            <a:extLst>
              <a:ext uri="{FF2B5EF4-FFF2-40B4-BE49-F238E27FC236}">
                <a16:creationId xmlns:a16="http://schemas.microsoft.com/office/drawing/2014/main" id="{3AD8A76C-94A2-42BC-9114-B43E55D1D772}"/>
              </a:ext>
            </a:extLst>
          </p:cNvPr>
          <p:cNvSpPr txBox="1">
            <a:spLocks/>
          </p:cNvSpPr>
          <p:nvPr/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80000"/>
              </a:lnSpc>
              <a:spcBef>
                <a:spcPct val="0"/>
              </a:spcBef>
              <a:buNone/>
              <a:defRPr lang="ru-RU" sz="2800" b="1" cap="all" baseline="0" dirty="0">
                <a:solidFill>
                  <a:srgbClr val="002E50"/>
                </a:solidFill>
                <a:latin typeface="+mj-lt"/>
                <a:ea typeface="Century Gothic"/>
                <a:cs typeface="Century Gothic"/>
              </a:defRPr>
            </a:lvl1pPr>
          </a:lstStyle>
          <a:p>
            <a:r>
              <a:rPr lang="ru-RU" dirty="0">
                <a:sym typeface="Century Gothic"/>
              </a:rPr>
              <a:t>О КОМПАНИИ «ГАЗПРОМНЕФТЬ-СНАБЖЕНИЕ»</a:t>
            </a:r>
            <a:endParaRPr lang="ru-RU" dirty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D24F691-3BE3-4F9A-956E-85AA86F93937}"/>
              </a:ext>
            </a:extLst>
          </p:cNvPr>
          <p:cNvCxnSpPr/>
          <p:nvPr/>
        </p:nvCxnSpPr>
        <p:spPr>
          <a:xfrm>
            <a:off x="624498" y="4860170"/>
            <a:ext cx="183509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085263B0-C04B-47A7-8D22-6A57723DBBF1}"/>
              </a:ext>
            </a:extLst>
          </p:cNvPr>
          <p:cNvCxnSpPr/>
          <p:nvPr/>
        </p:nvCxnSpPr>
        <p:spPr>
          <a:xfrm>
            <a:off x="624498" y="4067800"/>
            <a:ext cx="183509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F294C11-43B0-4DB9-A092-8CCF706F5C0F}"/>
              </a:ext>
            </a:extLst>
          </p:cNvPr>
          <p:cNvCxnSpPr/>
          <p:nvPr/>
        </p:nvCxnSpPr>
        <p:spPr>
          <a:xfrm>
            <a:off x="624498" y="3307411"/>
            <a:ext cx="183509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937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0">
            <a:extLst>
              <a:ext uri="{FF2B5EF4-FFF2-40B4-BE49-F238E27FC236}">
                <a16:creationId xmlns:a16="http://schemas.microsoft.com/office/drawing/2014/main" id="{6624E92F-377C-44E5-BA2E-6936758CC102}"/>
              </a:ext>
            </a:extLst>
          </p:cNvPr>
          <p:cNvSpPr txBox="1">
            <a:spLocks/>
          </p:cNvSpPr>
          <p:nvPr/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800" b="1" cap="all" baseline="0">
                <a:solidFill>
                  <a:srgbClr val="002E50"/>
                </a:solidFill>
                <a:latin typeface="+mj-lt"/>
                <a:ea typeface="Century Gothic"/>
                <a:cs typeface="Century Gothic"/>
              </a:defRPr>
            </a:lvl1pPr>
          </a:lstStyle>
          <a:p>
            <a:r>
              <a:rPr lang="ru-RU" dirty="0">
                <a:sym typeface="Century Gothic"/>
              </a:rPr>
              <a:t>Схема работы в регионе ДО</a:t>
            </a:r>
            <a:endParaRPr lang="ru-RU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0D563EF-F30A-4D60-B1A2-5F7C4203F84A}"/>
              </a:ext>
            </a:extLst>
          </p:cNvPr>
          <p:cNvGrpSpPr/>
          <p:nvPr/>
        </p:nvGrpSpPr>
        <p:grpSpPr>
          <a:xfrm>
            <a:off x="7476141" y="1339518"/>
            <a:ext cx="4021812" cy="837656"/>
            <a:chOff x="7476141" y="457869"/>
            <a:chExt cx="4021812" cy="83765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FEA9F20E-42C0-4142-8A80-12C45A01EBF0}"/>
                </a:ext>
              </a:extLst>
            </p:cNvPr>
            <p:cNvSpPr/>
            <p:nvPr/>
          </p:nvSpPr>
          <p:spPr>
            <a:xfrm>
              <a:off x="7476141" y="457869"/>
              <a:ext cx="4021812" cy="837656"/>
            </a:xfrm>
            <a:prstGeom prst="round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>
                <a:solidFill>
                  <a:srgbClr val="3C3C3C"/>
                </a:solidFill>
                <a:latin typeface="Arial"/>
              </a:endParaRP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F2B091AA-928A-471B-BA9C-E962D6C6BB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33581"/>
            <a:stretch/>
          </p:blipFill>
          <p:spPr>
            <a:xfrm>
              <a:off x="7613176" y="666659"/>
              <a:ext cx="705790" cy="468776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F6095C-B8FD-4EE5-A91E-3553B05C0937}"/>
                </a:ext>
              </a:extLst>
            </p:cNvPr>
            <p:cNvSpPr txBox="1"/>
            <p:nvPr/>
          </p:nvSpPr>
          <p:spPr>
            <a:xfrm>
              <a:off x="8601232" y="633023"/>
              <a:ext cx="2752568" cy="528794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l">
                <a:spcBef>
                  <a:spcPts val="300"/>
                </a:spcBef>
              </a:pP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Закупка услуг </a:t>
              </a:r>
              <a:br>
                <a:rPr lang="ru-RU" sz="1600" b="1" dirty="0">
                  <a:solidFill>
                    <a:srgbClr val="002060"/>
                  </a:solidFill>
                  <a:latin typeface="+mj-lt"/>
                </a:rPr>
              </a:b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хранения и ПРР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1FCCD996-E534-4229-ABC5-8F881E5A3DBB}"/>
              </a:ext>
            </a:extLst>
          </p:cNvPr>
          <p:cNvSpPr txBox="1"/>
          <p:nvPr/>
        </p:nvSpPr>
        <p:spPr>
          <a:xfrm>
            <a:off x="7491014" y="2718966"/>
            <a:ext cx="3433708" cy="29649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>
              <a:lnSpc>
                <a:spcPts val="1700"/>
              </a:lnSpc>
              <a:buClrTx/>
              <a:defRPr/>
            </a:pPr>
            <a:r>
              <a:rPr lang="ru-RU" sz="1400" b="1" dirty="0">
                <a:solidFill>
                  <a:schemeClr val="accent3"/>
                </a:solidFill>
                <a:latin typeface="+mj-lt"/>
              </a:rPr>
              <a:t>«МИНУСЫ» СХЕМЫ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FD61E93-AEFE-4D25-93DE-6FD017FD2C90}"/>
              </a:ext>
            </a:extLst>
          </p:cNvPr>
          <p:cNvCxnSpPr>
            <a:cxnSpLocks/>
          </p:cNvCxnSpPr>
          <p:nvPr/>
        </p:nvCxnSpPr>
        <p:spPr>
          <a:xfrm>
            <a:off x="7889404" y="3949043"/>
            <a:ext cx="35640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74DD7D0-2C60-479A-AB06-01A1F5785D32}"/>
              </a:ext>
            </a:extLst>
          </p:cNvPr>
          <p:cNvCxnSpPr>
            <a:cxnSpLocks/>
          </p:cNvCxnSpPr>
          <p:nvPr/>
        </p:nvCxnSpPr>
        <p:spPr>
          <a:xfrm>
            <a:off x="7889404" y="4600727"/>
            <a:ext cx="35640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65E568-C090-4E6A-BF6C-1476E887E454}"/>
              </a:ext>
            </a:extLst>
          </p:cNvPr>
          <p:cNvCxnSpPr>
            <a:cxnSpLocks/>
          </p:cNvCxnSpPr>
          <p:nvPr/>
        </p:nvCxnSpPr>
        <p:spPr>
          <a:xfrm>
            <a:off x="7889404" y="5358161"/>
            <a:ext cx="35640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790F1E96-3836-4FA8-A0A2-F5749CD50D41}"/>
              </a:ext>
            </a:extLst>
          </p:cNvPr>
          <p:cNvGrpSpPr/>
          <p:nvPr/>
        </p:nvGrpSpPr>
        <p:grpSpPr>
          <a:xfrm>
            <a:off x="7491014" y="3344623"/>
            <a:ext cx="3565612" cy="451406"/>
            <a:chOff x="7491014" y="3507581"/>
            <a:chExt cx="3565612" cy="45140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6C63528-6B46-4C47-8E86-E00276F13264}"/>
                </a:ext>
              </a:extLst>
            </p:cNvPr>
            <p:cNvSpPr txBox="1"/>
            <p:nvPr/>
          </p:nvSpPr>
          <p:spPr>
            <a:xfrm>
              <a:off x="7889404" y="3507581"/>
              <a:ext cx="3167222" cy="4514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Отсутствие логистической безопасности компании в регионе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9625D3E-3664-4705-90B2-C85989FE049C}"/>
                </a:ext>
              </a:extLst>
            </p:cNvPr>
            <p:cNvSpPr txBox="1"/>
            <p:nvPr/>
          </p:nvSpPr>
          <p:spPr>
            <a:xfrm>
              <a:off x="7491014" y="3560456"/>
              <a:ext cx="442836" cy="34565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ru-RU"/>
              </a:defPPr>
              <a:lvl1pPr marR="0" indent="0" fontAlgn="auto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SzTx/>
                <a:buFontTx/>
                <a:buNone/>
                <a:tabLst/>
                <a:defRPr sz="5400" b="1">
                  <a:ln>
                    <a:solidFill>
                      <a:srgbClr val="19A7FF"/>
                    </a:solidFill>
                  </a:ln>
                  <a:solidFill>
                    <a:srgbClr val="19A7FF">
                      <a:alpha val="5000"/>
                    </a:srgbClr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2000" dirty="0">
                  <a:ln w="6350">
                    <a:solidFill>
                      <a:schemeClr val="bg1">
                        <a:lumMod val="65000"/>
                      </a:schemeClr>
                    </a:solidFill>
                  </a:ln>
                  <a:solidFill>
                    <a:schemeClr val="bg1">
                      <a:lumMod val="95000"/>
                      <a:alpha val="5000"/>
                    </a:schemeClr>
                  </a:solidFill>
                </a:rPr>
                <a:t>01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32943A-6531-4616-8F37-F8A414804C2A}"/>
              </a:ext>
            </a:extLst>
          </p:cNvPr>
          <p:cNvGrpSpPr/>
          <p:nvPr/>
        </p:nvGrpSpPr>
        <p:grpSpPr>
          <a:xfrm>
            <a:off x="7491014" y="4102057"/>
            <a:ext cx="4090939" cy="345656"/>
            <a:chOff x="7491014" y="4155494"/>
            <a:chExt cx="4090939" cy="34565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FCADAFE-08AD-448A-A767-EC99BCACE0D0}"/>
                </a:ext>
              </a:extLst>
            </p:cNvPr>
            <p:cNvSpPr txBox="1"/>
            <p:nvPr/>
          </p:nvSpPr>
          <p:spPr>
            <a:xfrm>
              <a:off x="7889404" y="4192388"/>
              <a:ext cx="3692549" cy="271869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dirty="0">
                  <a:solidFill>
                    <a:schemeClr val="tx2"/>
                  </a:solidFill>
                </a:rPr>
                <a:t>Неудовлетворительное качество площадок 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8E4BB16-F4C3-49FE-8E3B-222E9D45D015}"/>
                </a:ext>
              </a:extLst>
            </p:cNvPr>
            <p:cNvSpPr txBox="1"/>
            <p:nvPr/>
          </p:nvSpPr>
          <p:spPr>
            <a:xfrm>
              <a:off x="7491014" y="4155494"/>
              <a:ext cx="442836" cy="34565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ru-RU"/>
              </a:defPPr>
              <a:lvl1pPr marR="0" indent="0" fontAlgn="auto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SzTx/>
                <a:buFontTx/>
                <a:buNone/>
                <a:tabLst/>
                <a:defRPr sz="5400" b="1">
                  <a:ln>
                    <a:solidFill>
                      <a:srgbClr val="19A7FF"/>
                    </a:solidFill>
                  </a:ln>
                  <a:solidFill>
                    <a:srgbClr val="19A7FF">
                      <a:alpha val="5000"/>
                    </a:srgbClr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2000" dirty="0">
                  <a:ln w="6350">
                    <a:solidFill>
                      <a:schemeClr val="bg1">
                        <a:lumMod val="65000"/>
                      </a:schemeClr>
                    </a:solidFill>
                  </a:ln>
                  <a:solidFill>
                    <a:schemeClr val="bg1">
                      <a:lumMod val="95000"/>
                      <a:alpha val="5000"/>
                    </a:schemeClr>
                  </a:solidFill>
                </a:rPr>
                <a:t>02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E45CAFF-9FB0-41EA-A023-8DE8645B4A01}"/>
              </a:ext>
            </a:extLst>
          </p:cNvPr>
          <p:cNvGrpSpPr/>
          <p:nvPr/>
        </p:nvGrpSpPr>
        <p:grpSpPr>
          <a:xfrm>
            <a:off x="7491014" y="4753741"/>
            <a:ext cx="4104456" cy="451406"/>
            <a:chOff x="7491014" y="4832233"/>
            <a:chExt cx="4104456" cy="45140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A563E2-8952-4728-B475-27C401AAB6DC}"/>
                </a:ext>
              </a:extLst>
            </p:cNvPr>
            <p:cNvSpPr txBox="1"/>
            <p:nvPr/>
          </p:nvSpPr>
          <p:spPr>
            <a:xfrm>
              <a:off x="7889404" y="4832233"/>
              <a:ext cx="3706066" cy="4514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Отсутствие возможности осуществления коммерческой деятельности в регионе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77DA217-6DA6-4E72-8654-1BC2F6BB1460}"/>
                </a:ext>
              </a:extLst>
            </p:cNvPr>
            <p:cNvSpPr txBox="1"/>
            <p:nvPr/>
          </p:nvSpPr>
          <p:spPr>
            <a:xfrm>
              <a:off x="7491014" y="4885108"/>
              <a:ext cx="442836" cy="34565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ru-RU"/>
              </a:defPPr>
              <a:lvl1pPr marR="0" indent="0" fontAlgn="auto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SzTx/>
                <a:buFontTx/>
                <a:buNone/>
                <a:tabLst/>
                <a:defRPr sz="5400" b="1">
                  <a:ln>
                    <a:solidFill>
                      <a:srgbClr val="19A7FF"/>
                    </a:solidFill>
                  </a:ln>
                  <a:solidFill>
                    <a:srgbClr val="19A7FF">
                      <a:alpha val="5000"/>
                    </a:srgbClr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2000" dirty="0">
                  <a:ln w="6350">
                    <a:solidFill>
                      <a:schemeClr val="bg1">
                        <a:lumMod val="65000"/>
                      </a:schemeClr>
                    </a:solidFill>
                  </a:ln>
                  <a:solidFill>
                    <a:schemeClr val="bg1">
                      <a:lumMod val="95000"/>
                      <a:alpha val="5000"/>
                    </a:schemeClr>
                  </a:solidFill>
                </a:rPr>
                <a:t>03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7881F1D-D34B-4721-BE85-1FD32852ADA6}"/>
              </a:ext>
            </a:extLst>
          </p:cNvPr>
          <p:cNvGrpSpPr/>
          <p:nvPr/>
        </p:nvGrpSpPr>
        <p:grpSpPr>
          <a:xfrm>
            <a:off x="7491014" y="5511176"/>
            <a:ext cx="3264175" cy="345656"/>
            <a:chOff x="7491014" y="5674134"/>
            <a:chExt cx="3264175" cy="34565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8D579D5-39EF-4246-BFFD-2C6B3AECEEA7}"/>
                </a:ext>
              </a:extLst>
            </p:cNvPr>
            <p:cNvSpPr txBox="1"/>
            <p:nvPr/>
          </p:nvSpPr>
          <p:spPr>
            <a:xfrm>
              <a:off x="7889404" y="5711028"/>
              <a:ext cx="2865785" cy="271869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lvl="0">
                <a:lnSpc>
                  <a:spcPts val="1440"/>
                </a:lnSpc>
                <a:buClrTx/>
                <a:defRPr/>
              </a:pPr>
              <a:r>
                <a:rPr lang="ru-RU" sz="140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rPr>
                <a:t>Высокие логистические издержки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E27CFD1-749A-4934-A7C2-3599EE63E29B}"/>
                </a:ext>
              </a:extLst>
            </p:cNvPr>
            <p:cNvSpPr txBox="1"/>
            <p:nvPr/>
          </p:nvSpPr>
          <p:spPr>
            <a:xfrm>
              <a:off x="7491014" y="5674134"/>
              <a:ext cx="442836" cy="34565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>
              <a:defPPr>
                <a:defRPr lang="ru-RU"/>
              </a:defPPr>
              <a:lvl1pPr marR="0" indent="0" fontAlgn="auto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SzTx/>
                <a:buFontTx/>
                <a:buNone/>
                <a:tabLst/>
                <a:defRPr sz="5400" b="1">
                  <a:ln>
                    <a:solidFill>
                      <a:srgbClr val="19A7FF"/>
                    </a:solidFill>
                  </a:ln>
                  <a:solidFill>
                    <a:srgbClr val="19A7FF">
                      <a:alpha val="5000"/>
                    </a:srgbClr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2000" dirty="0">
                  <a:ln w="6350">
                    <a:solidFill>
                      <a:schemeClr val="bg1">
                        <a:lumMod val="65000"/>
                      </a:schemeClr>
                    </a:solidFill>
                  </a:ln>
                  <a:solidFill>
                    <a:schemeClr val="bg1">
                      <a:lumMod val="95000"/>
                      <a:alpha val="5000"/>
                    </a:schemeClr>
                  </a:solidFill>
                </a:rPr>
                <a:t>04</a:t>
              </a:r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1878751-8FCF-4226-961F-70EAF1C81F76}"/>
              </a:ext>
            </a:extLst>
          </p:cNvPr>
          <p:cNvCxnSpPr>
            <a:cxnSpLocks/>
          </p:cNvCxnSpPr>
          <p:nvPr/>
        </p:nvCxnSpPr>
        <p:spPr>
          <a:xfrm>
            <a:off x="7491014" y="3137241"/>
            <a:ext cx="4006939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F5D3CB9-62AD-470D-8D82-CFD945419D60}"/>
              </a:ext>
            </a:extLst>
          </p:cNvPr>
          <p:cNvCxnSpPr>
            <a:cxnSpLocks/>
          </p:cNvCxnSpPr>
          <p:nvPr/>
        </p:nvCxnSpPr>
        <p:spPr>
          <a:xfrm>
            <a:off x="7491014" y="2525173"/>
            <a:ext cx="4006939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14BFC0C1-23F0-41DF-B862-D0C6C6B7254C}"/>
              </a:ext>
            </a:extLst>
          </p:cNvPr>
          <p:cNvGrpSpPr/>
          <p:nvPr/>
        </p:nvGrpSpPr>
        <p:grpSpPr>
          <a:xfrm>
            <a:off x="410501" y="1339518"/>
            <a:ext cx="6553426" cy="5238937"/>
            <a:chOff x="599926" y="1196885"/>
            <a:chExt cx="5499800" cy="4396648"/>
          </a:xfrm>
        </p:grpSpPr>
        <p:pic>
          <p:nvPicPr>
            <p:cNvPr id="36" name="Рисунок 138">
              <a:extLst>
                <a:ext uri="{FF2B5EF4-FFF2-40B4-BE49-F238E27FC236}">
                  <a16:creationId xmlns:a16="http://schemas.microsoft.com/office/drawing/2014/main" id="{205892AA-4C01-442F-8B20-5DD0BD3E25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9414"/>
            <a:stretch/>
          </p:blipFill>
          <p:spPr>
            <a:xfrm>
              <a:off x="599926" y="1196885"/>
              <a:ext cx="5441515" cy="4396648"/>
            </a:xfrm>
            <a:prstGeom prst="rect">
              <a:avLst/>
            </a:prstGeom>
          </p:spPr>
        </p:pic>
        <p:sp>
          <p:nvSpPr>
            <p:cNvPr id="38" name="Овал 139">
              <a:extLst>
                <a:ext uri="{FF2B5EF4-FFF2-40B4-BE49-F238E27FC236}">
                  <a16:creationId xmlns:a16="http://schemas.microsoft.com/office/drawing/2014/main" id="{C76C79C6-7C75-4490-902B-57E65C888E0E}"/>
                </a:ext>
              </a:extLst>
            </p:cNvPr>
            <p:cNvSpPr/>
            <p:nvPr/>
          </p:nvSpPr>
          <p:spPr>
            <a:xfrm>
              <a:off x="3771626" y="4450682"/>
              <a:ext cx="157082" cy="152726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9" name="Овал 140">
              <a:extLst>
                <a:ext uri="{FF2B5EF4-FFF2-40B4-BE49-F238E27FC236}">
                  <a16:creationId xmlns:a16="http://schemas.microsoft.com/office/drawing/2014/main" id="{80507D9A-3212-468C-BF67-BDBEB4DFEAD0}"/>
                </a:ext>
              </a:extLst>
            </p:cNvPr>
            <p:cNvSpPr/>
            <p:nvPr/>
          </p:nvSpPr>
          <p:spPr>
            <a:xfrm>
              <a:off x="3364119" y="4147502"/>
              <a:ext cx="141189" cy="148715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0" name="Прямоугольник 146">
              <a:extLst>
                <a:ext uri="{FF2B5EF4-FFF2-40B4-BE49-F238E27FC236}">
                  <a16:creationId xmlns:a16="http://schemas.microsoft.com/office/drawing/2014/main" id="{C5365F30-924C-4BA8-BE5A-382381BF03CB}"/>
                </a:ext>
              </a:extLst>
            </p:cNvPr>
            <p:cNvSpPr/>
            <p:nvPr/>
          </p:nvSpPr>
          <p:spPr>
            <a:xfrm>
              <a:off x="3770123" y="4224259"/>
              <a:ext cx="1002405" cy="1583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Мыс Парусный</a:t>
              </a:r>
            </a:p>
          </p:txBody>
        </p:sp>
        <p:grpSp>
          <p:nvGrpSpPr>
            <p:cNvPr id="41" name="Группа 149">
              <a:extLst>
                <a:ext uri="{FF2B5EF4-FFF2-40B4-BE49-F238E27FC236}">
                  <a16:creationId xmlns:a16="http://schemas.microsoft.com/office/drawing/2014/main" id="{C85801C6-ECBE-4197-9532-6DC38820524A}"/>
                </a:ext>
              </a:extLst>
            </p:cNvPr>
            <p:cNvGrpSpPr/>
            <p:nvPr/>
          </p:nvGrpSpPr>
          <p:grpSpPr>
            <a:xfrm>
              <a:off x="854725" y="4422770"/>
              <a:ext cx="1443728" cy="411339"/>
              <a:chOff x="8013470" y="2586769"/>
              <a:chExt cx="1818232" cy="781720"/>
            </a:xfrm>
          </p:grpSpPr>
          <p:sp>
            <p:nvSpPr>
              <p:cNvPr id="120" name="Прямоугольник 150">
                <a:extLst>
                  <a:ext uri="{FF2B5EF4-FFF2-40B4-BE49-F238E27FC236}">
                    <a16:creationId xmlns:a16="http://schemas.microsoft.com/office/drawing/2014/main" id="{BEAE35A5-4F18-446D-B5D8-3D2C8496E9C9}"/>
                  </a:ext>
                </a:extLst>
              </p:cNvPr>
              <p:cNvSpPr/>
              <p:nvPr/>
            </p:nvSpPr>
            <p:spPr>
              <a:xfrm>
                <a:off x="8013470" y="2586769"/>
                <a:ext cx="1818232" cy="781720"/>
              </a:xfrm>
              <a:prstGeom prst="rect">
                <a:avLst/>
              </a:prstGeom>
              <a:solidFill>
                <a:srgbClr val="0070BA">
                  <a:alpha val="55000"/>
                </a:srgb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21" name="Прямоугольник 151">
                <a:extLst>
                  <a:ext uri="{FF2B5EF4-FFF2-40B4-BE49-F238E27FC236}">
                    <a16:creationId xmlns:a16="http://schemas.microsoft.com/office/drawing/2014/main" id="{1AC0C12D-BC7E-40B5-850D-89419AEBBFE7}"/>
                  </a:ext>
                </a:extLst>
              </p:cNvPr>
              <p:cNvSpPr/>
              <p:nvPr/>
            </p:nvSpPr>
            <p:spPr>
              <a:xfrm>
                <a:off x="8088914" y="2745693"/>
                <a:ext cx="1664633" cy="463872"/>
              </a:xfrm>
              <a:prstGeom prst="rect">
                <a:avLst/>
              </a:prstGeom>
            </p:spPr>
            <p:txBody>
              <a:bodyPr wrap="square" lIns="36000" tIns="0" rIns="0" bIns="0">
                <a:spAutoFit/>
              </a:bodyPr>
              <a:lstStyle/>
              <a:p>
                <a:pPr lvl="0" defTabSz="1219170">
                  <a:lnSpc>
                    <a:spcPct val="90000"/>
                  </a:lnSpc>
                  <a:defRPr/>
                </a:pPr>
                <a:r>
                  <a:rPr lang="ru-RU" sz="1050" b="1" dirty="0">
                    <a:solidFill>
                      <a:schemeClr val="bg1"/>
                    </a:solidFill>
                  </a:rPr>
                  <a:t>Промышленный парк «Обской причал»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45" name="Овал 158">
              <a:extLst>
                <a:ext uri="{FF2B5EF4-FFF2-40B4-BE49-F238E27FC236}">
                  <a16:creationId xmlns:a16="http://schemas.microsoft.com/office/drawing/2014/main" id="{BDAE07CE-C61E-4A3E-B572-A05D88103C0F}"/>
                </a:ext>
              </a:extLst>
            </p:cNvPr>
            <p:cNvSpPr/>
            <p:nvPr/>
          </p:nvSpPr>
          <p:spPr>
            <a:xfrm>
              <a:off x="3544311" y="4117993"/>
              <a:ext cx="176751" cy="178223"/>
            </a:xfrm>
            <a:prstGeom prst="ellipse">
              <a:avLst/>
            </a:prstGeom>
            <a:noFill/>
            <a:ln w="19050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Овал 176">
              <a:extLst>
                <a:ext uri="{FF2B5EF4-FFF2-40B4-BE49-F238E27FC236}">
                  <a16:creationId xmlns:a16="http://schemas.microsoft.com/office/drawing/2014/main" id="{761717B7-6E26-4D22-B814-85FCFCC68181}"/>
                </a:ext>
              </a:extLst>
            </p:cNvPr>
            <p:cNvSpPr/>
            <p:nvPr/>
          </p:nvSpPr>
          <p:spPr>
            <a:xfrm>
              <a:off x="4436528" y="5317906"/>
              <a:ext cx="157082" cy="161630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1" name="Овал 179">
              <a:extLst>
                <a:ext uri="{FF2B5EF4-FFF2-40B4-BE49-F238E27FC236}">
                  <a16:creationId xmlns:a16="http://schemas.microsoft.com/office/drawing/2014/main" id="{E5820AD3-4BB7-47F2-B778-44772F52F9C1}"/>
                </a:ext>
              </a:extLst>
            </p:cNvPr>
            <p:cNvSpPr/>
            <p:nvPr/>
          </p:nvSpPr>
          <p:spPr>
            <a:xfrm>
              <a:off x="3147694" y="4039103"/>
              <a:ext cx="131278" cy="145660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2" name="Овал 180">
              <a:extLst>
                <a:ext uri="{FF2B5EF4-FFF2-40B4-BE49-F238E27FC236}">
                  <a16:creationId xmlns:a16="http://schemas.microsoft.com/office/drawing/2014/main" id="{30AE0653-62FB-43E3-82F0-AE435D963B7C}"/>
                </a:ext>
              </a:extLst>
            </p:cNvPr>
            <p:cNvSpPr/>
            <p:nvPr/>
          </p:nvSpPr>
          <p:spPr>
            <a:xfrm>
              <a:off x="5008127" y="5381555"/>
              <a:ext cx="157082" cy="152083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3" name="Овал 181">
              <a:extLst>
                <a:ext uri="{FF2B5EF4-FFF2-40B4-BE49-F238E27FC236}">
                  <a16:creationId xmlns:a16="http://schemas.microsoft.com/office/drawing/2014/main" id="{77E7656A-EC93-49A4-AC73-7297F9BDEA13}"/>
                </a:ext>
              </a:extLst>
            </p:cNvPr>
            <p:cNvSpPr/>
            <p:nvPr/>
          </p:nvSpPr>
          <p:spPr>
            <a:xfrm>
              <a:off x="1310339" y="2921401"/>
              <a:ext cx="157082" cy="150124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7116A7A-535B-49E7-8F70-5154072605D5}"/>
                </a:ext>
              </a:extLst>
            </p:cNvPr>
            <p:cNvSpPr txBox="1"/>
            <p:nvPr/>
          </p:nvSpPr>
          <p:spPr>
            <a:xfrm>
              <a:off x="5241113" y="5395761"/>
              <a:ext cx="570730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Коротчаево</a:t>
              </a: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686464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71E6DAC-A434-455F-AA43-9CA9F2C7238D}"/>
                </a:ext>
              </a:extLst>
            </p:cNvPr>
            <p:cNvSpPr txBox="1"/>
            <p:nvPr/>
          </p:nvSpPr>
          <p:spPr>
            <a:xfrm>
              <a:off x="4112408" y="5173043"/>
              <a:ext cx="849142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Новый Уренгой</a:t>
              </a:r>
            </a:p>
          </p:txBody>
        </p:sp>
        <p:sp>
          <p:nvSpPr>
            <p:cNvPr id="62" name="Овал 200">
              <a:extLst>
                <a:ext uri="{FF2B5EF4-FFF2-40B4-BE49-F238E27FC236}">
                  <a16:creationId xmlns:a16="http://schemas.microsoft.com/office/drawing/2014/main" id="{661C0D39-5C8D-4238-B946-DFF2DCB8192B}"/>
                </a:ext>
              </a:extLst>
            </p:cNvPr>
            <p:cNvSpPr/>
            <p:nvPr/>
          </p:nvSpPr>
          <p:spPr>
            <a:xfrm>
              <a:off x="997932" y="5117900"/>
              <a:ext cx="157082" cy="136668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E01DF99-2D3C-4481-9D81-B502AB7B3BCF}"/>
                </a:ext>
              </a:extLst>
            </p:cNvPr>
            <p:cNvSpPr txBox="1"/>
            <p:nvPr/>
          </p:nvSpPr>
          <p:spPr>
            <a:xfrm>
              <a:off x="807241" y="5288469"/>
              <a:ext cx="570730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Лабытнанги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F3DC643-35B3-489F-B23E-4AC3B669F38C}"/>
                </a:ext>
              </a:extLst>
            </p:cNvPr>
            <p:cNvSpPr txBox="1"/>
            <p:nvPr/>
          </p:nvSpPr>
          <p:spPr>
            <a:xfrm>
              <a:off x="1504180" y="2978220"/>
              <a:ext cx="839264" cy="9040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Бованенковское м/р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284F805-E83D-44A3-AC07-5EC7EBEBCF5A}"/>
                </a:ext>
              </a:extLst>
            </p:cNvPr>
            <p:cNvSpPr txBox="1"/>
            <p:nvPr/>
          </p:nvSpPr>
          <p:spPr>
            <a:xfrm>
              <a:off x="1304409" y="2709597"/>
              <a:ext cx="801644" cy="9040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Харасавэйское м/р</a:t>
              </a:r>
            </a:p>
          </p:txBody>
        </p:sp>
        <p:cxnSp>
          <p:nvCxnSpPr>
            <p:cNvPr id="66" name="Соединитель: уступ 204">
              <a:extLst>
                <a:ext uri="{FF2B5EF4-FFF2-40B4-BE49-F238E27FC236}">
                  <a16:creationId xmlns:a16="http://schemas.microsoft.com/office/drawing/2014/main" id="{E8AC35EE-CF36-491A-9762-C707692D6CB8}"/>
                </a:ext>
              </a:extLst>
            </p:cNvPr>
            <p:cNvCxnSpPr>
              <a:cxnSpLocks/>
              <a:stCxn id="101" idx="0"/>
            </p:cNvCxnSpPr>
            <p:nvPr/>
          </p:nvCxnSpPr>
          <p:spPr>
            <a:xfrm rot="5400000" flipH="1" flipV="1">
              <a:off x="953900" y="4962591"/>
              <a:ext cx="251136" cy="1"/>
            </a:xfrm>
            <a:prstGeom prst="bentConnector3">
              <a:avLst>
                <a:gd name="adj1" fmla="val 50000"/>
              </a:avLst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Овал 206">
              <a:extLst>
                <a:ext uri="{FF2B5EF4-FFF2-40B4-BE49-F238E27FC236}">
                  <a16:creationId xmlns:a16="http://schemas.microsoft.com/office/drawing/2014/main" id="{44D699A7-7D7C-4C1B-AE95-E1A953F88B30}"/>
                </a:ext>
              </a:extLst>
            </p:cNvPr>
            <p:cNvSpPr/>
            <p:nvPr/>
          </p:nvSpPr>
          <p:spPr>
            <a:xfrm>
              <a:off x="1143097" y="2680093"/>
              <a:ext cx="157082" cy="150124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2" name="Овал 210">
              <a:extLst>
                <a:ext uri="{FF2B5EF4-FFF2-40B4-BE49-F238E27FC236}">
                  <a16:creationId xmlns:a16="http://schemas.microsoft.com/office/drawing/2014/main" id="{9C538338-1145-4635-9C0F-B62C05E390A6}"/>
                </a:ext>
              </a:extLst>
            </p:cNvPr>
            <p:cNvSpPr/>
            <p:nvPr/>
          </p:nvSpPr>
          <p:spPr>
            <a:xfrm>
              <a:off x="5668843" y="2069866"/>
              <a:ext cx="157082" cy="156140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448FA6D0-FDD0-4A11-A9FD-E90DB706E3BF}"/>
                </a:ext>
              </a:extLst>
            </p:cNvPr>
            <p:cNvSpPr txBox="1"/>
            <p:nvPr/>
          </p:nvSpPr>
          <p:spPr>
            <a:xfrm>
              <a:off x="5415765" y="2256079"/>
              <a:ext cx="654699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Енисей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DA2D420-2226-47C4-91DD-6D9688EBB827}"/>
                </a:ext>
              </a:extLst>
            </p:cNvPr>
            <p:cNvSpPr txBox="1"/>
            <p:nvPr/>
          </p:nvSpPr>
          <p:spPr>
            <a:xfrm>
              <a:off x="3850170" y="4478740"/>
              <a:ext cx="570730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Ямбург</a:t>
              </a:r>
            </a:p>
          </p:txBody>
        </p:sp>
        <p:sp>
          <p:nvSpPr>
            <p:cNvPr id="76" name="AutoShape 18" descr="blob:https://web.telegram.org/3d35e3bc-50f8-4dcd-8f7a-991dcfce314b">
              <a:extLst>
                <a:ext uri="{FF2B5EF4-FFF2-40B4-BE49-F238E27FC236}">
                  <a16:creationId xmlns:a16="http://schemas.microsoft.com/office/drawing/2014/main" id="{B92C6868-BD27-4BF0-8927-5D91BC1E307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105255" y="1576493"/>
              <a:ext cx="1101508" cy="1101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77" name="Рисунок 229">
              <a:extLst>
                <a:ext uri="{FF2B5EF4-FFF2-40B4-BE49-F238E27FC236}">
                  <a16:creationId xmlns:a16="http://schemas.microsoft.com/office/drawing/2014/main" id="{193AFC0D-FF59-4A97-9AD0-34434B1AD1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1095162" y="2654552"/>
              <a:ext cx="232986" cy="196151"/>
            </a:xfrm>
            <a:prstGeom prst="rect">
              <a:avLst/>
            </a:prstGeom>
          </p:spPr>
        </p:pic>
        <p:pic>
          <p:nvPicPr>
            <p:cNvPr id="78" name="Рисунок 230">
              <a:extLst>
                <a:ext uri="{FF2B5EF4-FFF2-40B4-BE49-F238E27FC236}">
                  <a16:creationId xmlns:a16="http://schemas.microsoft.com/office/drawing/2014/main" id="{FFC17817-0EB2-460E-8319-0D21FDFAB1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3092453" y="4022574"/>
              <a:ext cx="232986" cy="196151"/>
            </a:xfrm>
            <a:prstGeom prst="rect">
              <a:avLst/>
            </a:prstGeom>
          </p:spPr>
        </p:pic>
        <p:pic>
          <p:nvPicPr>
            <p:cNvPr id="79" name="Рисунок 231">
              <a:extLst>
                <a:ext uri="{FF2B5EF4-FFF2-40B4-BE49-F238E27FC236}">
                  <a16:creationId xmlns:a16="http://schemas.microsoft.com/office/drawing/2014/main" id="{C435917E-B9AA-4F8F-B193-03474D3376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3505308" y="4114102"/>
              <a:ext cx="260538" cy="219348"/>
            </a:xfrm>
            <a:prstGeom prst="rect">
              <a:avLst/>
            </a:prstGeom>
          </p:spPr>
        </p:pic>
        <p:pic>
          <p:nvPicPr>
            <p:cNvPr id="80" name="Рисунок 232">
              <a:extLst>
                <a:ext uri="{FF2B5EF4-FFF2-40B4-BE49-F238E27FC236}">
                  <a16:creationId xmlns:a16="http://schemas.microsoft.com/office/drawing/2014/main" id="{B77545D4-F4E2-4F9D-9171-9A37EDE773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3288963" y="4100840"/>
              <a:ext cx="260538" cy="219348"/>
            </a:xfrm>
            <a:prstGeom prst="rect">
              <a:avLst/>
            </a:prstGeom>
          </p:spPr>
        </p:pic>
        <p:pic>
          <p:nvPicPr>
            <p:cNvPr id="81" name="Рисунок 233">
              <a:extLst>
                <a:ext uri="{FF2B5EF4-FFF2-40B4-BE49-F238E27FC236}">
                  <a16:creationId xmlns:a16="http://schemas.microsoft.com/office/drawing/2014/main" id="{1BDE72C3-1082-41B5-AD78-00098F78F3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5626623" y="2055279"/>
              <a:ext cx="232986" cy="196151"/>
            </a:xfrm>
            <a:prstGeom prst="rect">
              <a:avLst/>
            </a:prstGeom>
          </p:spPr>
        </p:pic>
        <p:pic>
          <p:nvPicPr>
            <p:cNvPr id="82" name="Рисунок 234">
              <a:extLst>
                <a:ext uri="{FF2B5EF4-FFF2-40B4-BE49-F238E27FC236}">
                  <a16:creationId xmlns:a16="http://schemas.microsoft.com/office/drawing/2014/main" id="{F9E52291-64B0-4724-92AC-1B47924058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032"/>
            <a:stretch/>
          </p:blipFill>
          <p:spPr>
            <a:xfrm>
              <a:off x="2890463" y="2686527"/>
              <a:ext cx="262512" cy="225423"/>
            </a:xfrm>
            <a:prstGeom prst="rect">
              <a:avLst/>
            </a:prstGeom>
          </p:spPr>
        </p:pic>
        <p:pic>
          <p:nvPicPr>
            <p:cNvPr id="83" name="Рисунок 235">
              <a:extLst>
                <a:ext uri="{FF2B5EF4-FFF2-40B4-BE49-F238E27FC236}">
                  <a16:creationId xmlns:a16="http://schemas.microsoft.com/office/drawing/2014/main" id="{077CDB1C-2F2C-47D1-9C83-7EEEE34B2E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032"/>
            <a:stretch/>
          </p:blipFill>
          <p:spPr>
            <a:xfrm>
              <a:off x="3477691" y="2721079"/>
              <a:ext cx="262512" cy="225423"/>
            </a:xfrm>
            <a:prstGeom prst="rect">
              <a:avLst/>
            </a:prstGeom>
          </p:spPr>
        </p:pic>
        <p:pic>
          <p:nvPicPr>
            <p:cNvPr id="84" name="Рисунок 236">
              <a:extLst>
                <a:ext uri="{FF2B5EF4-FFF2-40B4-BE49-F238E27FC236}">
                  <a16:creationId xmlns:a16="http://schemas.microsoft.com/office/drawing/2014/main" id="{1B88ABC2-D77F-4012-8363-1364F7D5DC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032"/>
            <a:stretch/>
          </p:blipFill>
          <p:spPr>
            <a:xfrm>
              <a:off x="3706979" y="2972433"/>
              <a:ext cx="262512" cy="225423"/>
            </a:xfrm>
            <a:prstGeom prst="rect">
              <a:avLst/>
            </a:prstGeom>
          </p:spPr>
        </p:pic>
        <p:pic>
          <p:nvPicPr>
            <p:cNvPr id="85" name="Рисунок 237">
              <a:extLst>
                <a:ext uri="{FF2B5EF4-FFF2-40B4-BE49-F238E27FC236}">
                  <a16:creationId xmlns:a16="http://schemas.microsoft.com/office/drawing/2014/main" id="{B6527ED6-F614-4CB1-AC48-824113947A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032"/>
            <a:stretch/>
          </p:blipFill>
          <p:spPr>
            <a:xfrm>
              <a:off x="3078461" y="2931172"/>
              <a:ext cx="262512" cy="225423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25E4E13F-E014-499E-B2FC-5B0D85544E7B}"/>
                </a:ext>
              </a:extLst>
            </p:cNvPr>
            <p:cNvSpPr txBox="1"/>
            <p:nvPr/>
          </p:nvSpPr>
          <p:spPr>
            <a:xfrm>
              <a:off x="2283531" y="2751320"/>
              <a:ext cx="654699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Арктик СПГ-1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C449377-342B-4268-B248-26C4B26CAA0E}"/>
                </a:ext>
              </a:extLst>
            </p:cNvPr>
            <p:cNvSpPr txBox="1"/>
            <p:nvPr/>
          </p:nvSpPr>
          <p:spPr>
            <a:xfrm>
              <a:off x="3701365" y="2781349"/>
              <a:ext cx="654699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Арктик СПГ-</a:t>
              </a:r>
              <a:r>
                <a:rPr lang="ru-RU" sz="700" b="1" dirty="0">
                  <a:solidFill>
                    <a:srgbClr val="686464"/>
                  </a:solidFill>
                  <a:latin typeface="+mn-lt"/>
                </a:rPr>
                <a:t>2</a:t>
              </a: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686464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34AA83D-4E80-4174-89EC-476FA9F0D13F}"/>
                </a:ext>
              </a:extLst>
            </p:cNvPr>
            <p:cNvSpPr txBox="1"/>
            <p:nvPr/>
          </p:nvSpPr>
          <p:spPr>
            <a:xfrm>
              <a:off x="2461648" y="2998069"/>
              <a:ext cx="654699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Арктик СПГ-3</a:t>
              </a:r>
            </a:p>
          </p:txBody>
        </p:sp>
        <p:pic>
          <p:nvPicPr>
            <p:cNvPr id="89" name="Рисунок 241">
              <a:extLst>
                <a:ext uri="{FF2B5EF4-FFF2-40B4-BE49-F238E27FC236}">
                  <a16:creationId xmlns:a16="http://schemas.microsoft.com/office/drawing/2014/main" id="{F9FAABFC-6A0A-42E5-88BD-61100CE81D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3142"/>
            <a:stretch/>
          </p:blipFill>
          <p:spPr>
            <a:xfrm>
              <a:off x="1265207" y="2911306"/>
              <a:ext cx="249749" cy="214818"/>
            </a:xfrm>
            <a:prstGeom prst="rect">
              <a:avLst/>
            </a:prstGeom>
          </p:spPr>
        </p:pic>
        <p:pic>
          <p:nvPicPr>
            <p:cNvPr id="90" name="Рисунок 242">
              <a:extLst>
                <a:ext uri="{FF2B5EF4-FFF2-40B4-BE49-F238E27FC236}">
                  <a16:creationId xmlns:a16="http://schemas.microsoft.com/office/drawing/2014/main" id="{CB468883-10FA-485D-8FF5-5725391659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3142"/>
            <a:stretch/>
          </p:blipFill>
          <p:spPr>
            <a:xfrm>
              <a:off x="2136361" y="2552777"/>
              <a:ext cx="249749" cy="214818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1CB9BF8-9F5F-4DE2-AB41-CABCDE67A69B}"/>
                </a:ext>
              </a:extLst>
            </p:cNvPr>
            <p:cNvSpPr txBox="1"/>
            <p:nvPr/>
          </p:nvSpPr>
          <p:spPr>
            <a:xfrm>
              <a:off x="1719128" y="2463183"/>
              <a:ext cx="918284" cy="861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r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амбейская группа</a:t>
              </a:r>
            </a:p>
          </p:txBody>
        </p:sp>
        <p:pic>
          <p:nvPicPr>
            <p:cNvPr id="92" name="Рисунок 244">
              <a:extLst>
                <a:ext uri="{FF2B5EF4-FFF2-40B4-BE49-F238E27FC236}">
                  <a16:creationId xmlns:a16="http://schemas.microsoft.com/office/drawing/2014/main" id="{6E2D5D7D-BA5C-43D4-A39B-C37668D469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2484632" y="2046406"/>
              <a:ext cx="232986" cy="196151"/>
            </a:xfrm>
            <a:prstGeom prst="rect">
              <a:avLst/>
            </a:prstGeom>
          </p:spPr>
        </p:pic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B94CA4A-D1DA-4558-8036-E6B6AED0689D}"/>
                </a:ext>
              </a:extLst>
            </p:cNvPr>
            <p:cNvSpPr txBox="1"/>
            <p:nvPr/>
          </p:nvSpPr>
          <p:spPr>
            <a:xfrm>
              <a:off x="1889731" y="2050649"/>
              <a:ext cx="654699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Малыгинское м/р</a:t>
              </a:r>
            </a:p>
          </p:txBody>
        </p:sp>
        <p:pic>
          <p:nvPicPr>
            <p:cNvPr id="94" name="Рисунок 246">
              <a:extLst>
                <a:ext uri="{FF2B5EF4-FFF2-40B4-BE49-F238E27FC236}">
                  <a16:creationId xmlns:a16="http://schemas.microsoft.com/office/drawing/2014/main" id="{5B4BB482-CC31-43C3-9866-8188D33DF2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3142"/>
            <a:stretch/>
          </p:blipFill>
          <p:spPr>
            <a:xfrm>
              <a:off x="3732066" y="4422770"/>
              <a:ext cx="249749" cy="214818"/>
            </a:xfrm>
            <a:prstGeom prst="rect">
              <a:avLst/>
            </a:prstGeom>
          </p:spPr>
        </p:pic>
        <p:pic>
          <p:nvPicPr>
            <p:cNvPr id="95" name="Рисунок 247">
              <a:extLst>
                <a:ext uri="{FF2B5EF4-FFF2-40B4-BE49-F238E27FC236}">
                  <a16:creationId xmlns:a16="http://schemas.microsoft.com/office/drawing/2014/main" id="{8AA82571-FDCA-4AC2-9A2F-45993DEAE8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3142"/>
            <a:stretch/>
          </p:blipFill>
          <p:spPr>
            <a:xfrm>
              <a:off x="4395166" y="5297827"/>
              <a:ext cx="249749" cy="214818"/>
            </a:xfrm>
            <a:prstGeom prst="rect">
              <a:avLst/>
            </a:prstGeom>
          </p:spPr>
        </p:pic>
        <p:pic>
          <p:nvPicPr>
            <p:cNvPr id="96" name="Рисунок 248">
              <a:extLst>
                <a:ext uri="{FF2B5EF4-FFF2-40B4-BE49-F238E27FC236}">
                  <a16:creationId xmlns:a16="http://schemas.microsoft.com/office/drawing/2014/main" id="{1EB7106D-CF55-44C8-83B6-1EF2125F44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3142"/>
            <a:stretch/>
          </p:blipFill>
          <p:spPr>
            <a:xfrm>
              <a:off x="4359036" y="4712605"/>
              <a:ext cx="249749" cy="214818"/>
            </a:xfrm>
            <a:prstGeom prst="rect">
              <a:avLst/>
            </a:prstGeom>
          </p:spPr>
        </p:pic>
        <p:pic>
          <p:nvPicPr>
            <p:cNvPr id="97" name="Рисунок 249">
              <a:extLst>
                <a:ext uri="{FF2B5EF4-FFF2-40B4-BE49-F238E27FC236}">
                  <a16:creationId xmlns:a16="http://schemas.microsoft.com/office/drawing/2014/main" id="{1179C087-CA8E-4CC0-8AD0-8ECBD4B307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5184941" y="4789925"/>
              <a:ext cx="232986" cy="196151"/>
            </a:xfrm>
            <a:prstGeom prst="rect">
              <a:avLst/>
            </a:prstGeom>
          </p:spPr>
        </p:pic>
        <p:pic>
          <p:nvPicPr>
            <p:cNvPr id="98" name="Рисунок 250">
              <a:extLst>
                <a:ext uri="{FF2B5EF4-FFF2-40B4-BE49-F238E27FC236}">
                  <a16:creationId xmlns:a16="http://schemas.microsoft.com/office/drawing/2014/main" id="{92D219B1-426C-426A-A1AF-29E07699EC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032"/>
            <a:stretch/>
          </p:blipFill>
          <p:spPr>
            <a:xfrm>
              <a:off x="3422482" y="3466433"/>
              <a:ext cx="262512" cy="225423"/>
            </a:xfrm>
            <a:prstGeom prst="rect">
              <a:avLst/>
            </a:prstGeom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A417D1A-8E98-4543-9B65-D977C4F86E3E}"/>
                </a:ext>
              </a:extLst>
            </p:cNvPr>
            <p:cNvSpPr txBox="1"/>
            <p:nvPr/>
          </p:nvSpPr>
          <p:spPr>
            <a:xfrm>
              <a:off x="4007674" y="3030969"/>
              <a:ext cx="1001273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Утреннее (Салмановское) м/р</a:t>
              </a:r>
            </a:p>
          </p:txBody>
        </p:sp>
        <p:pic>
          <p:nvPicPr>
            <p:cNvPr id="100" name="Рисунок 256">
              <a:extLst>
                <a:ext uri="{FF2B5EF4-FFF2-40B4-BE49-F238E27FC236}">
                  <a16:creationId xmlns:a16="http://schemas.microsoft.com/office/drawing/2014/main" id="{C4F3CDC0-D7CF-4711-A5CC-FAF70208A1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4977103" y="5359521"/>
              <a:ext cx="232986" cy="196151"/>
            </a:xfrm>
            <a:prstGeom prst="rect">
              <a:avLst/>
            </a:prstGeom>
          </p:spPr>
        </p:pic>
        <p:pic>
          <p:nvPicPr>
            <p:cNvPr id="101" name="Рисунок 257">
              <a:extLst>
                <a:ext uri="{FF2B5EF4-FFF2-40B4-BE49-F238E27FC236}">
                  <a16:creationId xmlns:a16="http://schemas.microsoft.com/office/drawing/2014/main" id="{00129399-641C-48C9-977F-58501F440E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962975" y="5088158"/>
              <a:ext cx="232986" cy="196151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A8343ADA-56F2-494F-A331-A0EF6DBB90EF}"/>
                </a:ext>
              </a:extLst>
            </p:cNvPr>
            <p:cNvSpPr txBox="1"/>
            <p:nvPr/>
          </p:nvSpPr>
          <p:spPr>
            <a:xfrm>
              <a:off x="4230813" y="4953709"/>
              <a:ext cx="715859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Ямбургское м/р</a:t>
              </a:r>
            </a:p>
          </p:txBody>
        </p:sp>
        <p:pic>
          <p:nvPicPr>
            <p:cNvPr id="103" name="Рисунок 259">
              <a:extLst>
                <a:ext uri="{FF2B5EF4-FFF2-40B4-BE49-F238E27FC236}">
                  <a16:creationId xmlns:a16="http://schemas.microsoft.com/office/drawing/2014/main" id="{8ADE56CB-BB50-4A66-9204-AEBAC80B1E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1694"/>
            <a:stretch/>
          </p:blipFill>
          <p:spPr>
            <a:xfrm>
              <a:off x="3031419" y="4593472"/>
              <a:ext cx="260538" cy="219348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541DD80-D2B4-4084-8024-1B898D395F4E}"/>
                </a:ext>
              </a:extLst>
            </p:cNvPr>
            <p:cNvSpPr txBox="1"/>
            <p:nvPr/>
          </p:nvSpPr>
          <p:spPr>
            <a:xfrm>
              <a:off x="2470284" y="4478739"/>
              <a:ext cx="871405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Новопортовское м/р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E0C33C6B-FC95-47EB-BF26-5AD7E8C672D0}"/>
                </a:ext>
              </a:extLst>
            </p:cNvPr>
            <p:cNvSpPr txBox="1"/>
            <p:nvPr/>
          </p:nvSpPr>
          <p:spPr>
            <a:xfrm>
              <a:off x="3717337" y="3529955"/>
              <a:ext cx="871405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Геофизическое м/р</a:t>
              </a:r>
            </a:p>
          </p:txBody>
        </p:sp>
        <p:pic>
          <p:nvPicPr>
            <p:cNvPr id="106" name="Рисунок 262">
              <a:extLst>
                <a:ext uri="{FF2B5EF4-FFF2-40B4-BE49-F238E27FC236}">
                  <a16:creationId xmlns:a16="http://schemas.microsoft.com/office/drawing/2014/main" id="{8667A9BC-47E4-4583-8841-B3820F7981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032"/>
            <a:stretch/>
          </p:blipFill>
          <p:spPr>
            <a:xfrm>
              <a:off x="2985170" y="1895863"/>
              <a:ext cx="262512" cy="225423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C571F171-E549-456B-9EC0-0E37BEC7BC88}"/>
                </a:ext>
              </a:extLst>
            </p:cNvPr>
            <p:cNvSpPr txBox="1"/>
            <p:nvPr/>
          </p:nvSpPr>
          <p:spPr>
            <a:xfrm>
              <a:off x="2253654" y="1775561"/>
              <a:ext cx="1076218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Северо-</a:t>
              </a:r>
              <a:r>
                <a:rPr kumimoji="0" lang="ru-RU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асийское</a:t>
              </a: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 м/р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67B03FB-17A9-4FB6-B9F1-5613FCD55085}"/>
                </a:ext>
              </a:extLst>
            </p:cNvPr>
            <p:cNvSpPr txBox="1"/>
            <p:nvPr/>
          </p:nvSpPr>
          <p:spPr>
            <a:xfrm>
              <a:off x="3743019" y="3967248"/>
              <a:ext cx="1375478" cy="95533"/>
            </a:xfrm>
            <a:prstGeom prst="rect">
              <a:avLst/>
            </a:prstGeom>
            <a:solidFill>
              <a:schemeClr val="bg1">
                <a:alpha val="27000"/>
              </a:schemeClr>
            </a:solidFill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0">
                <a:defRPr/>
              </a:pPr>
              <a:r>
                <a:rPr lang="ru-RU" sz="700" b="1" dirty="0">
                  <a:solidFill>
                    <a:srgbClr val="686464"/>
                  </a:solidFill>
                  <a:latin typeface="+mn-lt"/>
                </a:rPr>
                <a:t>Месторождение Каменносмысское море</a:t>
              </a:r>
            </a:p>
          </p:txBody>
        </p:sp>
        <p:cxnSp>
          <p:nvCxnSpPr>
            <p:cNvPr id="109" name="Прямая соединительная линия 23">
              <a:extLst>
                <a:ext uri="{FF2B5EF4-FFF2-40B4-BE49-F238E27FC236}">
                  <a16:creationId xmlns:a16="http://schemas.microsoft.com/office/drawing/2014/main" id="{C50CA8AF-78A6-4783-9E9E-A981AD722561}"/>
                </a:ext>
              </a:extLst>
            </p:cNvPr>
            <p:cNvCxnSpPr/>
            <p:nvPr/>
          </p:nvCxnSpPr>
          <p:spPr>
            <a:xfrm flipV="1">
              <a:off x="3639436" y="4021673"/>
              <a:ext cx="81626" cy="791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0" name="Рисунок 103">
              <a:extLst>
                <a:ext uri="{FF2B5EF4-FFF2-40B4-BE49-F238E27FC236}">
                  <a16:creationId xmlns:a16="http://schemas.microsoft.com/office/drawing/2014/main" id="{C370F515-3DB5-49AD-A11D-22705A3ABA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32777"/>
            <a:stretch/>
          </p:blipFill>
          <p:spPr>
            <a:xfrm>
              <a:off x="5696940" y="1280752"/>
              <a:ext cx="308629" cy="264021"/>
            </a:xfrm>
            <a:prstGeom prst="rect">
              <a:avLst/>
            </a:prstGeom>
          </p:spPr>
        </p:pic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C59C01C0-E047-4CE0-96F0-90FA5367C771}"/>
                </a:ext>
              </a:extLst>
            </p:cNvPr>
            <p:cNvSpPr txBox="1"/>
            <p:nvPr/>
          </p:nvSpPr>
          <p:spPr>
            <a:xfrm>
              <a:off x="4872068" y="1358010"/>
              <a:ext cx="871405" cy="955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Порт «Бухта Север»</a:t>
              </a:r>
            </a:p>
          </p:txBody>
        </p:sp>
        <p:grpSp>
          <p:nvGrpSpPr>
            <p:cNvPr id="113" name="Группа 110">
              <a:extLst>
                <a:ext uri="{FF2B5EF4-FFF2-40B4-BE49-F238E27FC236}">
                  <a16:creationId xmlns:a16="http://schemas.microsoft.com/office/drawing/2014/main" id="{D759697E-17F3-4930-9553-E4B1C3FB2628}"/>
                </a:ext>
              </a:extLst>
            </p:cNvPr>
            <p:cNvGrpSpPr/>
            <p:nvPr/>
          </p:nvGrpSpPr>
          <p:grpSpPr>
            <a:xfrm>
              <a:off x="5124543" y="2984369"/>
              <a:ext cx="975183" cy="331096"/>
              <a:chOff x="7668495" y="2365138"/>
              <a:chExt cx="1228147" cy="629226"/>
            </a:xfrm>
          </p:grpSpPr>
          <p:sp>
            <p:nvSpPr>
              <p:cNvPr id="115" name="Прямоугольник 111">
                <a:extLst>
                  <a:ext uri="{FF2B5EF4-FFF2-40B4-BE49-F238E27FC236}">
                    <a16:creationId xmlns:a16="http://schemas.microsoft.com/office/drawing/2014/main" id="{E987363B-5A90-4D85-B1AC-1B075304FB41}"/>
                  </a:ext>
                </a:extLst>
              </p:cNvPr>
              <p:cNvSpPr/>
              <p:nvPr/>
            </p:nvSpPr>
            <p:spPr>
              <a:xfrm>
                <a:off x="7668495" y="2365138"/>
                <a:ext cx="1179023" cy="629226"/>
              </a:xfrm>
              <a:prstGeom prst="rect">
                <a:avLst/>
              </a:prstGeom>
              <a:solidFill>
                <a:srgbClr val="0070BA">
                  <a:alpha val="44000"/>
                </a:srgb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16" name="Прямоугольник 112">
                <a:extLst>
                  <a:ext uri="{FF2B5EF4-FFF2-40B4-BE49-F238E27FC236}">
                    <a16:creationId xmlns:a16="http://schemas.microsoft.com/office/drawing/2014/main" id="{C0A9F8F2-9E97-449F-BC93-83282A724C8B}"/>
                  </a:ext>
                </a:extLst>
              </p:cNvPr>
              <p:cNvSpPr/>
              <p:nvPr/>
            </p:nvSpPr>
            <p:spPr>
              <a:xfrm>
                <a:off x="7717619" y="2487737"/>
                <a:ext cx="1179023" cy="412330"/>
              </a:xfrm>
              <a:prstGeom prst="rect">
                <a:avLst/>
              </a:prstGeom>
            </p:spPr>
            <p:txBody>
              <a:bodyPr wrap="square" lIns="36000" tIns="0" rIns="0" bIns="0">
                <a:spAutoFit/>
              </a:bodyPr>
              <a:lstStyle/>
              <a:p>
                <a:pPr defTabSz="1219170">
                  <a:lnSpc>
                    <a:spcPct val="80000"/>
                  </a:lnSpc>
                  <a:defRPr/>
                </a:pPr>
                <a:r>
                  <a:rPr lang="ru-RU" sz="1050" b="1" dirty="0">
                    <a:solidFill>
                      <a:schemeClr val="bg1"/>
                    </a:solidFill>
                  </a:rPr>
                  <a:t>М/р проекта</a:t>
                </a:r>
              </a:p>
              <a:p>
                <a:pPr defTabSz="1219170">
                  <a:lnSpc>
                    <a:spcPct val="80000"/>
                  </a:lnSpc>
                  <a:defRPr/>
                </a:pPr>
                <a:r>
                  <a:rPr lang="ru-RU" sz="1050" b="1" dirty="0">
                    <a:solidFill>
                      <a:schemeClr val="bg1"/>
                    </a:solidFill>
                  </a:rPr>
                  <a:t>«Восток Ойл»</a:t>
                </a:r>
              </a:p>
            </p:txBody>
          </p:sp>
        </p:grpSp>
        <p:pic>
          <p:nvPicPr>
            <p:cNvPr id="186" name="Рисунок 103">
              <a:extLst>
                <a:ext uri="{FF2B5EF4-FFF2-40B4-BE49-F238E27FC236}">
                  <a16:creationId xmlns:a16="http://schemas.microsoft.com/office/drawing/2014/main" id="{56BD0922-7B30-450E-83B8-60A5DE985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32777"/>
            <a:stretch/>
          </p:blipFill>
          <p:spPr>
            <a:xfrm>
              <a:off x="5626623" y="2533983"/>
              <a:ext cx="308629" cy="264021"/>
            </a:xfrm>
            <a:prstGeom prst="rect">
              <a:avLst/>
            </a:prstGeom>
          </p:spPr>
        </p:pic>
      </p:grpSp>
      <p:cxnSp>
        <p:nvCxnSpPr>
          <p:cNvPr id="185" name="Соединитель: уступ 113">
            <a:extLst>
              <a:ext uri="{FF2B5EF4-FFF2-40B4-BE49-F238E27FC236}">
                <a16:creationId xmlns:a16="http://schemas.microsoft.com/office/drawing/2014/main" id="{2AAF2F18-2AF9-4B46-A623-170ED07F1F63}"/>
              </a:ext>
            </a:extLst>
          </p:cNvPr>
          <p:cNvCxnSpPr>
            <a:cxnSpLocks/>
          </p:cNvCxnSpPr>
          <p:nvPr/>
        </p:nvCxnSpPr>
        <p:spPr>
          <a:xfrm rot="16200000" flipV="1">
            <a:off x="6257627" y="3352534"/>
            <a:ext cx="241486" cy="3"/>
          </a:xfrm>
          <a:prstGeom prst="bentConnector3">
            <a:avLst>
              <a:gd name="adj1" fmla="val 50000"/>
            </a:avLst>
          </a:prstGeom>
          <a:ln>
            <a:solidFill>
              <a:srgbClr val="0070BA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897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6">
            <a:extLst>
              <a:ext uri="{FF2B5EF4-FFF2-40B4-BE49-F238E27FC236}">
                <a16:creationId xmlns:a16="http://schemas.microsoft.com/office/drawing/2014/main" id="{2643ED78-0538-4290-872B-B67213FCB263}"/>
              </a:ext>
            </a:extLst>
          </p:cNvPr>
          <p:cNvSpPr/>
          <p:nvPr/>
        </p:nvSpPr>
        <p:spPr>
          <a:xfrm>
            <a:off x="838200" y="764705"/>
            <a:ext cx="10515600" cy="5615156"/>
          </a:xfrm>
          <a:prstGeom prst="roundRect">
            <a:avLst>
              <a:gd name="adj" fmla="val 5515"/>
            </a:avLst>
          </a:prstGeom>
          <a:solidFill>
            <a:schemeClr val="bg1"/>
          </a:solidFill>
          <a:ln w="6350">
            <a:solidFill>
              <a:srgbClr val="93D6FF"/>
            </a:solidFill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sz="1050" dirty="0">
              <a:solidFill>
                <a:srgbClr val="3C3C3C"/>
              </a:solidFill>
              <a:latin typeface="Arial"/>
            </a:endParaRPr>
          </a:p>
        </p:txBody>
      </p:sp>
      <p:pic>
        <p:nvPicPr>
          <p:cNvPr id="3" name="FA3857A5-B5AB-4139-B2A3-8C7D18B2EC8E" descr="image005">
            <a:extLst>
              <a:ext uri="{FF2B5EF4-FFF2-40B4-BE49-F238E27FC236}">
                <a16:creationId xmlns:a16="http://schemas.microsoft.com/office/drawing/2014/main" id="{1EFDF25A-C8B7-4456-B1DD-93D9CCFFFA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38" b="31494"/>
          <a:stretch/>
        </p:blipFill>
        <p:spPr bwMode="auto">
          <a:xfrm>
            <a:off x="1019436" y="953912"/>
            <a:ext cx="5954205" cy="2528754"/>
          </a:xfrm>
          <a:prstGeom prst="roundRect">
            <a:avLst>
              <a:gd name="adj" fmla="val 7324"/>
            </a:avLst>
          </a:prstGeom>
          <a:noFill/>
          <a:ln w="9525">
            <a:noFill/>
            <a:miter lim="800000"/>
            <a:headEnd/>
            <a:tailEnd/>
          </a:ln>
          <a:effectLst>
            <a:outerShdw blurRad="165100" sx="102000" sy="102000" algn="ctr" rotWithShape="0">
              <a:prstClr val="black">
                <a:alpha val="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617967A4-0BB2-421C-9120-9C137E18F180" descr="image006">
            <a:extLst>
              <a:ext uri="{FF2B5EF4-FFF2-40B4-BE49-F238E27FC236}">
                <a16:creationId xmlns:a16="http://schemas.microsoft.com/office/drawing/2014/main" id="{B0071795-C516-4151-A8FF-5FC7725193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60" b="31245"/>
          <a:stretch/>
        </p:blipFill>
        <p:spPr bwMode="auto">
          <a:xfrm>
            <a:off x="1019436" y="3677874"/>
            <a:ext cx="5954205" cy="2528754"/>
          </a:xfrm>
          <a:prstGeom prst="roundRect">
            <a:avLst>
              <a:gd name="adj" fmla="val 6866"/>
            </a:avLst>
          </a:prstGeom>
          <a:noFill/>
          <a:ln w="9525">
            <a:noFill/>
            <a:miter lim="800000"/>
            <a:headEnd/>
            <a:tailEnd/>
          </a:ln>
          <a:effectLst>
            <a:outerShdw blurRad="165100" sx="102000" sy="102000" algn="ctr" rotWithShape="0">
              <a:prstClr val="black">
                <a:alpha val="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E2BBD76C-8A92-40EF-8C4A-7C62610F5EA1" descr="image004">
            <a:extLst>
              <a:ext uri="{FF2B5EF4-FFF2-40B4-BE49-F238E27FC236}">
                <a16:creationId xmlns:a16="http://schemas.microsoft.com/office/drawing/2014/main" id="{0965CD6B-D3C0-4FA0-B7F7-77CFDC060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3118" y="953912"/>
            <a:ext cx="3988794" cy="5260448"/>
          </a:xfrm>
          <a:prstGeom prst="roundRect">
            <a:avLst>
              <a:gd name="adj" fmla="val 4933"/>
            </a:avLst>
          </a:prstGeom>
          <a:noFill/>
          <a:ln w="9525">
            <a:noFill/>
            <a:miter lim="800000"/>
            <a:headEnd/>
            <a:tailEnd/>
          </a:ln>
          <a:effectLst>
            <a:outerShdw blurRad="165100" sx="102000" sy="102000" algn="ctr" rotWithShape="0">
              <a:prstClr val="black">
                <a:alpha val="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3CE0215-79C2-46ED-A91C-B319DAE4F358}"/>
              </a:ext>
            </a:extLst>
          </p:cNvPr>
          <p:cNvSpPr/>
          <p:nvPr/>
        </p:nvSpPr>
        <p:spPr>
          <a:xfrm>
            <a:off x="623392" y="548680"/>
            <a:ext cx="3708412" cy="1044116"/>
          </a:xfrm>
          <a:prstGeom prst="roundRect">
            <a:avLst/>
          </a:prstGeom>
          <a:solidFill>
            <a:srgbClr val="19A7FF"/>
          </a:solidFill>
          <a:ln w="12700">
            <a:noFill/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r>
              <a:rPr lang="ru-RU" sz="2400" b="1" dirty="0">
                <a:ea typeface="Century Gothic"/>
                <a:cs typeface="Century Gothic"/>
                <a:sym typeface="Century Gothic"/>
              </a:rPr>
              <a:t>КАК ЭТО БЫЛО «ДО»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31085025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689E4570-D637-4F3D-8285-FCE66FAD7C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689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: скругленные углы 136">
            <a:extLst>
              <a:ext uri="{FF2B5EF4-FFF2-40B4-BE49-F238E27FC236}">
                <a16:creationId xmlns:a16="http://schemas.microsoft.com/office/drawing/2014/main" id="{DDECA9DE-6401-48F9-A88C-54E11CFFB252}"/>
              </a:ext>
            </a:extLst>
          </p:cNvPr>
          <p:cNvSpPr/>
          <p:nvPr/>
        </p:nvSpPr>
        <p:spPr>
          <a:xfrm rot="5400000">
            <a:off x="1313638" y="3934941"/>
            <a:ext cx="1783540" cy="3106301"/>
          </a:xfrm>
          <a:prstGeom prst="round2SameRect">
            <a:avLst>
              <a:gd name="adj1" fmla="val 9637"/>
              <a:gd name="adj2" fmla="val 0"/>
            </a:avLst>
          </a:prstGeom>
          <a:solidFill>
            <a:schemeClr val="bg1"/>
          </a:solidFill>
          <a:ln w="12700">
            <a:noFill/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sz="1050" dirty="0">
              <a:solidFill>
                <a:srgbClr val="3C3C3C"/>
              </a:solidFill>
              <a:latin typeface="Arial"/>
            </a:endParaRPr>
          </a:p>
        </p:txBody>
      </p:sp>
      <p:sp>
        <p:nvSpPr>
          <p:cNvPr id="2" name="Скругленный прямоугольник 6">
            <a:extLst>
              <a:ext uri="{FF2B5EF4-FFF2-40B4-BE49-F238E27FC236}">
                <a16:creationId xmlns:a16="http://schemas.microsoft.com/office/drawing/2014/main" id="{0677FD64-A85E-4B5C-A44A-64DAD3D5F18A}"/>
              </a:ext>
            </a:extLst>
          </p:cNvPr>
          <p:cNvSpPr/>
          <p:nvPr/>
        </p:nvSpPr>
        <p:spPr>
          <a:xfrm>
            <a:off x="3977682" y="1624438"/>
            <a:ext cx="7698190" cy="2736000"/>
          </a:xfrm>
          <a:prstGeom prst="roundRect">
            <a:avLst>
              <a:gd name="adj" fmla="val 7576"/>
            </a:avLst>
          </a:prstGeom>
          <a:solidFill>
            <a:schemeClr val="bg1"/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dirty="0"/>
          </a:p>
        </p:txBody>
      </p:sp>
      <p:sp>
        <p:nvSpPr>
          <p:cNvPr id="3" name="Прямоугольник: скругленные углы 136">
            <a:extLst>
              <a:ext uri="{FF2B5EF4-FFF2-40B4-BE49-F238E27FC236}">
                <a16:creationId xmlns:a16="http://schemas.microsoft.com/office/drawing/2014/main" id="{82B3A712-81E0-4307-AA62-C85DBA420534}"/>
              </a:ext>
            </a:extLst>
          </p:cNvPr>
          <p:cNvSpPr/>
          <p:nvPr/>
        </p:nvSpPr>
        <p:spPr>
          <a:xfrm rot="5400000">
            <a:off x="855257" y="1425800"/>
            <a:ext cx="2700302" cy="3106301"/>
          </a:xfrm>
          <a:prstGeom prst="round2SameRect">
            <a:avLst>
              <a:gd name="adj1" fmla="val 5094"/>
              <a:gd name="adj2" fmla="val 0"/>
            </a:avLst>
          </a:prstGeom>
          <a:solidFill>
            <a:schemeClr val="bg1"/>
          </a:solidFill>
          <a:ln w="12700">
            <a:noFill/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sz="1050" dirty="0">
              <a:solidFill>
                <a:srgbClr val="3C3C3C"/>
              </a:solidFill>
              <a:latin typeface="Arial"/>
            </a:endParaRPr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7E17594E-920C-471E-AF5E-839EF4C8B9D9}"/>
              </a:ext>
            </a:extLst>
          </p:cNvPr>
          <p:cNvSpPr txBox="1">
            <a:spLocks/>
          </p:cNvSpPr>
          <p:nvPr/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80000"/>
              </a:lnSpc>
              <a:spcBef>
                <a:spcPct val="0"/>
              </a:spcBef>
              <a:buNone/>
              <a:defRPr lang="ru-RU" sz="2800" b="1" cap="all" baseline="0" dirty="0">
                <a:solidFill>
                  <a:srgbClr val="002E50"/>
                </a:solidFill>
                <a:latin typeface="+mj-lt"/>
                <a:ea typeface="Century Gothic"/>
                <a:cs typeface="Century Gothic"/>
              </a:defRPr>
            </a:lvl1pPr>
          </a:lstStyle>
          <a:p>
            <a:r>
              <a:rPr lang="ru-RU" dirty="0">
                <a:sym typeface="Century Gothic"/>
              </a:rPr>
              <a:t>Основная информация о сделке</a:t>
            </a:r>
            <a:endParaRPr lang="ru-RU" dirty="0"/>
          </a:p>
        </p:txBody>
      </p:sp>
      <p:sp>
        <p:nvSpPr>
          <p:cNvPr id="6" name="Прямоугольник 90">
            <a:extLst>
              <a:ext uri="{FF2B5EF4-FFF2-40B4-BE49-F238E27FC236}">
                <a16:creationId xmlns:a16="http://schemas.microsoft.com/office/drawing/2014/main" id="{1408D4E9-424E-49C4-8C7D-4A7EB796AEEE}"/>
              </a:ext>
            </a:extLst>
          </p:cNvPr>
          <p:cNvSpPr/>
          <p:nvPr/>
        </p:nvSpPr>
        <p:spPr>
          <a:xfrm>
            <a:off x="5620742" y="2616283"/>
            <a:ext cx="5931324" cy="77522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</a:pPr>
            <a:endParaRPr lang="ru-RU" sz="1200" dirty="0">
              <a:solidFill>
                <a:schemeClr val="tx1"/>
              </a:solidFill>
              <a:latin typeface="Arial Narrow" panose="020B0606020202030204" pitchFamily="34" charset="0"/>
              <a:cs typeface="DIN Pro Regular" panose="020B0504020101020102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46BE18A-1046-4874-9224-190174C58C89}"/>
              </a:ext>
            </a:extLst>
          </p:cNvPr>
          <p:cNvCxnSpPr>
            <a:cxnSpLocks/>
          </p:cNvCxnSpPr>
          <p:nvPr/>
        </p:nvCxnSpPr>
        <p:spPr>
          <a:xfrm>
            <a:off x="652257" y="1448780"/>
            <a:ext cx="3103111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BCE15A-417D-4E40-96D1-388AB220DADF}"/>
              </a:ext>
            </a:extLst>
          </p:cNvPr>
          <p:cNvCxnSpPr>
            <a:cxnSpLocks/>
          </p:cNvCxnSpPr>
          <p:nvPr/>
        </p:nvCxnSpPr>
        <p:spPr>
          <a:xfrm>
            <a:off x="652257" y="944724"/>
            <a:ext cx="3103111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57">
            <a:extLst>
              <a:ext uri="{FF2B5EF4-FFF2-40B4-BE49-F238E27FC236}">
                <a16:creationId xmlns:a16="http://schemas.microsoft.com/office/drawing/2014/main" id="{33262431-BB42-4283-9FB0-EDAA89A2E89A}"/>
              </a:ext>
            </a:extLst>
          </p:cNvPr>
          <p:cNvSpPr/>
          <p:nvPr/>
        </p:nvSpPr>
        <p:spPr bwMode="ltGray">
          <a:xfrm>
            <a:off x="4559104" y="1055909"/>
            <a:ext cx="5053990" cy="317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ru-RU" sz="1600" b="1" dirty="0">
                <a:solidFill>
                  <a:srgbClr val="0070BA"/>
                </a:solidFill>
                <a:latin typeface="+mj-lt"/>
              </a:rPr>
              <a:t>ЦЕННОСТЬ </a:t>
            </a:r>
            <a:r>
              <a:rPr lang="en-US" sz="1600" b="1" dirty="0">
                <a:solidFill>
                  <a:srgbClr val="0070BA"/>
                </a:solidFill>
                <a:latin typeface="+mj-lt"/>
              </a:rPr>
              <a:t> </a:t>
            </a:r>
            <a:r>
              <a:rPr lang="ru-RU" sz="1600" b="1" dirty="0">
                <a:solidFill>
                  <a:srgbClr val="0070BA"/>
                </a:solidFill>
                <a:latin typeface="+mj-lt"/>
              </a:rPr>
              <a:t>ДЛЯ СТОРОН</a:t>
            </a:r>
          </a:p>
        </p:txBody>
      </p:sp>
      <p:sp>
        <p:nvSpPr>
          <p:cNvPr id="10" name="Прямоугольник 111">
            <a:extLst>
              <a:ext uri="{FF2B5EF4-FFF2-40B4-BE49-F238E27FC236}">
                <a16:creationId xmlns:a16="http://schemas.microsoft.com/office/drawing/2014/main" id="{BA1707AA-83B0-4FF1-8D1C-D56A765A4191}"/>
              </a:ext>
            </a:extLst>
          </p:cNvPr>
          <p:cNvSpPr/>
          <p:nvPr/>
        </p:nvSpPr>
        <p:spPr>
          <a:xfrm>
            <a:off x="1356011" y="5227082"/>
            <a:ext cx="2299030" cy="483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  <a:spcAft>
                <a:spcPts val="0"/>
              </a:spcAft>
            </a:pPr>
            <a:r>
              <a:rPr lang="ru-RU" sz="1600" dirty="0">
                <a:cs typeface="Arial" panose="020B0604020202020204" pitchFamily="34" charset="0"/>
              </a:rPr>
              <a:t>Инвестиции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ru-RU" sz="1600" dirty="0">
                <a:cs typeface="Arial" panose="020B0604020202020204" pitchFamily="34" charset="0"/>
              </a:rPr>
              <a:t>1,7 млрд руб.</a:t>
            </a:r>
          </a:p>
        </p:txBody>
      </p:sp>
      <p:sp>
        <p:nvSpPr>
          <p:cNvPr id="11" name="Прямоугольник 92">
            <a:extLst>
              <a:ext uri="{FF2B5EF4-FFF2-40B4-BE49-F238E27FC236}">
                <a16:creationId xmlns:a16="http://schemas.microsoft.com/office/drawing/2014/main" id="{B050234C-7EB0-47FD-9D1D-890C91761423}"/>
              </a:ext>
            </a:extLst>
          </p:cNvPr>
          <p:cNvSpPr/>
          <p:nvPr/>
        </p:nvSpPr>
        <p:spPr>
          <a:xfrm>
            <a:off x="1356011" y="5854560"/>
            <a:ext cx="2055278" cy="460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Aft>
                <a:spcPts val="0"/>
              </a:spcAft>
            </a:pPr>
            <a:r>
              <a:rPr lang="ru-RU" sz="1600" dirty="0">
                <a:cs typeface="Arial" panose="020B0604020202020204" pitchFamily="34" charset="0"/>
              </a:rPr>
              <a:t>Хранение и ПРР «Северного завоза»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0F048C-21DE-4D4C-BDAC-DEDDE3897ABF}"/>
              </a:ext>
            </a:extLst>
          </p:cNvPr>
          <p:cNvSpPr txBox="1"/>
          <p:nvPr/>
        </p:nvSpPr>
        <p:spPr>
          <a:xfrm>
            <a:off x="1185353" y="1082589"/>
            <a:ext cx="626775" cy="29418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lvl="0">
              <a:lnSpc>
                <a:spcPct val="80000"/>
              </a:lnSpc>
              <a:buClrTx/>
              <a:defRPr/>
            </a:pPr>
            <a:r>
              <a:rPr lang="ru-RU" sz="1600" b="1" dirty="0">
                <a:solidFill>
                  <a:srgbClr val="0070BA"/>
                </a:solidFill>
                <a:latin typeface="+mj-lt"/>
              </a:rPr>
              <a:t>СХЕМА</a:t>
            </a:r>
            <a:endParaRPr lang="ru-RU" sz="1600" b="1" kern="1200" dirty="0">
              <a:solidFill>
                <a:srgbClr val="0070BA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FE0A38-F7E6-4A84-A5FE-3022E4C7CECA}"/>
              </a:ext>
            </a:extLst>
          </p:cNvPr>
          <p:cNvSpPr txBox="1"/>
          <p:nvPr/>
        </p:nvSpPr>
        <p:spPr>
          <a:xfrm>
            <a:off x="1356011" y="4801582"/>
            <a:ext cx="2078070" cy="281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Aft>
                <a:spcPts val="1200"/>
              </a:spcAft>
              <a:buClr>
                <a:srgbClr val="19A7FF"/>
              </a:buClr>
            </a:pPr>
            <a:r>
              <a:rPr lang="ru-RU" sz="1600" dirty="0">
                <a:cs typeface="Arial" panose="020B0604020202020204" pitchFamily="34" charset="0"/>
              </a:rPr>
              <a:t>Оператор склада</a:t>
            </a:r>
            <a:endParaRPr lang="en-GB" sz="1600" dirty="0"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3D438FF-DEEC-4981-8CB7-01C24AEF51F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18238"/>
          <a:stretch/>
        </p:blipFill>
        <p:spPr>
          <a:xfrm>
            <a:off x="4066614" y="980728"/>
            <a:ext cx="456840" cy="373523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C28ABE90-2BFE-456C-ACC2-C4DE4AA76AE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b="33581"/>
          <a:stretch/>
        </p:blipFill>
        <p:spPr>
          <a:xfrm>
            <a:off x="609200" y="1024398"/>
            <a:ext cx="499760" cy="3319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FDAB9FA-4329-47FF-9A96-B83EC8122594}"/>
              </a:ext>
            </a:extLst>
          </p:cNvPr>
          <p:cNvCxnSpPr>
            <a:cxnSpLocks/>
          </p:cNvCxnSpPr>
          <p:nvPr/>
        </p:nvCxnSpPr>
        <p:spPr>
          <a:xfrm>
            <a:off x="3935760" y="1448780"/>
            <a:ext cx="7704000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55A3745-EBA6-4D57-9B3B-516EB1F8B7E8}"/>
              </a:ext>
            </a:extLst>
          </p:cNvPr>
          <p:cNvCxnSpPr>
            <a:cxnSpLocks/>
          </p:cNvCxnSpPr>
          <p:nvPr/>
        </p:nvCxnSpPr>
        <p:spPr>
          <a:xfrm>
            <a:off x="3935760" y="944724"/>
            <a:ext cx="7704000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ый прямоугольник 6">
            <a:extLst>
              <a:ext uri="{FF2B5EF4-FFF2-40B4-BE49-F238E27FC236}">
                <a16:creationId xmlns:a16="http://schemas.microsoft.com/office/drawing/2014/main" id="{1B3B92FA-13BA-4F74-8A58-578942BB7839}"/>
              </a:ext>
            </a:extLst>
          </p:cNvPr>
          <p:cNvSpPr/>
          <p:nvPr/>
        </p:nvSpPr>
        <p:spPr>
          <a:xfrm>
            <a:off x="3977682" y="4596321"/>
            <a:ext cx="7698190" cy="1783539"/>
          </a:xfrm>
          <a:prstGeom prst="roundRect">
            <a:avLst>
              <a:gd name="adj" fmla="val 7576"/>
            </a:avLst>
          </a:prstGeom>
          <a:solidFill>
            <a:schemeClr val="bg1"/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sz="1050" dirty="0">
              <a:solidFill>
                <a:srgbClr val="3C3C3C"/>
              </a:solidFill>
              <a:latin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2872D1-FFD3-4048-81DD-5026DC8B77A4}"/>
              </a:ext>
            </a:extLst>
          </p:cNvPr>
          <p:cNvSpPr txBox="1"/>
          <p:nvPr/>
        </p:nvSpPr>
        <p:spPr>
          <a:xfrm>
            <a:off x="1423398" y="2328215"/>
            <a:ext cx="2116319" cy="2907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  <a:spcAft>
                <a:spcPts val="1200"/>
              </a:spcAft>
              <a:buClr>
                <a:srgbClr val="19A7FF"/>
              </a:buClr>
            </a:pPr>
            <a:r>
              <a:rPr lang="ru-RU" sz="1600" dirty="0">
                <a:cs typeface="Arial" panose="020B0604020202020204" pitchFamily="34" charset="0"/>
              </a:rPr>
              <a:t>Собственник склад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1F2D5F3-736E-4030-B379-B4D7E382FE32}"/>
              </a:ext>
            </a:extLst>
          </p:cNvPr>
          <p:cNvSpPr txBox="1"/>
          <p:nvPr/>
        </p:nvSpPr>
        <p:spPr>
          <a:xfrm>
            <a:off x="1423398" y="3203081"/>
            <a:ext cx="2233537" cy="67544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  <a:spcAft>
                <a:spcPts val="1200"/>
              </a:spcAft>
              <a:buClr>
                <a:srgbClr val="19A7FF"/>
              </a:buClr>
            </a:pPr>
            <a:r>
              <a:rPr lang="ru-RU" sz="1600" dirty="0">
                <a:cs typeface="Arial" panose="020B0604020202020204" pitchFamily="34" charset="0"/>
              </a:rPr>
              <a:t>Реализует проект </a:t>
            </a:r>
            <a:br>
              <a:rPr lang="en-US" sz="1600" dirty="0">
                <a:cs typeface="Arial" panose="020B0604020202020204" pitchFamily="34" charset="0"/>
              </a:rPr>
            </a:br>
            <a:r>
              <a:rPr lang="ru-RU" sz="1600" dirty="0">
                <a:cs typeface="Arial" panose="020B0604020202020204" pitchFamily="34" charset="0"/>
              </a:rPr>
              <a:t>в рамках создания </a:t>
            </a:r>
            <a:br>
              <a:rPr lang="en-US" sz="1600" dirty="0">
                <a:cs typeface="Arial" panose="020B0604020202020204" pitchFamily="34" charset="0"/>
              </a:rPr>
            </a:br>
            <a:r>
              <a:rPr lang="ru-RU" sz="1600" dirty="0">
                <a:cs typeface="Arial" panose="020B0604020202020204" pitchFamily="34" charset="0"/>
              </a:rPr>
              <a:t>на базе </a:t>
            </a:r>
            <a:r>
              <a:rPr lang="ru-RU" sz="1600" dirty="0" err="1">
                <a:cs typeface="Arial" panose="020B0604020202020204" pitchFamily="34" charset="0"/>
              </a:rPr>
              <a:t>Технохаба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21" name="Прямоугольник 50">
            <a:extLst>
              <a:ext uri="{FF2B5EF4-FFF2-40B4-BE49-F238E27FC236}">
                <a16:creationId xmlns:a16="http://schemas.microsoft.com/office/drawing/2014/main" id="{96139038-F431-4600-8551-FE337A320C0F}"/>
              </a:ext>
            </a:extLst>
          </p:cNvPr>
          <p:cNvSpPr/>
          <p:nvPr/>
        </p:nvSpPr>
        <p:spPr>
          <a:xfrm>
            <a:off x="4104587" y="2291501"/>
            <a:ext cx="1991414" cy="633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buClr>
                <a:srgbClr val="19A7FF"/>
              </a:buClr>
            </a:pPr>
            <a:r>
              <a:rPr lang="ru-RU" sz="1400" dirty="0">
                <a:cs typeface="Arial" panose="020B0604020202020204" pitchFamily="34" charset="0"/>
              </a:rPr>
              <a:t>Обеспечение </a:t>
            </a:r>
            <a:r>
              <a:rPr lang="ru-RU" sz="1400" b="1" dirty="0">
                <a:cs typeface="Arial" panose="020B0604020202020204" pitchFamily="34" charset="0"/>
              </a:rPr>
              <a:t>продовольственной</a:t>
            </a:r>
            <a:r>
              <a:rPr lang="ru-RU" sz="1400" dirty="0">
                <a:cs typeface="Arial" panose="020B0604020202020204" pitchFamily="34" charset="0"/>
              </a:rPr>
              <a:t> </a:t>
            </a:r>
            <a:r>
              <a:rPr lang="ru-RU" sz="1400" b="1" dirty="0">
                <a:cs typeface="Arial" panose="020B0604020202020204" pitchFamily="34" charset="0"/>
              </a:rPr>
              <a:t>безопасности </a:t>
            </a:r>
            <a:r>
              <a:rPr lang="ru-RU" sz="1400" dirty="0">
                <a:cs typeface="Arial" panose="020B0604020202020204" pitchFamily="34" charset="0"/>
              </a:rPr>
              <a:t>региона</a:t>
            </a:r>
          </a:p>
        </p:txBody>
      </p:sp>
      <p:sp>
        <p:nvSpPr>
          <p:cNvPr id="22" name="Прямоугольник 50">
            <a:extLst>
              <a:ext uri="{FF2B5EF4-FFF2-40B4-BE49-F238E27FC236}">
                <a16:creationId xmlns:a16="http://schemas.microsoft.com/office/drawing/2014/main" id="{7A900050-2101-4276-87A9-FAB2BF7B4E46}"/>
              </a:ext>
            </a:extLst>
          </p:cNvPr>
          <p:cNvSpPr/>
          <p:nvPr/>
        </p:nvSpPr>
        <p:spPr>
          <a:xfrm>
            <a:off x="6552931" y="2278749"/>
            <a:ext cx="2143379" cy="460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buClr>
                <a:srgbClr val="19A7FF"/>
              </a:buClr>
            </a:pPr>
            <a:r>
              <a:rPr lang="ru-RU" sz="1400" b="1" dirty="0">
                <a:cs typeface="Arial" panose="020B0604020202020204" pitchFamily="34" charset="0"/>
              </a:rPr>
              <a:t>Фиксированные</a:t>
            </a:r>
            <a:br>
              <a:rPr lang="ru-RU" sz="1400" b="1" dirty="0">
                <a:cs typeface="Arial" panose="020B0604020202020204" pitchFamily="34" charset="0"/>
              </a:rPr>
            </a:br>
            <a:r>
              <a:rPr lang="ru-RU" sz="1400" b="1" dirty="0">
                <a:cs typeface="Arial" panose="020B0604020202020204" pitchFamily="34" charset="0"/>
              </a:rPr>
              <a:t> тарифы</a:t>
            </a:r>
            <a:r>
              <a:rPr lang="ru-RU" sz="1400" dirty="0">
                <a:cs typeface="Arial" panose="020B0604020202020204" pitchFamily="34" charset="0"/>
              </a:rPr>
              <a:t> на логистику</a:t>
            </a:r>
          </a:p>
        </p:txBody>
      </p:sp>
      <p:sp>
        <p:nvSpPr>
          <p:cNvPr id="23" name="Прямоугольник 50">
            <a:extLst>
              <a:ext uri="{FF2B5EF4-FFF2-40B4-BE49-F238E27FC236}">
                <a16:creationId xmlns:a16="http://schemas.microsoft.com/office/drawing/2014/main" id="{46D46E11-8A68-4056-8BD3-5E7C1FE1437D}"/>
              </a:ext>
            </a:extLst>
          </p:cNvPr>
          <p:cNvSpPr/>
          <p:nvPr/>
        </p:nvSpPr>
        <p:spPr>
          <a:xfrm>
            <a:off x="9115866" y="3552125"/>
            <a:ext cx="2562752" cy="639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buClr>
                <a:srgbClr val="19A7FF"/>
              </a:buClr>
            </a:pPr>
            <a:r>
              <a:rPr lang="ru-RU" sz="1400" b="1" dirty="0">
                <a:cs typeface="Arial" panose="020B0604020202020204" pitchFamily="34" charset="0"/>
              </a:rPr>
              <a:t>Повышение привлекательности </a:t>
            </a:r>
            <a:r>
              <a:rPr lang="ru-RU" sz="1400" dirty="0">
                <a:cs typeface="Arial" panose="020B0604020202020204" pitchFamily="34" charset="0"/>
              </a:rPr>
              <a:t>«Промышленного парка»</a:t>
            </a:r>
          </a:p>
        </p:txBody>
      </p:sp>
      <p:sp>
        <p:nvSpPr>
          <p:cNvPr id="24" name="Прямоугольник 50">
            <a:extLst>
              <a:ext uri="{FF2B5EF4-FFF2-40B4-BE49-F238E27FC236}">
                <a16:creationId xmlns:a16="http://schemas.microsoft.com/office/drawing/2014/main" id="{AC8767E5-51F5-4BA7-B6CD-0FBC33491048}"/>
              </a:ext>
            </a:extLst>
          </p:cNvPr>
          <p:cNvSpPr/>
          <p:nvPr/>
        </p:nvSpPr>
        <p:spPr>
          <a:xfrm>
            <a:off x="9271471" y="2322844"/>
            <a:ext cx="2251543" cy="633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buClr>
                <a:srgbClr val="19A7FF"/>
              </a:buClr>
            </a:pPr>
            <a:r>
              <a:rPr lang="ru-RU" sz="1400" b="1" dirty="0">
                <a:cs typeface="Arial" panose="020B0604020202020204" pitchFamily="34" charset="0"/>
              </a:rPr>
              <a:t>Сокращение сроков поставки</a:t>
            </a:r>
            <a:r>
              <a:rPr lang="ru-RU" sz="1400" dirty="0">
                <a:cs typeface="Arial" panose="020B0604020202020204" pitchFamily="34" charset="0"/>
              </a:rPr>
              <a:t> материалов </a:t>
            </a:r>
            <a:br>
              <a:rPr lang="en-US" sz="1400" dirty="0">
                <a:cs typeface="Arial" panose="020B0604020202020204" pitchFamily="34" charset="0"/>
              </a:rPr>
            </a:br>
            <a:r>
              <a:rPr lang="ru-RU" sz="1400" dirty="0">
                <a:cs typeface="Arial" panose="020B0604020202020204" pitchFamily="34" charset="0"/>
              </a:rPr>
              <a:t>на объекты региона</a:t>
            </a:r>
          </a:p>
        </p:txBody>
      </p:sp>
      <p:sp>
        <p:nvSpPr>
          <p:cNvPr id="25" name="Прямоугольник 50">
            <a:extLst>
              <a:ext uri="{FF2B5EF4-FFF2-40B4-BE49-F238E27FC236}">
                <a16:creationId xmlns:a16="http://schemas.microsoft.com/office/drawing/2014/main" id="{8E799491-8F78-44F9-9832-D711A3D47EB4}"/>
              </a:ext>
            </a:extLst>
          </p:cNvPr>
          <p:cNvSpPr/>
          <p:nvPr/>
        </p:nvSpPr>
        <p:spPr>
          <a:xfrm>
            <a:off x="4228393" y="3552125"/>
            <a:ext cx="1743801" cy="460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buClr>
                <a:srgbClr val="19A7FF"/>
              </a:buClr>
            </a:pPr>
            <a:r>
              <a:rPr lang="ru-RU" sz="1400" b="1" dirty="0">
                <a:cs typeface="Arial" panose="020B0604020202020204" pitchFamily="34" charset="0"/>
              </a:rPr>
              <a:t>Создание новых </a:t>
            </a:r>
            <a:r>
              <a:rPr lang="ru-RU" sz="1400" dirty="0">
                <a:cs typeface="Arial" panose="020B0604020202020204" pitchFamily="34" charset="0"/>
              </a:rPr>
              <a:t>рабочих мест</a:t>
            </a:r>
          </a:p>
        </p:txBody>
      </p:sp>
      <p:sp>
        <p:nvSpPr>
          <p:cNvPr id="26" name="Прямоугольник 50">
            <a:extLst>
              <a:ext uri="{FF2B5EF4-FFF2-40B4-BE49-F238E27FC236}">
                <a16:creationId xmlns:a16="http://schemas.microsoft.com/office/drawing/2014/main" id="{88CA2AF1-1ED8-430F-965F-87410346AE5F}"/>
              </a:ext>
            </a:extLst>
          </p:cNvPr>
          <p:cNvSpPr/>
          <p:nvPr/>
        </p:nvSpPr>
        <p:spPr>
          <a:xfrm>
            <a:off x="6474376" y="3552125"/>
            <a:ext cx="2300488" cy="460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buClr>
                <a:srgbClr val="19A7FF"/>
              </a:buClr>
            </a:pPr>
            <a:r>
              <a:rPr lang="ru-RU" sz="1400" b="1" dirty="0">
                <a:cs typeface="Arial" panose="020B0604020202020204" pitchFamily="34" charset="0"/>
              </a:rPr>
              <a:t>Развитие </a:t>
            </a:r>
            <a:r>
              <a:rPr lang="ru-RU" sz="1400" dirty="0">
                <a:cs typeface="Arial" panose="020B0604020202020204" pitchFamily="34" charset="0"/>
              </a:rPr>
              <a:t>ключевого </a:t>
            </a:r>
            <a:r>
              <a:rPr lang="ru-RU" sz="1400" b="1" dirty="0">
                <a:cs typeface="Arial" panose="020B0604020202020204" pitchFamily="34" charset="0"/>
              </a:rPr>
              <a:t>логистического узла </a:t>
            </a:r>
            <a:r>
              <a:rPr lang="ru-RU" sz="1400" dirty="0">
                <a:cs typeface="Arial" panose="020B0604020202020204" pitchFamily="34" charset="0"/>
              </a:rPr>
              <a:t>региона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E721347-7912-4AA5-9C45-740CBCC9092F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412" y="2187243"/>
            <a:ext cx="594000" cy="594000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AA039D1-DB0B-4612-ADE1-EDFCB199D60A}"/>
              </a:ext>
            </a:extLst>
          </p:cNvPr>
          <p:cNvCxnSpPr>
            <a:cxnSpLocks/>
          </p:cNvCxnSpPr>
          <p:nvPr/>
        </p:nvCxnSpPr>
        <p:spPr>
          <a:xfrm>
            <a:off x="652258" y="1628800"/>
            <a:ext cx="0" cy="27003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F43C62A-ADC2-4E2F-84AD-8A7E0F8417C8}"/>
              </a:ext>
            </a:extLst>
          </p:cNvPr>
          <p:cNvSpPr txBox="1"/>
          <p:nvPr/>
        </p:nvSpPr>
        <p:spPr>
          <a:xfrm rot="16200000">
            <a:off x="127322" y="2819415"/>
            <a:ext cx="768219" cy="319071"/>
          </a:xfrm>
          <a:prstGeom prst="rect">
            <a:avLst/>
          </a:prstGeom>
          <a:noFill/>
        </p:spPr>
        <p:txBody>
          <a:bodyPr wrap="square" lIns="0" tIns="0" rIns="0" bIns="36000" rtlCol="0" anchor="ctr">
            <a:noAutofit/>
          </a:bodyPr>
          <a:lstStyle/>
          <a:p>
            <a:pPr algn="ctr">
              <a:lnSpc>
                <a:spcPct val="80000"/>
              </a:lnSpc>
              <a:spcBef>
                <a:spcPts val="300"/>
              </a:spcBef>
            </a:pPr>
            <a:r>
              <a:rPr lang="ru-RU" b="1" dirty="0">
                <a:solidFill>
                  <a:schemeClr val="accent3"/>
                </a:solidFill>
              </a:rPr>
              <a:t>ЯНАО</a:t>
            </a:r>
            <a:endParaRPr lang="en-GB" b="1" dirty="0" err="1">
              <a:solidFill>
                <a:schemeClr val="accent3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E6FF3C9-1943-404C-8B84-F9DC634291B1}"/>
              </a:ext>
            </a:extLst>
          </p:cNvPr>
          <p:cNvCxnSpPr>
            <a:cxnSpLocks/>
          </p:cNvCxnSpPr>
          <p:nvPr/>
        </p:nvCxnSpPr>
        <p:spPr>
          <a:xfrm>
            <a:off x="652258" y="4596321"/>
            <a:ext cx="0" cy="1783539"/>
          </a:xfrm>
          <a:prstGeom prst="line">
            <a:avLst/>
          </a:prstGeom>
          <a:ln w="28575"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CBC7416-B918-400F-BD4E-B2BB20472156}"/>
              </a:ext>
            </a:extLst>
          </p:cNvPr>
          <p:cNvSpPr txBox="1"/>
          <p:nvPr/>
        </p:nvSpPr>
        <p:spPr>
          <a:xfrm rot="16200000">
            <a:off x="80235" y="5328555"/>
            <a:ext cx="875539" cy="319071"/>
          </a:xfrm>
          <a:prstGeom prst="rect">
            <a:avLst/>
          </a:prstGeom>
          <a:noFill/>
        </p:spPr>
        <p:txBody>
          <a:bodyPr wrap="square" lIns="0" tIns="0" rIns="0" bIns="36000" rtlCol="0" anchor="ctr">
            <a:noAutofit/>
          </a:bodyPr>
          <a:lstStyle/>
          <a:p>
            <a:pPr algn="ctr">
              <a:lnSpc>
                <a:spcPct val="80000"/>
              </a:lnSpc>
              <a:spcBef>
                <a:spcPts val="300"/>
              </a:spcBef>
            </a:pPr>
            <a:r>
              <a:rPr lang="ru-RU" b="1" dirty="0">
                <a:solidFill>
                  <a:srgbClr val="19A7FF"/>
                </a:solidFill>
              </a:rPr>
              <a:t>ГПН-С</a:t>
            </a:r>
            <a:endParaRPr lang="en-GB" b="1" dirty="0" err="1">
              <a:solidFill>
                <a:srgbClr val="19A7FF"/>
              </a:solidFill>
            </a:endParaRPr>
          </a:p>
        </p:txBody>
      </p:sp>
      <p:grpSp>
        <p:nvGrpSpPr>
          <p:cNvPr id="32" name="Graphic 48">
            <a:extLst>
              <a:ext uri="{FF2B5EF4-FFF2-40B4-BE49-F238E27FC236}">
                <a16:creationId xmlns:a16="http://schemas.microsoft.com/office/drawing/2014/main" id="{FD560C7F-F9A3-4928-84FB-B4B9977105EE}"/>
              </a:ext>
            </a:extLst>
          </p:cNvPr>
          <p:cNvGrpSpPr/>
          <p:nvPr/>
        </p:nvGrpSpPr>
        <p:grpSpPr>
          <a:xfrm>
            <a:off x="922216" y="4759522"/>
            <a:ext cx="351881" cy="325991"/>
            <a:chOff x="922216" y="4648772"/>
            <a:chExt cx="351881" cy="325991"/>
          </a:xfrm>
          <a:solidFill>
            <a:srgbClr val="19A7F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D49EA73-D1B1-42AD-A4C2-CB8DA0F413FE}"/>
                </a:ext>
              </a:extLst>
            </p:cNvPr>
            <p:cNvSpPr/>
            <p:nvPr/>
          </p:nvSpPr>
          <p:spPr>
            <a:xfrm>
              <a:off x="922216" y="4648772"/>
              <a:ext cx="351881" cy="325987"/>
            </a:xfrm>
            <a:custGeom>
              <a:avLst/>
              <a:gdLst>
                <a:gd name="connsiteX0" fmla="*/ 349254 w 351881"/>
                <a:gd name="connsiteY0" fmla="*/ 122286 h 325987"/>
                <a:gd name="connsiteX1" fmla="*/ 179547 w 351881"/>
                <a:gd name="connsiteY1" fmla="*/ 1158 h 325987"/>
                <a:gd name="connsiteX2" fmla="*/ 172310 w 351881"/>
                <a:gd name="connsiteY2" fmla="*/ 1158 h 325987"/>
                <a:gd name="connsiteX3" fmla="*/ 2612 w 351881"/>
                <a:gd name="connsiteY3" fmla="*/ 122286 h 325987"/>
                <a:gd name="connsiteX4" fmla="*/ 294 w 351881"/>
                <a:gd name="connsiteY4" fmla="*/ 129263 h 325987"/>
                <a:gd name="connsiteX5" fmla="*/ 6224 w 351881"/>
                <a:gd name="connsiteY5" fmla="*/ 133598 h 325987"/>
                <a:gd name="connsiteX6" fmla="*/ 33122 w 351881"/>
                <a:gd name="connsiteY6" fmla="*/ 133598 h 325987"/>
                <a:gd name="connsiteX7" fmla="*/ 33122 w 351881"/>
                <a:gd name="connsiteY7" fmla="*/ 319758 h 325987"/>
                <a:gd name="connsiteX8" fmla="*/ 39351 w 351881"/>
                <a:gd name="connsiteY8" fmla="*/ 325987 h 325987"/>
                <a:gd name="connsiteX9" fmla="*/ 78544 w 351881"/>
                <a:gd name="connsiteY9" fmla="*/ 325987 h 325987"/>
                <a:gd name="connsiteX10" fmla="*/ 84773 w 351881"/>
                <a:gd name="connsiteY10" fmla="*/ 319758 h 325987"/>
                <a:gd name="connsiteX11" fmla="*/ 84776 w 351881"/>
                <a:gd name="connsiteY11" fmla="*/ 158327 h 325987"/>
                <a:gd name="connsiteX12" fmla="*/ 267093 w 351881"/>
                <a:gd name="connsiteY12" fmla="*/ 158327 h 325987"/>
                <a:gd name="connsiteX13" fmla="*/ 267093 w 351881"/>
                <a:gd name="connsiteY13" fmla="*/ 319758 h 325987"/>
                <a:gd name="connsiteX14" fmla="*/ 273322 w 351881"/>
                <a:gd name="connsiteY14" fmla="*/ 325987 h 325987"/>
                <a:gd name="connsiteX15" fmla="*/ 312514 w 351881"/>
                <a:gd name="connsiteY15" fmla="*/ 325987 h 325987"/>
                <a:gd name="connsiteX16" fmla="*/ 318743 w 351881"/>
                <a:gd name="connsiteY16" fmla="*/ 319758 h 325987"/>
                <a:gd name="connsiteX17" fmla="*/ 318743 w 351881"/>
                <a:gd name="connsiteY17" fmla="*/ 133598 h 325987"/>
                <a:gd name="connsiteX18" fmla="*/ 345651 w 351881"/>
                <a:gd name="connsiteY18" fmla="*/ 133598 h 325987"/>
                <a:gd name="connsiteX19" fmla="*/ 351581 w 351881"/>
                <a:gd name="connsiteY19" fmla="*/ 129263 h 325987"/>
                <a:gd name="connsiteX20" fmla="*/ 349255 w 351881"/>
                <a:gd name="connsiteY20" fmla="*/ 122286 h 325987"/>
                <a:gd name="connsiteX21" fmla="*/ 312502 w 351881"/>
                <a:gd name="connsiteY21" fmla="*/ 121139 h 325987"/>
                <a:gd name="connsiteX22" fmla="*/ 306273 w 351881"/>
                <a:gd name="connsiteY22" fmla="*/ 127368 h 325987"/>
                <a:gd name="connsiteX23" fmla="*/ 306273 w 351881"/>
                <a:gd name="connsiteY23" fmla="*/ 313529 h 325987"/>
                <a:gd name="connsiteX24" fmla="*/ 279538 w 351881"/>
                <a:gd name="connsiteY24" fmla="*/ 313529 h 325987"/>
                <a:gd name="connsiteX25" fmla="*/ 279538 w 351881"/>
                <a:gd name="connsiteY25" fmla="*/ 152098 h 325987"/>
                <a:gd name="connsiteX26" fmla="*/ 273309 w 351881"/>
                <a:gd name="connsiteY26" fmla="*/ 145869 h 325987"/>
                <a:gd name="connsiteX27" fmla="*/ 78553 w 351881"/>
                <a:gd name="connsiteY27" fmla="*/ 145869 h 325987"/>
                <a:gd name="connsiteX28" fmla="*/ 72324 w 351881"/>
                <a:gd name="connsiteY28" fmla="*/ 152098 h 325987"/>
                <a:gd name="connsiteX29" fmla="*/ 72324 w 351881"/>
                <a:gd name="connsiteY29" fmla="*/ 313529 h 325987"/>
                <a:gd name="connsiteX30" fmla="*/ 45589 w 351881"/>
                <a:gd name="connsiteY30" fmla="*/ 313529 h 325987"/>
                <a:gd name="connsiteX31" fmla="*/ 45589 w 351881"/>
                <a:gd name="connsiteY31" fmla="*/ 127368 h 325987"/>
                <a:gd name="connsiteX32" fmla="*/ 39360 w 351881"/>
                <a:gd name="connsiteY32" fmla="*/ 121139 h 325987"/>
                <a:gd name="connsiteX33" fmla="*/ 25678 w 351881"/>
                <a:gd name="connsiteY33" fmla="*/ 121139 h 325987"/>
                <a:gd name="connsiteX34" fmla="*/ 175924 w 351881"/>
                <a:gd name="connsiteY34" fmla="*/ 13884 h 325987"/>
                <a:gd name="connsiteX35" fmla="*/ 326196 w 351881"/>
                <a:gd name="connsiteY35" fmla="*/ 121139 h 32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1881" h="325987">
                  <a:moveTo>
                    <a:pt x="349254" y="122286"/>
                  </a:moveTo>
                  <a:lnTo>
                    <a:pt x="179547" y="1158"/>
                  </a:lnTo>
                  <a:cubicBezTo>
                    <a:pt x="177378" y="-386"/>
                    <a:pt x="174476" y="-386"/>
                    <a:pt x="172310" y="1158"/>
                  </a:cubicBezTo>
                  <a:lnTo>
                    <a:pt x="2612" y="122286"/>
                  </a:lnTo>
                  <a:cubicBezTo>
                    <a:pt x="409" y="123858"/>
                    <a:pt x="-526" y="126683"/>
                    <a:pt x="294" y="129263"/>
                  </a:cubicBezTo>
                  <a:cubicBezTo>
                    <a:pt x="1117" y="131842"/>
                    <a:pt x="3520" y="133598"/>
                    <a:pt x="6224" y="133598"/>
                  </a:cubicBezTo>
                  <a:lnTo>
                    <a:pt x="33122" y="133598"/>
                  </a:lnTo>
                  <a:lnTo>
                    <a:pt x="33122" y="319758"/>
                  </a:lnTo>
                  <a:cubicBezTo>
                    <a:pt x="33122" y="323185"/>
                    <a:pt x="35914" y="325987"/>
                    <a:pt x="39351" y="325987"/>
                  </a:cubicBezTo>
                  <a:lnTo>
                    <a:pt x="78544" y="325987"/>
                  </a:lnTo>
                  <a:cubicBezTo>
                    <a:pt x="81981" y="325987"/>
                    <a:pt x="84773" y="323185"/>
                    <a:pt x="84773" y="319758"/>
                  </a:cubicBezTo>
                  <a:lnTo>
                    <a:pt x="84776" y="158327"/>
                  </a:lnTo>
                  <a:lnTo>
                    <a:pt x="267093" y="158327"/>
                  </a:lnTo>
                  <a:lnTo>
                    <a:pt x="267093" y="319758"/>
                  </a:lnTo>
                  <a:cubicBezTo>
                    <a:pt x="267093" y="323185"/>
                    <a:pt x="269883" y="325987"/>
                    <a:pt x="273322" y="325987"/>
                  </a:cubicBezTo>
                  <a:lnTo>
                    <a:pt x="312514" y="325987"/>
                  </a:lnTo>
                  <a:cubicBezTo>
                    <a:pt x="315952" y="325987"/>
                    <a:pt x="318743" y="323185"/>
                    <a:pt x="318743" y="319758"/>
                  </a:cubicBezTo>
                  <a:lnTo>
                    <a:pt x="318743" y="133598"/>
                  </a:lnTo>
                  <a:lnTo>
                    <a:pt x="345651" y="133598"/>
                  </a:lnTo>
                  <a:cubicBezTo>
                    <a:pt x="348356" y="133598"/>
                    <a:pt x="350747" y="131842"/>
                    <a:pt x="351581" y="129263"/>
                  </a:cubicBezTo>
                  <a:cubicBezTo>
                    <a:pt x="352419" y="126683"/>
                    <a:pt x="351459" y="123858"/>
                    <a:pt x="349255" y="122286"/>
                  </a:cubicBezTo>
                  <a:close/>
                  <a:moveTo>
                    <a:pt x="312502" y="121139"/>
                  </a:moveTo>
                  <a:cubicBezTo>
                    <a:pt x="309064" y="121139"/>
                    <a:pt x="306273" y="123931"/>
                    <a:pt x="306273" y="127368"/>
                  </a:cubicBezTo>
                  <a:lnTo>
                    <a:pt x="306273" y="313529"/>
                  </a:lnTo>
                  <a:lnTo>
                    <a:pt x="279538" y="313529"/>
                  </a:lnTo>
                  <a:lnTo>
                    <a:pt x="279538" y="152098"/>
                  </a:lnTo>
                  <a:cubicBezTo>
                    <a:pt x="279538" y="148660"/>
                    <a:pt x="276747" y="145869"/>
                    <a:pt x="273309" y="145869"/>
                  </a:cubicBezTo>
                  <a:lnTo>
                    <a:pt x="78553" y="145869"/>
                  </a:lnTo>
                  <a:cubicBezTo>
                    <a:pt x="75125" y="145869"/>
                    <a:pt x="72324" y="148660"/>
                    <a:pt x="72324" y="152098"/>
                  </a:cubicBezTo>
                  <a:lnTo>
                    <a:pt x="72324" y="313529"/>
                  </a:lnTo>
                  <a:lnTo>
                    <a:pt x="45589" y="313529"/>
                  </a:lnTo>
                  <a:lnTo>
                    <a:pt x="45589" y="127368"/>
                  </a:lnTo>
                  <a:cubicBezTo>
                    <a:pt x="45589" y="123931"/>
                    <a:pt x="42798" y="121139"/>
                    <a:pt x="39360" y="121139"/>
                  </a:cubicBezTo>
                  <a:lnTo>
                    <a:pt x="25678" y="121139"/>
                  </a:lnTo>
                  <a:lnTo>
                    <a:pt x="175924" y="13884"/>
                  </a:lnTo>
                  <a:lnTo>
                    <a:pt x="326196" y="121139"/>
                  </a:lnTo>
                  <a:close/>
                </a:path>
              </a:pathLst>
            </a:custGeom>
            <a:solidFill>
              <a:srgbClr val="19A7FF"/>
            </a:solidFill>
            <a:ln w="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B90395C-F025-4FF7-BE55-0E2B7F1DCA62}"/>
                </a:ext>
              </a:extLst>
            </p:cNvPr>
            <p:cNvSpPr/>
            <p:nvPr/>
          </p:nvSpPr>
          <p:spPr>
            <a:xfrm>
              <a:off x="1010943" y="4747325"/>
              <a:ext cx="41472" cy="12458"/>
            </a:xfrm>
            <a:custGeom>
              <a:avLst/>
              <a:gdLst>
                <a:gd name="connsiteX0" fmla="*/ 0 w 41472"/>
                <a:gd name="connsiteY0" fmla="*/ 0 h 12458"/>
                <a:gd name="connsiteX1" fmla="*/ 41472 w 41472"/>
                <a:gd name="connsiteY1" fmla="*/ 0 h 12458"/>
                <a:gd name="connsiteX2" fmla="*/ 41472 w 41472"/>
                <a:gd name="connsiteY2" fmla="*/ 12458 h 12458"/>
                <a:gd name="connsiteX3" fmla="*/ 0 w 41472"/>
                <a:gd name="connsiteY3" fmla="*/ 12458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72" h="12458">
                  <a:moveTo>
                    <a:pt x="0" y="0"/>
                  </a:moveTo>
                  <a:lnTo>
                    <a:pt x="41472" y="0"/>
                  </a:lnTo>
                  <a:lnTo>
                    <a:pt x="41472" y="12458"/>
                  </a:lnTo>
                  <a:lnTo>
                    <a:pt x="0" y="12458"/>
                  </a:lnTo>
                  <a:close/>
                </a:path>
              </a:pathLst>
            </a:custGeom>
            <a:solidFill>
              <a:srgbClr val="19A7FF"/>
            </a:solidFill>
            <a:ln w="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97C1BC-8FBA-4F10-A7A1-892761E3E3C2}"/>
                </a:ext>
              </a:extLst>
            </p:cNvPr>
            <p:cNvSpPr/>
            <p:nvPr/>
          </p:nvSpPr>
          <p:spPr>
            <a:xfrm>
              <a:off x="1077408" y="4747325"/>
              <a:ext cx="41472" cy="12458"/>
            </a:xfrm>
            <a:custGeom>
              <a:avLst/>
              <a:gdLst>
                <a:gd name="connsiteX0" fmla="*/ 0 w 41472"/>
                <a:gd name="connsiteY0" fmla="*/ 0 h 12458"/>
                <a:gd name="connsiteX1" fmla="*/ 41472 w 41472"/>
                <a:gd name="connsiteY1" fmla="*/ 0 h 12458"/>
                <a:gd name="connsiteX2" fmla="*/ 41472 w 41472"/>
                <a:gd name="connsiteY2" fmla="*/ 12458 h 12458"/>
                <a:gd name="connsiteX3" fmla="*/ 0 w 41472"/>
                <a:gd name="connsiteY3" fmla="*/ 12458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72" h="12458">
                  <a:moveTo>
                    <a:pt x="0" y="0"/>
                  </a:moveTo>
                  <a:lnTo>
                    <a:pt x="41472" y="0"/>
                  </a:lnTo>
                  <a:lnTo>
                    <a:pt x="41472" y="12458"/>
                  </a:lnTo>
                  <a:lnTo>
                    <a:pt x="0" y="12458"/>
                  </a:lnTo>
                  <a:close/>
                </a:path>
              </a:pathLst>
            </a:custGeom>
            <a:solidFill>
              <a:srgbClr val="19A7FF"/>
            </a:solidFill>
            <a:ln w="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32DCBEB-E5C0-4357-8C17-844A000ADA3B}"/>
                </a:ext>
              </a:extLst>
            </p:cNvPr>
            <p:cNvSpPr/>
            <p:nvPr/>
          </p:nvSpPr>
          <p:spPr>
            <a:xfrm>
              <a:off x="1143881" y="4747325"/>
              <a:ext cx="41472" cy="12458"/>
            </a:xfrm>
            <a:custGeom>
              <a:avLst/>
              <a:gdLst>
                <a:gd name="connsiteX0" fmla="*/ 0 w 41472"/>
                <a:gd name="connsiteY0" fmla="*/ 0 h 12458"/>
                <a:gd name="connsiteX1" fmla="*/ 41472 w 41472"/>
                <a:gd name="connsiteY1" fmla="*/ 0 h 12458"/>
                <a:gd name="connsiteX2" fmla="*/ 41472 w 41472"/>
                <a:gd name="connsiteY2" fmla="*/ 12458 h 12458"/>
                <a:gd name="connsiteX3" fmla="*/ 0 w 41472"/>
                <a:gd name="connsiteY3" fmla="*/ 12458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72" h="12458">
                  <a:moveTo>
                    <a:pt x="0" y="0"/>
                  </a:moveTo>
                  <a:lnTo>
                    <a:pt x="41472" y="0"/>
                  </a:lnTo>
                  <a:lnTo>
                    <a:pt x="41472" y="12458"/>
                  </a:lnTo>
                  <a:lnTo>
                    <a:pt x="0" y="12458"/>
                  </a:lnTo>
                  <a:close/>
                </a:path>
              </a:pathLst>
            </a:custGeom>
            <a:solidFill>
              <a:srgbClr val="19A7FF"/>
            </a:solidFill>
            <a:ln w="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16CD84B-01AB-4BD7-86B8-57521511DF1A}"/>
                </a:ext>
              </a:extLst>
            </p:cNvPr>
            <p:cNvSpPr/>
            <p:nvPr/>
          </p:nvSpPr>
          <p:spPr>
            <a:xfrm>
              <a:off x="1017398" y="4847103"/>
              <a:ext cx="127651" cy="127660"/>
            </a:xfrm>
            <a:custGeom>
              <a:avLst/>
              <a:gdLst>
                <a:gd name="connsiteX0" fmla="*/ 121419 w 127651"/>
                <a:gd name="connsiteY0" fmla="*/ 57605 h 127660"/>
                <a:gd name="connsiteX1" fmla="*/ 70053 w 127651"/>
                <a:gd name="connsiteY1" fmla="*/ 57605 h 127660"/>
                <a:gd name="connsiteX2" fmla="*/ 70053 w 127651"/>
                <a:gd name="connsiteY2" fmla="*/ 6229 h 127660"/>
                <a:gd name="connsiteX3" fmla="*/ 63824 w 127651"/>
                <a:gd name="connsiteY3" fmla="*/ 0 h 127660"/>
                <a:gd name="connsiteX4" fmla="*/ 6229 w 127651"/>
                <a:gd name="connsiteY4" fmla="*/ 0 h 127660"/>
                <a:gd name="connsiteX5" fmla="*/ 0 w 127651"/>
                <a:gd name="connsiteY5" fmla="*/ 6229 h 127660"/>
                <a:gd name="connsiteX6" fmla="*/ 0 w 127651"/>
                <a:gd name="connsiteY6" fmla="*/ 121431 h 127660"/>
                <a:gd name="connsiteX7" fmla="*/ 6229 w 127651"/>
                <a:gd name="connsiteY7" fmla="*/ 127661 h 127660"/>
                <a:gd name="connsiteX8" fmla="*/ 121423 w 127651"/>
                <a:gd name="connsiteY8" fmla="*/ 127661 h 127660"/>
                <a:gd name="connsiteX9" fmla="*/ 127652 w 127651"/>
                <a:gd name="connsiteY9" fmla="*/ 121431 h 127660"/>
                <a:gd name="connsiteX10" fmla="*/ 127652 w 127651"/>
                <a:gd name="connsiteY10" fmla="*/ 63837 h 127660"/>
                <a:gd name="connsiteX11" fmla="*/ 121423 w 127651"/>
                <a:gd name="connsiteY11" fmla="*/ 57607 h 127660"/>
                <a:gd name="connsiteX12" fmla="*/ 12464 w 127651"/>
                <a:gd name="connsiteY12" fmla="*/ 12458 h 127660"/>
                <a:gd name="connsiteX13" fmla="*/ 57600 w 127651"/>
                <a:gd name="connsiteY13" fmla="*/ 12458 h 127660"/>
                <a:gd name="connsiteX14" fmla="*/ 57600 w 127651"/>
                <a:gd name="connsiteY14" fmla="*/ 57605 h 127660"/>
                <a:gd name="connsiteX15" fmla="*/ 12464 w 127651"/>
                <a:gd name="connsiteY15" fmla="*/ 57605 h 127660"/>
                <a:gd name="connsiteX16" fmla="*/ 12464 w 127651"/>
                <a:gd name="connsiteY16" fmla="*/ 70063 h 127660"/>
                <a:gd name="connsiteX17" fmla="*/ 57600 w 127651"/>
                <a:gd name="connsiteY17" fmla="*/ 70063 h 127660"/>
                <a:gd name="connsiteX18" fmla="*/ 57600 w 127651"/>
                <a:gd name="connsiteY18" fmla="*/ 115200 h 127660"/>
                <a:gd name="connsiteX19" fmla="*/ 12464 w 127651"/>
                <a:gd name="connsiteY19" fmla="*/ 115200 h 127660"/>
                <a:gd name="connsiteX20" fmla="*/ 115190 w 127651"/>
                <a:gd name="connsiteY20" fmla="*/ 115200 h 127660"/>
                <a:gd name="connsiteX21" fmla="*/ 70053 w 127651"/>
                <a:gd name="connsiteY21" fmla="*/ 115200 h 127660"/>
                <a:gd name="connsiteX22" fmla="*/ 70053 w 127651"/>
                <a:gd name="connsiteY22" fmla="*/ 70063 h 127660"/>
                <a:gd name="connsiteX23" fmla="*/ 115190 w 127651"/>
                <a:gd name="connsiteY23" fmla="*/ 70063 h 12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7651" h="127660">
                  <a:moveTo>
                    <a:pt x="121419" y="57605"/>
                  </a:moveTo>
                  <a:lnTo>
                    <a:pt x="70053" y="57605"/>
                  </a:lnTo>
                  <a:lnTo>
                    <a:pt x="70053" y="6229"/>
                  </a:lnTo>
                  <a:cubicBezTo>
                    <a:pt x="70053" y="2792"/>
                    <a:pt x="67252" y="0"/>
                    <a:pt x="63824" y="0"/>
                  </a:cubicBezTo>
                  <a:lnTo>
                    <a:pt x="6229" y="0"/>
                  </a:lnTo>
                  <a:cubicBezTo>
                    <a:pt x="2792" y="0"/>
                    <a:pt x="0" y="2792"/>
                    <a:pt x="0" y="6229"/>
                  </a:cubicBezTo>
                  <a:lnTo>
                    <a:pt x="0" y="121431"/>
                  </a:lnTo>
                  <a:cubicBezTo>
                    <a:pt x="0" y="124859"/>
                    <a:pt x="2792" y="127661"/>
                    <a:pt x="6229" y="127661"/>
                  </a:cubicBezTo>
                  <a:lnTo>
                    <a:pt x="121423" y="127661"/>
                  </a:lnTo>
                  <a:cubicBezTo>
                    <a:pt x="124860" y="127661"/>
                    <a:pt x="127652" y="124859"/>
                    <a:pt x="127652" y="121431"/>
                  </a:cubicBezTo>
                  <a:lnTo>
                    <a:pt x="127652" y="63837"/>
                  </a:lnTo>
                  <a:cubicBezTo>
                    <a:pt x="127652" y="60399"/>
                    <a:pt x="124860" y="57607"/>
                    <a:pt x="121423" y="57607"/>
                  </a:cubicBezTo>
                  <a:close/>
                  <a:moveTo>
                    <a:pt x="12464" y="12458"/>
                  </a:moveTo>
                  <a:lnTo>
                    <a:pt x="57600" y="12458"/>
                  </a:lnTo>
                  <a:lnTo>
                    <a:pt x="57600" y="57605"/>
                  </a:lnTo>
                  <a:lnTo>
                    <a:pt x="12464" y="57605"/>
                  </a:lnTo>
                  <a:close/>
                  <a:moveTo>
                    <a:pt x="12464" y="70063"/>
                  </a:moveTo>
                  <a:lnTo>
                    <a:pt x="57600" y="70063"/>
                  </a:lnTo>
                  <a:lnTo>
                    <a:pt x="57600" y="115200"/>
                  </a:lnTo>
                  <a:lnTo>
                    <a:pt x="12464" y="115200"/>
                  </a:lnTo>
                  <a:close/>
                  <a:moveTo>
                    <a:pt x="115190" y="115200"/>
                  </a:moveTo>
                  <a:lnTo>
                    <a:pt x="70053" y="115200"/>
                  </a:lnTo>
                  <a:lnTo>
                    <a:pt x="70053" y="70063"/>
                  </a:lnTo>
                  <a:lnTo>
                    <a:pt x="115190" y="70063"/>
                  </a:lnTo>
                  <a:close/>
                </a:path>
              </a:pathLst>
            </a:custGeom>
            <a:solidFill>
              <a:srgbClr val="19A7FF"/>
            </a:solidFill>
            <a:ln w="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8" name="Graphic 37">
            <a:extLst>
              <a:ext uri="{FF2B5EF4-FFF2-40B4-BE49-F238E27FC236}">
                <a16:creationId xmlns:a16="http://schemas.microsoft.com/office/drawing/2014/main" id="{EBFC2BA1-5927-4A1C-BBB5-99270E9519E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b="12504"/>
          <a:stretch/>
        </p:blipFill>
        <p:spPr>
          <a:xfrm>
            <a:off x="854327" y="5818556"/>
            <a:ext cx="453141" cy="396479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DA63830D-EB61-4F1E-85E3-152FF2A58EBB}"/>
              </a:ext>
            </a:extLst>
          </p:cNvPr>
          <p:cNvGrpSpPr/>
          <p:nvPr/>
        </p:nvGrpSpPr>
        <p:grpSpPr>
          <a:xfrm>
            <a:off x="6348028" y="4921091"/>
            <a:ext cx="2553185" cy="1093721"/>
            <a:chOff x="4228393" y="4784518"/>
            <a:chExt cx="2553185" cy="1093721"/>
          </a:xfrm>
        </p:grpSpPr>
        <p:sp>
          <p:nvSpPr>
            <p:cNvPr id="40" name="Прямоугольник 50">
              <a:extLst>
                <a:ext uri="{FF2B5EF4-FFF2-40B4-BE49-F238E27FC236}">
                  <a16:creationId xmlns:a16="http://schemas.microsoft.com/office/drawing/2014/main" id="{E310D080-D9B4-4832-BACC-09203989B210}"/>
                </a:ext>
              </a:extLst>
            </p:cNvPr>
            <p:cNvSpPr/>
            <p:nvPr/>
          </p:nvSpPr>
          <p:spPr>
            <a:xfrm>
              <a:off x="4228393" y="5244796"/>
              <a:ext cx="2553185" cy="633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spcAft>
                  <a:spcPts val="1200"/>
                </a:spcAft>
                <a:buClr>
                  <a:srgbClr val="19A7FF"/>
                </a:buClr>
              </a:pPr>
              <a:r>
                <a:rPr lang="ru-RU" sz="1400" b="1" dirty="0">
                  <a:cs typeface="Arial" panose="020B0604020202020204" pitchFamily="34" charset="0"/>
                </a:rPr>
                <a:t>Снижение зависимости </a:t>
              </a:r>
              <a:r>
                <a:rPr lang="ru-RU" sz="1400" dirty="0">
                  <a:cs typeface="Arial" panose="020B0604020202020204" pitchFamily="34" charset="0"/>
                </a:rPr>
                <a:t>от региональных логистических подрядчиков</a:t>
              </a: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53E5357D-49EE-4AAC-B55F-A941CEE229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b="15218"/>
            <a:stretch/>
          </p:blipFill>
          <p:spPr>
            <a:xfrm>
              <a:off x="5056235" y="4784518"/>
              <a:ext cx="468302" cy="397035"/>
            </a:xfrm>
            <a:prstGeom prst="rect">
              <a:avLst/>
            </a:prstGeom>
          </p:spPr>
        </p:pic>
      </p:grpSp>
      <p:pic>
        <p:nvPicPr>
          <p:cNvPr id="42" name="Graphic 41">
            <a:extLst>
              <a:ext uri="{FF2B5EF4-FFF2-40B4-BE49-F238E27FC236}">
                <a16:creationId xmlns:a16="http://schemas.microsoft.com/office/drawing/2014/main" id="{1F13644C-6BB3-42EE-981E-AD22475B1C5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b="15569"/>
          <a:stretch/>
        </p:blipFill>
        <p:spPr>
          <a:xfrm>
            <a:off x="4860596" y="3158091"/>
            <a:ext cx="479395" cy="404759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DF5A7158-8BF1-46D9-9AFC-51D2C507E08C}"/>
              </a:ext>
            </a:extLst>
          </p:cNvPr>
          <p:cNvGrpSpPr/>
          <p:nvPr/>
        </p:nvGrpSpPr>
        <p:grpSpPr>
          <a:xfrm>
            <a:off x="4248393" y="4924776"/>
            <a:ext cx="1703801" cy="1090036"/>
            <a:chOff x="6940555" y="4788203"/>
            <a:chExt cx="1703801" cy="1090036"/>
          </a:xfrm>
        </p:grpSpPr>
        <p:sp>
          <p:nvSpPr>
            <p:cNvPr id="44" name="Прямоугольник 50">
              <a:extLst>
                <a:ext uri="{FF2B5EF4-FFF2-40B4-BE49-F238E27FC236}">
                  <a16:creationId xmlns:a16="http://schemas.microsoft.com/office/drawing/2014/main" id="{FAAD548E-61EC-4D2A-B7D1-33338214870D}"/>
                </a:ext>
              </a:extLst>
            </p:cNvPr>
            <p:cNvSpPr/>
            <p:nvPr/>
          </p:nvSpPr>
          <p:spPr>
            <a:xfrm>
              <a:off x="6940555" y="5244796"/>
              <a:ext cx="1703801" cy="633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spcAft>
                  <a:spcPts val="1200"/>
                </a:spcAft>
                <a:buClr>
                  <a:srgbClr val="19A7FF"/>
                </a:buClr>
              </a:pPr>
              <a:r>
                <a:rPr lang="ru-RU" sz="1400" b="1" dirty="0">
                  <a:cs typeface="Arial" panose="020B0604020202020204" pitchFamily="34" charset="0"/>
                </a:rPr>
                <a:t>Снижение затрат</a:t>
              </a:r>
              <a:r>
                <a:rPr lang="ru-RU" sz="1400" dirty="0">
                  <a:cs typeface="Arial" panose="020B0604020202020204" pitchFamily="34" charset="0"/>
                </a:rPr>
                <a:t> на обеспечение  проектов в ЯНАО</a:t>
              </a: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EA3322A2-CE02-477B-8E7F-B53C4DA9AB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 b="19769"/>
            <a:stretch/>
          </p:blipFill>
          <p:spPr>
            <a:xfrm>
              <a:off x="7494395" y="4788203"/>
              <a:ext cx="485675" cy="389664"/>
            </a:xfrm>
            <a:prstGeom prst="rect">
              <a:avLst/>
            </a:prstGeom>
          </p:spPr>
        </p:pic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C5319E36-8B9C-45D9-816B-DF0F0207FBF5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325556" y="1786755"/>
            <a:ext cx="598129" cy="598129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8BB6C405-01EA-461D-A8DC-027D57ED314D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b="10599"/>
          <a:stretch/>
        </p:blipFill>
        <p:spPr>
          <a:xfrm>
            <a:off x="874924" y="5278115"/>
            <a:ext cx="411946" cy="368285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1467079F-9F84-4AE0-992B-07593B6A6CA5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 b="19344"/>
          <a:stretch/>
        </p:blipFill>
        <p:spPr>
          <a:xfrm>
            <a:off x="10116331" y="3068477"/>
            <a:ext cx="561823" cy="453141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15A36A4F-BDEC-4EDD-8F04-939459E5956F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 b="8079"/>
          <a:stretch/>
        </p:blipFill>
        <p:spPr>
          <a:xfrm>
            <a:off x="857484" y="3237880"/>
            <a:ext cx="489471" cy="449928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41E05C09-CE81-4E42-9ECB-5006B95C416E}"/>
              </a:ext>
            </a:extLst>
          </p:cNvPr>
          <p:cNvGrpSpPr/>
          <p:nvPr/>
        </p:nvGrpSpPr>
        <p:grpSpPr>
          <a:xfrm>
            <a:off x="9081860" y="4869121"/>
            <a:ext cx="2630764" cy="1152167"/>
            <a:chOff x="9081860" y="4660540"/>
            <a:chExt cx="2630764" cy="1152167"/>
          </a:xfrm>
        </p:grpSpPr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2697D957-DC16-4C1B-A1EB-B4653EB840E5}"/>
                </a:ext>
              </a:extLst>
            </p:cNvPr>
            <p:cNvSpPr/>
            <p:nvPr/>
          </p:nvSpPr>
          <p:spPr>
            <a:xfrm>
              <a:off x="9081860" y="5172788"/>
              <a:ext cx="2630764" cy="6399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spcAft>
                  <a:spcPts val="1200"/>
                </a:spcAft>
                <a:buClr>
                  <a:srgbClr val="19A7FF"/>
                </a:buClr>
              </a:pPr>
              <a:r>
                <a:rPr lang="ru-RU" sz="1400" b="1" dirty="0">
                  <a:cs typeface="Arial" panose="020B0604020202020204" pitchFamily="34" charset="0"/>
                </a:rPr>
                <a:t>Создание возможности </a:t>
              </a:r>
              <a:br>
                <a:rPr lang="ru-RU" sz="1400" b="1" dirty="0">
                  <a:cs typeface="Arial" panose="020B0604020202020204" pitchFamily="34" charset="0"/>
                </a:rPr>
              </a:br>
              <a:r>
                <a:rPr lang="ru-RU" sz="1400" b="1" dirty="0">
                  <a:cs typeface="Arial" panose="020B0604020202020204" pitchFamily="34" charset="0"/>
                </a:rPr>
                <a:t>входа</a:t>
              </a:r>
              <a:r>
                <a:rPr lang="ru-RU" sz="1400" dirty="0">
                  <a:cs typeface="Arial" panose="020B0604020202020204" pitchFamily="34" charset="0"/>
                </a:rPr>
                <a:t> в крупнейшие коммерческие проекты</a:t>
              </a:r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D49F411F-7CCC-4433-8A2F-513944689C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 b="26306"/>
            <a:stretch/>
          </p:blipFill>
          <p:spPr>
            <a:xfrm>
              <a:off x="10057340" y="4660540"/>
              <a:ext cx="679805" cy="500975"/>
            </a:xfrm>
            <a:prstGeom prst="rect">
              <a:avLst/>
            </a:prstGeom>
          </p:spPr>
        </p:pic>
      </p:grpSp>
      <p:pic>
        <p:nvPicPr>
          <p:cNvPr id="53" name="Graphic 52">
            <a:extLst>
              <a:ext uri="{FF2B5EF4-FFF2-40B4-BE49-F238E27FC236}">
                <a16:creationId xmlns:a16="http://schemas.microsoft.com/office/drawing/2014/main" id="{FB7EA7BB-85AF-427A-95F3-B2793D48E706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b="14647"/>
          <a:stretch/>
        </p:blipFill>
        <p:spPr>
          <a:xfrm>
            <a:off x="7315618" y="3104481"/>
            <a:ext cx="618005" cy="527483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83F11D1D-5FEA-4E0C-846E-13F5FD767D4C}"/>
              </a:ext>
            </a:extLst>
          </p:cNvPr>
          <p:cNvGrpSpPr/>
          <p:nvPr/>
        </p:nvGrpSpPr>
        <p:grpSpPr>
          <a:xfrm>
            <a:off x="10049570" y="1836654"/>
            <a:ext cx="695345" cy="476222"/>
            <a:chOff x="9079629" y="1795365"/>
            <a:chExt cx="695345" cy="476222"/>
          </a:xfrm>
        </p:grpSpPr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C1C115DD-BB40-4AAA-9B97-21BC89487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9079629" y="1795365"/>
              <a:ext cx="476222" cy="476222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1CDA69A6-868D-4D4E-82C7-B6B5E4AE9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 flipV="1">
              <a:off x="9370310" y="1853367"/>
              <a:ext cx="404664" cy="404664"/>
            </a:xfrm>
            <a:prstGeom prst="rect">
              <a:avLst/>
            </a:prstGeom>
          </p:spPr>
        </p:pic>
      </p:grpSp>
      <p:pic>
        <p:nvPicPr>
          <p:cNvPr id="57" name="Graphic 56">
            <a:extLst>
              <a:ext uri="{FF2B5EF4-FFF2-40B4-BE49-F238E27FC236}">
                <a16:creationId xmlns:a16="http://schemas.microsoft.com/office/drawing/2014/main" id="{F53ACB3A-801C-43AC-BA0C-AF0BC6500FE9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rcRect b="14410"/>
          <a:stretch/>
        </p:blipFill>
        <p:spPr>
          <a:xfrm>
            <a:off x="4837721" y="1772816"/>
            <a:ext cx="525144" cy="449473"/>
          </a:xfrm>
          <a:prstGeom prst="rect">
            <a:avLst/>
          </a:prstGeom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D668C5C-0A01-49B1-BBA0-EE08F6BA6B6C}"/>
              </a:ext>
            </a:extLst>
          </p:cNvPr>
          <p:cNvCxnSpPr>
            <a:cxnSpLocks/>
          </p:cNvCxnSpPr>
          <p:nvPr/>
        </p:nvCxnSpPr>
        <p:spPr>
          <a:xfrm>
            <a:off x="6276020" y="1701092"/>
            <a:ext cx="0" cy="1152000"/>
          </a:xfrm>
          <a:prstGeom prst="line">
            <a:avLst/>
          </a:prstGeom>
          <a:ln w="31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5F8F323-10E3-4B77-A511-F5B8CA4B12A1}"/>
              </a:ext>
            </a:extLst>
          </p:cNvPr>
          <p:cNvCxnSpPr>
            <a:cxnSpLocks/>
          </p:cNvCxnSpPr>
          <p:nvPr/>
        </p:nvCxnSpPr>
        <p:spPr>
          <a:xfrm>
            <a:off x="9012324" y="1701092"/>
            <a:ext cx="0" cy="1152000"/>
          </a:xfrm>
          <a:prstGeom prst="line">
            <a:avLst/>
          </a:prstGeom>
          <a:ln w="31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9E96436-F5AE-45A3-80E0-58BC36993014}"/>
              </a:ext>
            </a:extLst>
          </p:cNvPr>
          <p:cNvCxnSpPr>
            <a:cxnSpLocks/>
          </p:cNvCxnSpPr>
          <p:nvPr/>
        </p:nvCxnSpPr>
        <p:spPr>
          <a:xfrm>
            <a:off x="6276020" y="3069100"/>
            <a:ext cx="0" cy="1188000"/>
          </a:xfrm>
          <a:prstGeom prst="line">
            <a:avLst/>
          </a:prstGeom>
          <a:ln w="31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6777B48-5C4D-4412-BF4C-AF61043C1D52}"/>
              </a:ext>
            </a:extLst>
          </p:cNvPr>
          <p:cNvCxnSpPr>
            <a:cxnSpLocks/>
          </p:cNvCxnSpPr>
          <p:nvPr/>
        </p:nvCxnSpPr>
        <p:spPr>
          <a:xfrm>
            <a:off x="9012324" y="3069100"/>
            <a:ext cx="0" cy="1188000"/>
          </a:xfrm>
          <a:prstGeom prst="line">
            <a:avLst/>
          </a:prstGeom>
          <a:ln w="31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DCE5659-FDCD-4F84-A5BB-3E0464101BF4}"/>
              </a:ext>
            </a:extLst>
          </p:cNvPr>
          <p:cNvCxnSpPr>
            <a:cxnSpLocks/>
          </p:cNvCxnSpPr>
          <p:nvPr/>
        </p:nvCxnSpPr>
        <p:spPr>
          <a:xfrm>
            <a:off x="6276020" y="4768090"/>
            <a:ext cx="0" cy="1440000"/>
          </a:xfrm>
          <a:prstGeom prst="line">
            <a:avLst/>
          </a:prstGeom>
          <a:ln w="31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48D17C8-1A9D-4557-B049-AA61313F1B04}"/>
              </a:ext>
            </a:extLst>
          </p:cNvPr>
          <p:cNvCxnSpPr>
            <a:cxnSpLocks/>
          </p:cNvCxnSpPr>
          <p:nvPr/>
        </p:nvCxnSpPr>
        <p:spPr>
          <a:xfrm>
            <a:off x="9012324" y="4768090"/>
            <a:ext cx="0" cy="1440000"/>
          </a:xfrm>
          <a:prstGeom prst="line">
            <a:avLst/>
          </a:prstGeom>
          <a:ln w="31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B792F90-C363-4698-B90F-816D6877DFF2}"/>
              </a:ext>
            </a:extLst>
          </p:cNvPr>
          <p:cNvSpPr txBox="1"/>
          <p:nvPr/>
        </p:nvSpPr>
        <p:spPr>
          <a:xfrm>
            <a:off x="12234441" y="3761772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en-GB" sz="1100" dirty="0" err="1"/>
          </a:p>
        </p:txBody>
      </p:sp>
    </p:spTree>
    <p:extLst>
      <p:ext uri="{BB962C8B-B14F-4D97-AF65-F5344CB8AC3E}">
        <p14:creationId xmlns:p14="http://schemas.microsoft.com/office/powerpoint/2010/main" val="11093831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0">
            <a:extLst>
              <a:ext uri="{FF2B5EF4-FFF2-40B4-BE49-F238E27FC236}">
                <a16:creationId xmlns:a16="http://schemas.microsoft.com/office/drawing/2014/main" id="{800B3ED4-5943-4C99-9CA8-36E6B176183A}"/>
              </a:ext>
            </a:extLst>
          </p:cNvPr>
          <p:cNvSpPr txBox="1">
            <a:spLocks/>
          </p:cNvSpPr>
          <p:nvPr/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00" b="1" kern="1200" cap="all" baseline="0" dirty="0">
                <a:solidFill>
                  <a:srgbClr val="002E5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>
                <a:ea typeface="Century Gothic"/>
                <a:cs typeface="Century Gothic"/>
                <a:sym typeface="Century Gothic"/>
              </a:rPr>
              <a:t>Концепция развития логистического комплекса</a:t>
            </a:r>
            <a:endParaRPr lang="ru-RU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2399E28-F84E-4175-A44D-8CED1D6153A7}"/>
              </a:ext>
            </a:extLst>
          </p:cNvPr>
          <p:cNvGrpSpPr/>
          <p:nvPr/>
        </p:nvGrpSpPr>
        <p:grpSpPr>
          <a:xfrm>
            <a:off x="1163452" y="1133948"/>
            <a:ext cx="8888611" cy="341632"/>
            <a:chOff x="1025739" y="1125858"/>
            <a:chExt cx="8888611" cy="34163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5D36B19-C0EB-4A93-AE64-7D2B68A2D1AC}"/>
                </a:ext>
              </a:extLst>
            </p:cNvPr>
            <p:cNvSpPr txBox="1"/>
            <p:nvPr/>
          </p:nvSpPr>
          <p:spPr>
            <a:xfrm>
              <a:off x="1025739" y="1166666"/>
              <a:ext cx="701894" cy="260017"/>
            </a:xfrm>
            <a:prstGeom prst="rect">
              <a:avLst/>
            </a:prstGeom>
            <a:noFill/>
          </p:spPr>
          <p:txBody>
            <a:bodyPr wrap="none" lIns="0" tIns="0" rIns="0" bIns="36000" rtlCol="0">
              <a:noAutofit/>
            </a:bodyPr>
            <a:lstStyle/>
            <a:p>
              <a:pPr>
                <a:spcBef>
                  <a:spcPts val="300"/>
                </a:spcBef>
                <a:defRPr/>
              </a:pPr>
              <a:r>
                <a:rPr lang="ru-RU" b="1" dirty="0">
                  <a:solidFill>
                    <a:srgbClr val="0070BA"/>
                  </a:solidFill>
                  <a:latin typeface="+mj-lt"/>
                </a:rPr>
                <a:t>ЦЕЛЬ</a:t>
              </a:r>
            </a:p>
          </p:txBody>
        </p:sp>
        <p:sp>
          <p:nvSpPr>
            <p:cNvPr id="5" name="Стрелка: шеврон 40">
              <a:extLst>
                <a:ext uri="{FF2B5EF4-FFF2-40B4-BE49-F238E27FC236}">
                  <a16:creationId xmlns:a16="http://schemas.microsoft.com/office/drawing/2014/main" id="{8E6C905C-A8B8-489D-A37E-225EF18C0708}"/>
                </a:ext>
              </a:extLst>
            </p:cNvPr>
            <p:cNvSpPr/>
            <p:nvPr/>
          </p:nvSpPr>
          <p:spPr>
            <a:xfrm>
              <a:off x="1895643" y="1201285"/>
              <a:ext cx="119559" cy="190779"/>
            </a:xfrm>
            <a:prstGeom prst="chevron">
              <a:avLst/>
            </a:prstGeom>
            <a:solidFill>
              <a:srgbClr val="0070BA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553C9F0-BD5B-4F7B-9EED-21700E64B246}"/>
                </a:ext>
              </a:extLst>
            </p:cNvPr>
            <p:cNvSpPr txBox="1"/>
            <p:nvPr/>
          </p:nvSpPr>
          <p:spPr>
            <a:xfrm>
              <a:off x="2137804" y="1125858"/>
              <a:ext cx="7776546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b="1" dirty="0">
                  <a:solidFill>
                    <a:srgbClr val="0070BA"/>
                  </a:solidFill>
                </a:rPr>
                <a:t>Создание крупнейшего цифрового логистического узла в ЯНАО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5FA687F-EC27-40BB-9C9E-12DFE91DF1A6}"/>
              </a:ext>
            </a:extLst>
          </p:cNvPr>
          <p:cNvGrpSpPr/>
          <p:nvPr/>
        </p:nvGrpSpPr>
        <p:grpSpPr>
          <a:xfrm>
            <a:off x="412641" y="1916832"/>
            <a:ext cx="7178946" cy="4639584"/>
            <a:chOff x="412641" y="1916832"/>
            <a:chExt cx="5215006" cy="3370336"/>
          </a:xfrm>
        </p:grpSpPr>
        <p:pic>
          <p:nvPicPr>
            <p:cNvPr id="8" name="Рисунок 2">
              <a:extLst>
                <a:ext uri="{FF2B5EF4-FFF2-40B4-BE49-F238E27FC236}">
                  <a16:creationId xmlns:a16="http://schemas.microsoft.com/office/drawing/2014/main" id="{122006C4-96E4-4AD6-B4FB-54D68227CD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92" r="6096"/>
            <a:stretch/>
          </p:blipFill>
          <p:spPr>
            <a:xfrm>
              <a:off x="412641" y="1916832"/>
              <a:ext cx="5215006" cy="3370336"/>
            </a:xfrm>
            <a:prstGeom prst="rect">
              <a:avLst/>
            </a:prstGeom>
          </p:spPr>
        </p:pic>
        <p:sp>
          <p:nvSpPr>
            <p:cNvPr id="9" name="Овал 80">
              <a:extLst>
                <a:ext uri="{FF2B5EF4-FFF2-40B4-BE49-F238E27FC236}">
                  <a16:creationId xmlns:a16="http://schemas.microsoft.com/office/drawing/2014/main" id="{F4C9DD30-C06D-4DF8-BD80-9857222BA1EA}"/>
                </a:ext>
              </a:extLst>
            </p:cNvPr>
            <p:cNvSpPr/>
            <p:nvPr/>
          </p:nvSpPr>
          <p:spPr>
            <a:xfrm>
              <a:off x="2799063" y="4006800"/>
              <a:ext cx="228104" cy="221723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Прямая соединительная линия 30">
              <a:extLst>
                <a:ext uri="{FF2B5EF4-FFF2-40B4-BE49-F238E27FC236}">
                  <a16:creationId xmlns:a16="http://schemas.microsoft.com/office/drawing/2014/main" id="{95F56E2C-A8A3-46C3-BC49-3033B51EAEB3}"/>
                </a:ext>
              </a:extLst>
            </p:cNvPr>
            <p:cNvCxnSpPr>
              <a:cxnSpLocks/>
              <a:stCxn id="24" idx="0"/>
              <a:endCxn id="9" idx="0"/>
            </p:cNvCxnSpPr>
            <p:nvPr/>
          </p:nvCxnSpPr>
          <p:spPr>
            <a:xfrm>
              <a:off x="1288973" y="3926674"/>
              <a:ext cx="1624142" cy="801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91">
              <a:extLst>
                <a:ext uri="{FF2B5EF4-FFF2-40B4-BE49-F238E27FC236}">
                  <a16:creationId xmlns:a16="http://schemas.microsoft.com/office/drawing/2014/main" id="{C3A6526D-F903-4D92-AF57-BDE1703BE3CC}"/>
                </a:ext>
              </a:extLst>
            </p:cNvPr>
            <p:cNvCxnSpPr>
              <a:cxnSpLocks/>
              <a:endCxn id="9" idx="5"/>
            </p:cNvCxnSpPr>
            <p:nvPr/>
          </p:nvCxnSpPr>
          <p:spPr>
            <a:xfrm flipV="1">
              <a:off x="1765315" y="4196052"/>
              <a:ext cx="1228447" cy="83042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Группа 9">
              <a:extLst>
                <a:ext uri="{FF2B5EF4-FFF2-40B4-BE49-F238E27FC236}">
                  <a16:creationId xmlns:a16="http://schemas.microsoft.com/office/drawing/2014/main" id="{74262F63-3147-4658-A3BB-E2583546391D}"/>
                </a:ext>
              </a:extLst>
            </p:cNvPr>
            <p:cNvGrpSpPr/>
            <p:nvPr/>
          </p:nvGrpSpPr>
          <p:grpSpPr>
            <a:xfrm>
              <a:off x="2381766" y="2058596"/>
              <a:ext cx="1895112" cy="292511"/>
              <a:chOff x="5375443" y="-876079"/>
              <a:chExt cx="2198784" cy="374510"/>
            </a:xfrm>
          </p:grpSpPr>
          <p:grpSp>
            <p:nvGrpSpPr>
              <p:cNvPr id="35" name="Группа 86">
                <a:extLst>
                  <a:ext uri="{FF2B5EF4-FFF2-40B4-BE49-F238E27FC236}">
                    <a16:creationId xmlns:a16="http://schemas.microsoft.com/office/drawing/2014/main" id="{6E7A5028-DB63-4FFC-A1D4-A6308129202E}"/>
                  </a:ext>
                </a:extLst>
              </p:cNvPr>
              <p:cNvGrpSpPr/>
              <p:nvPr/>
            </p:nvGrpSpPr>
            <p:grpSpPr>
              <a:xfrm>
                <a:off x="5375443" y="-876079"/>
                <a:ext cx="2198783" cy="374510"/>
                <a:chOff x="7629099" y="2474121"/>
                <a:chExt cx="2198783" cy="374510"/>
              </a:xfrm>
            </p:grpSpPr>
            <p:sp>
              <p:nvSpPr>
                <p:cNvPr id="37" name="Прямоугольник: скругленные углы 88">
                  <a:extLst>
                    <a:ext uri="{FF2B5EF4-FFF2-40B4-BE49-F238E27FC236}">
                      <a16:creationId xmlns:a16="http://schemas.microsoft.com/office/drawing/2014/main" id="{8D0BB851-E29E-40C7-9532-1F1FDD8ACA9A}"/>
                    </a:ext>
                  </a:extLst>
                </p:cNvPr>
                <p:cNvSpPr/>
                <p:nvPr/>
              </p:nvSpPr>
              <p:spPr>
                <a:xfrm>
                  <a:off x="7703818" y="2474121"/>
                  <a:ext cx="2124064" cy="374510"/>
                </a:xfrm>
                <a:prstGeom prst="roundRect">
                  <a:avLst/>
                </a:prstGeom>
                <a:solidFill>
                  <a:schemeClr val="bg1">
                    <a:alpha val="78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8" name="Овал 90">
                  <a:extLst>
                    <a:ext uri="{FF2B5EF4-FFF2-40B4-BE49-F238E27FC236}">
                      <a16:creationId xmlns:a16="http://schemas.microsoft.com/office/drawing/2014/main" id="{A1ECAD4A-90F8-48D8-AEE1-FA683C9ACA1E}"/>
                    </a:ext>
                  </a:extLst>
                </p:cNvPr>
                <p:cNvSpPr/>
                <p:nvPr/>
              </p:nvSpPr>
              <p:spPr>
                <a:xfrm>
                  <a:off x="7629099" y="2593170"/>
                  <a:ext cx="125306" cy="138276"/>
                </a:xfrm>
                <a:prstGeom prst="ellipse">
                  <a:avLst/>
                </a:prstGeom>
                <a:solidFill>
                  <a:srgbClr val="0070BA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6" name="Прямоугольник 83">
                <a:extLst>
                  <a:ext uri="{FF2B5EF4-FFF2-40B4-BE49-F238E27FC236}">
                    <a16:creationId xmlns:a16="http://schemas.microsoft.com/office/drawing/2014/main" id="{B9EB812C-3491-4D07-9678-43E7456D0D07}"/>
                  </a:ext>
                </a:extLst>
              </p:cNvPr>
              <p:cNvSpPr/>
              <p:nvPr/>
            </p:nvSpPr>
            <p:spPr>
              <a:xfrm>
                <a:off x="5491915" y="-837160"/>
                <a:ext cx="2082312" cy="2862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dirty="0">
                    <a:solidFill>
                      <a:srgbClr val="0070BA"/>
                    </a:solidFill>
                    <a:cs typeface="Arial" panose="020B0604020202020204" pitchFamily="34" charset="0"/>
                  </a:rPr>
                  <a:t>Радиоуправляемые краны</a:t>
                </a:r>
              </a:p>
            </p:txBody>
          </p:sp>
        </p:grpSp>
        <p:grpSp>
          <p:nvGrpSpPr>
            <p:cNvPr id="13" name="Группа 100">
              <a:extLst>
                <a:ext uri="{FF2B5EF4-FFF2-40B4-BE49-F238E27FC236}">
                  <a16:creationId xmlns:a16="http://schemas.microsoft.com/office/drawing/2014/main" id="{638B9B09-F340-4C5F-B7A7-FCD73214FDF6}"/>
                </a:ext>
              </a:extLst>
            </p:cNvPr>
            <p:cNvGrpSpPr/>
            <p:nvPr/>
          </p:nvGrpSpPr>
          <p:grpSpPr>
            <a:xfrm>
              <a:off x="3484150" y="2828544"/>
              <a:ext cx="1664247" cy="596079"/>
              <a:chOff x="7629099" y="2422764"/>
              <a:chExt cx="1930925" cy="763177"/>
            </a:xfrm>
          </p:grpSpPr>
          <p:sp>
            <p:nvSpPr>
              <p:cNvPr id="33" name="Прямоугольник: скругленные углы 104">
                <a:extLst>
                  <a:ext uri="{FF2B5EF4-FFF2-40B4-BE49-F238E27FC236}">
                    <a16:creationId xmlns:a16="http://schemas.microsoft.com/office/drawing/2014/main" id="{329F3A49-14A5-41A5-A451-F96B3628C72F}"/>
                  </a:ext>
                </a:extLst>
              </p:cNvPr>
              <p:cNvSpPr/>
              <p:nvPr/>
            </p:nvSpPr>
            <p:spPr>
              <a:xfrm>
                <a:off x="7703820" y="2422764"/>
                <a:ext cx="1856204" cy="763177"/>
              </a:xfrm>
              <a:prstGeom prst="roundRect">
                <a:avLst/>
              </a:prstGeom>
              <a:solidFill>
                <a:schemeClr val="bg1">
                  <a:alpha val="78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Овал 105">
                <a:extLst>
                  <a:ext uri="{FF2B5EF4-FFF2-40B4-BE49-F238E27FC236}">
                    <a16:creationId xmlns:a16="http://schemas.microsoft.com/office/drawing/2014/main" id="{0B0559ED-4531-4183-B257-16E5FE32F149}"/>
                  </a:ext>
                </a:extLst>
              </p:cNvPr>
              <p:cNvSpPr/>
              <p:nvPr/>
            </p:nvSpPr>
            <p:spPr>
              <a:xfrm>
                <a:off x="7629099" y="2593171"/>
                <a:ext cx="125306" cy="138276"/>
              </a:xfrm>
              <a:prstGeom prst="ellipse">
                <a:avLst/>
              </a:prstGeom>
              <a:solidFill>
                <a:srgbClr val="0070BA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4" name="Прямоугольник 108">
              <a:extLst>
                <a:ext uri="{FF2B5EF4-FFF2-40B4-BE49-F238E27FC236}">
                  <a16:creationId xmlns:a16="http://schemas.microsoft.com/office/drawing/2014/main" id="{780CF933-6F7D-4AA7-A762-94DB80C49F65}"/>
                </a:ext>
              </a:extLst>
            </p:cNvPr>
            <p:cNvSpPr/>
            <p:nvPr/>
          </p:nvSpPr>
          <p:spPr>
            <a:xfrm>
              <a:off x="3670285" y="2847969"/>
              <a:ext cx="1407112" cy="5365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ru-RU" sz="1400" dirty="0">
                  <a:solidFill>
                    <a:srgbClr val="0070BA"/>
                  </a:solidFill>
                  <a:cs typeface="Arial" panose="020B0604020202020204" pitchFamily="34" charset="0"/>
                </a:rPr>
                <a:t>Удаленное управление кранами из диспетчерской </a:t>
              </a:r>
            </a:p>
          </p:txBody>
        </p:sp>
        <p:grpSp>
          <p:nvGrpSpPr>
            <p:cNvPr id="15" name="Группа 112">
              <a:extLst>
                <a:ext uri="{FF2B5EF4-FFF2-40B4-BE49-F238E27FC236}">
                  <a16:creationId xmlns:a16="http://schemas.microsoft.com/office/drawing/2014/main" id="{AB505587-CE6F-413C-8E4D-0E8A78AAA8A0}"/>
                </a:ext>
              </a:extLst>
            </p:cNvPr>
            <p:cNvGrpSpPr/>
            <p:nvPr/>
          </p:nvGrpSpPr>
          <p:grpSpPr>
            <a:xfrm>
              <a:off x="1050393" y="3057666"/>
              <a:ext cx="1430145" cy="306360"/>
              <a:chOff x="7352422" y="2471772"/>
              <a:chExt cx="1659311" cy="392242"/>
            </a:xfrm>
          </p:grpSpPr>
          <p:sp>
            <p:nvSpPr>
              <p:cNvPr id="31" name="Прямоугольник: скругленные углы 114">
                <a:extLst>
                  <a:ext uri="{FF2B5EF4-FFF2-40B4-BE49-F238E27FC236}">
                    <a16:creationId xmlns:a16="http://schemas.microsoft.com/office/drawing/2014/main" id="{4C848E61-4A83-49AF-A874-8DBDAD6BFC50}"/>
                  </a:ext>
                </a:extLst>
              </p:cNvPr>
              <p:cNvSpPr/>
              <p:nvPr/>
            </p:nvSpPr>
            <p:spPr>
              <a:xfrm>
                <a:off x="7352422" y="2471772"/>
                <a:ext cx="1612617" cy="392242"/>
              </a:xfrm>
              <a:prstGeom prst="roundRect">
                <a:avLst/>
              </a:prstGeom>
              <a:solidFill>
                <a:schemeClr val="bg1">
                  <a:alpha val="78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Овал 115">
                <a:extLst>
                  <a:ext uri="{FF2B5EF4-FFF2-40B4-BE49-F238E27FC236}">
                    <a16:creationId xmlns:a16="http://schemas.microsoft.com/office/drawing/2014/main" id="{889DDCFF-A673-4B82-AC4A-3DF8EB364AD0}"/>
                  </a:ext>
                </a:extLst>
              </p:cNvPr>
              <p:cNvSpPr/>
              <p:nvPr/>
            </p:nvSpPr>
            <p:spPr>
              <a:xfrm>
                <a:off x="8886427" y="2593170"/>
                <a:ext cx="125306" cy="138276"/>
              </a:xfrm>
              <a:prstGeom prst="ellipse">
                <a:avLst/>
              </a:prstGeom>
              <a:solidFill>
                <a:srgbClr val="0070BA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Прямоугольник 113">
              <a:extLst>
                <a:ext uri="{FF2B5EF4-FFF2-40B4-BE49-F238E27FC236}">
                  <a16:creationId xmlns:a16="http://schemas.microsoft.com/office/drawing/2014/main" id="{56C54BC2-4918-4E00-A602-169C4F83FA76}"/>
                </a:ext>
              </a:extLst>
            </p:cNvPr>
            <p:cNvSpPr/>
            <p:nvPr/>
          </p:nvSpPr>
          <p:spPr>
            <a:xfrm>
              <a:off x="1112213" y="3116263"/>
              <a:ext cx="1379283" cy="1922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80000"/>
                </a:lnSpc>
                <a:spcAft>
                  <a:spcPts val="0"/>
                </a:spcAft>
              </a:pPr>
              <a:r>
                <a:rPr lang="ru-RU" sz="1400" dirty="0">
                  <a:solidFill>
                    <a:srgbClr val="0070BA"/>
                  </a:solidFill>
                  <a:cs typeface="Arial" panose="020B0604020202020204" pitchFamily="34" charset="0"/>
                </a:rPr>
                <a:t>Цифровой склад </a:t>
              </a:r>
            </a:p>
          </p:txBody>
        </p:sp>
        <p:grpSp>
          <p:nvGrpSpPr>
            <p:cNvPr id="17" name="Группа 120">
              <a:extLst>
                <a:ext uri="{FF2B5EF4-FFF2-40B4-BE49-F238E27FC236}">
                  <a16:creationId xmlns:a16="http://schemas.microsoft.com/office/drawing/2014/main" id="{A4554C2D-BF55-4C68-AA51-FEB35ADEBE24}"/>
                </a:ext>
              </a:extLst>
            </p:cNvPr>
            <p:cNvGrpSpPr/>
            <p:nvPr/>
          </p:nvGrpSpPr>
          <p:grpSpPr>
            <a:xfrm>
              <a:off x="1522669" y="2523900"/>
              <a:ext cx="1987763" cy="306360"/>
              <a:chOff x="7406977" y="2471772"/>
              <a:chExt cx="2306281" cy="392242"/>
            </a:xfrm>
          </p:grpSpPr>
          <p:sp>
            <p:nvSpPr>
              <p:cNvPr id="29" name="Прямоугольник: скругленные углы 124">
                <a:extLst>
                  <a:ext uri="{FF2B5EF4-FFF2-40B4-BE49-F238E27FC236}">
                    <a16:creationId xmlns:a16="http://schemas.microsoft.com/office/drawing/2014/main" id="{D42D02F2-2E57-4B9F-968E-92C301926E4A}"/>
                  </a:ext>
                </a:extLst>
              </p:cNvPr>
              <p:cNvSpPr/>
              <p:nvPr/>
            </p:nvSpPr>
            <p:spPr>
              <a:xfrm>
                <a:off x="7481696" y="2471772"/>
                <a:ext cx="2231562" cy="392242"/>
              </a:xfrm>
              <a:prstGeom prst="roundRect">
                <a:avLst/>
              </a:prstGeom>
              <a:solidFill>
                <a:schemeClr val="bg1">
                  <a:alpha val="78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Овал 164">
                <a:extLst>
                  <a:ext uri="{FF2B5EF4-FFF2-40B4-BE49-F238E27FC236}">
                    <a16:creationId xmlns:a16="http://schemas.microsoft.com/office/drawing/2014/main" id="{C0E13CFE-E69E-4201-A199-FE1C37325454}"/>
                  </a:ext>
                </a:extLst>
              </p:cNvPr>
              <p:cNvSpPr/>
              <p:nvPr/>
            </p:nvSpPr>
            <p:spPr>
              <a:xfrm>
                <a:off x="7406977" y="2593170"/>
                <a:ext cx="125306" cy="138276"/>
              </a:xfrm>
              <a:prstGeom prst="ellipse">
                <a:avLst/>
              </a:prstGeom>
              <a:solidFill>
                <a:srgbClr val="0070BA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8" name="Прямоугольник 121">
              <a:extLst>
                <a:ext uri="{FF2B5EF4-FFF2-40B4-BE49-F238E27FC236}">
                  <a16:creationId xmlns:a16="http://schemas.microsoft.com/office/drawing/2014/main" id="{92F2AC44-87D5-4050-A0FC-F3CE9D32B9C5}"/>
                </a:ext>
              </a:extLst>
            </p:cNvPr>
            <p:cNvSpPr/>
            <p:nvPr/>
          </p:nvSpPr>
          <p:spPr>
            <a:xfrm>
              <a:off x="1671491" y="2559470"/>
              <a:ext cx="1704660" cy="2235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rgbClr val="0070BA"/>
                  </a:solidFill>
                  <a:cs typeface="Arial" panose="020B0604020202020204" pitchFamily="34" charset="0"/>
                </a:rPr>
                <a:t>Беспилотный транспорт</a:t>
              </a:r>
            </a:p>
          </p:txBody>
        </p:sp>
        <p:grpSp>
          <p:nvGrpSpPr>
            <p:cNvPr id="19" name="Группа 11">
              <a:extLst>
                <a:ext uri="{FF2B5EF4-FFF2-40B4-BE49-F238E27FC236}">
                  <a16:creationId xmlns:a16="http://schemas.microsoft.com/office/drawing/2014/main" id="{BBD44366-7289-4139-A01F-D48CC583C91C}"/>
                </a:ext>
              </a:extLst>
            </p:cNvPr>
            <p:cNvGrpSpPr/>
            <p:nvPr/>
          </p:nvGrpSpPr>
          <p:grpSpPr>
            <a:xfrm>
              <a:off x="2988021" y="3800216"/>
              <a:ext cx="1546322" cy="579593"/>
              <a:chOff x="7585068" y="-1113568"/>
              <a:chExt cx="1794104" cy="742072"/>
            </a:xfrm>
          </p:grpSpPr>
          <p:grpSp>
            <p:nvGrpSpPr>
              <p:cNvPr id="25" name="Группа 8">
                <a:extLst>
                  <a:ext uri="{FF2B5EF4-FFF2-40B4-BE49-F238E27FC236}">
                    <a16:creationId xmlns:a16="http://schemas.microsoft.com/office/drawing/2014/main" id="{C08EF0DC-0235-42B7-BE7D-19FFC7CF65B2}"/>
                  </a:ext>
                </a:extLst>
              </p:cNvPr>
              <p:cNvGrpSpPr/>
              <p:nvPr/>
            </p:nvGrpSpPr>
            <p:grpSpPr>
              <a:xfrm>
                <a:off x="7585068" y="-1113568"/>
                <a:ext cx="1762132" cy="742072"/>
                <a:chOff x="7629099" y="2311354"/>
                <a:chExt cx="1762132" cy="742072"/>
              </a:xfrm>
            </p:grpSpPr>
            <p:sp>
              <p:nvSpPr>
                <p:cNvPr id="27" name="Прямоугольник: скругленные углы 7">
                  <a:extLst>
                    <a:ext uri="{FF2B5EF4-FFF2-40B4-BE49-F238E27FC236}">
                      <a16:creationId xmlns:a16="http://schemas.microsoft.com/office/drawing/2014/main" id="{C8AC9C5D-997D-4758-97DF-332810888D4E}"/>
                    </a:ext>
                  </a:extLst>
                </p:cNvPr>
                <p:cNvSpPr/>
                <p:nvPr/>
              </p:nvSpPr>
              <p:spPr>
                <a:xfrm>
                  <a:off x="7703820" y="2311354"/>
                  <a:ext cx="1687411" cy="742072"/>
                </a:xfrm>
                <a:prstGeom prst="roundRect">
                  <a:avLst/>
                </a:prstGeom>
                <a:solidFill>
                  <a:schemeClr val="bg1">
                    <a:alpha val="78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Овал 5">
                  <a:extLst>
                    <a:ext uri="{FF2B5EF4-FFF2-40B4-BE49-F238E27FC236}">
                      <a16:creationId xmlns:a16="http://schemas.microsoft.com/office/drawing/2014/main" id="{828BE44D-AE48-4405-9603-5FB815AC1423}"/>
                    </a:ext>
                  </a:extLst>
                </p:cNvPr>
                <p:cNvSpPr/>
                <p:nvPr/>
              </p:nvSpPr>
              <p:spPr>
                <a:xfrm>
                  <a:off x="7629099" y="2593171"/>
                  <a:ext cx="125306" cy="138276"/>
                </a:xfrm>
                <a:prstGeom prst="ellipse">
                  <a:avLst/>
                </a:prstGeom>
                <a:solidFill>
                  <a:srgbClr val="0070BA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Прямоугольник 107">
                <a:extLst>
                  <a:ext uri="{FF2B5EF4-FFF2-40B4-BE49-F238E27FC236}">
                    <a16:creationId xmlns:a16="http://schemas.microsoft.com/office/drawing/2014/main" id="{679AC2D2-BB31-451E-A6D8-F633DE36C763}"/>
                  </a:ext>
                </a:extLst>
              </p:cNvPr>
              <p:cNvSpPr/>
              <p:nvPr/>
            </p:nvSpPr>
            <p:spPr>
              <a:xfrm>
                <a:off x="7824234" y="-1085359"/>
                <a:ext cx="1554938" cy="6856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dirty="0">
                    <a:solidFill>
                      <a:srgbClr val="0070BA"/>
                    </a:solidFill>
                    <a:cs typeface="Arial" panose="020B0604020202020204" pitchFamily="34" charset="0"/>
                  </a:rPr>
                  <a:t>Дрон для проведения инвентаризации</a:t>
                </a:r>
              </a:p>
            </p:txBody>
          </p:sp>
        </p:grpSp>
        <p:grpSp>
          <p:nvGrpSpPr>
            <p:cNvPr id="20" name="Группа 94">
              <a:extLst>
                <a:ext uri="{FF2B5EF4-FFF2-40B4-BE49-F238E27FC236}">
                  <a16:creationId xmlns:a16="http://schemas.microsoft.com/office/drawing/2014/main" id="{E02F256A-21DE-4485-A0F7-1A30C4C6ACF6}"/>
                </a:ext>
              </a:extLst>
            </p:cNvPr>
            <p:cNvGrpSpPr/>
            <p:nvPr/>
          </p:nvGrpSpPr>
          <p:grpSpPr>
            <a:xfrm>
              <a:off x="626183" y="3917203"/>
              <a:ext cx="1335517" cy="1297971"/>
              <a:chOff x="1504171" y="4020358"/>
              <a:chExt cx="1335517" cy="1335323"/>
            </a:xfrm>
          </p:grpSpPr>
          <p:pic>
            <p:nvPicPr>
              <p:cNvPr id="21" name="Рисунок 95">
                <a:extLst>
                  <a:ext uri="{FF2B5EF4-FFF2-40B4-BE49-F238E27FC236}">
                    <a16:creationId xmlns:a16="http://schemas.microsoft.com/office/drawing/2014/main" id="{F75D8798-7A80-4C62-A5BE-84C1A0A46F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807" t="18477" r="40363" b="49454"/>
              <a:stretch/>
            </p:blipFill>
            <p:spPr>
              <a:xfrm>
                <a:off x="1504171" y="4020358"/>
                <a:ext cx="1335517" cy="1335323"/>
              </a:xfrm>
              <a:prstGeom prst="ellipse">
                <a:avLst/>
              </a:prstGeom>
            </p:spPr>
          </p:pic>
          <p:grpSp>
            <p:nvGrpSpPr>
              <p:cNvPr id="22" name="Группа 96">
                <a:extLst>
                  <a:ext uri="{FF2B5EF4-FFF2-40B4-BE49-F238E27FC236}">
                    <a16:creationId xmlns:a16="http://schemas.microsoft.com/office/drawing/2014/main" id="{F6C6B876-9161-4D20-83C0-671E529B4F5E}"/>
                  </a:ext>
                </a:extLst>
              </p:cNvPr>
              <p:cNvGrpSpPr/>
              <p:nvPr/>
            </p:nvGrpSpPr>
            <p:grpSpPr>
              <a:xfrm>
                <a:off x="1504171" y="4030102"/>
                <a:ext cx="1325579" cy="1325579"/>
                <a:chOff x="1448161" y="4043245"/>
                <a:chExt cx="1292952" cy="1292952"/>
              </a:xfrm>
            </p:grpSpPr>
            <p:pic>
              <p:nvPicPr>
                <p:cNvPr id="23" name="Рисунок 98">
                  <a:extLst>
                    <a:ext uri="{FF2B5EF4-FFF2-40B4-BE49-F238E27FC236}">
                      <a16:creationId xmlns:a16="http://schemas.microsoft.com/office/drawing/2014/main" id="{64ED56FE-C166-4E86-9216-914B977AE2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38264" t="1769" r="2212" b="48429"/>
                <a:stretch/>
              </p:blipFill>
              <p:spPr>
                <a:xfrm>
                  <a:off x="1448161" y="4043245"/>
                  <a:ext cx="1292952" cy="1287404"/>
                </a:xfrm>
                <a:prstGeom prst="ellipse">
                  <a:avLst/>
                </a:prstGeom>
              </p:spPr>
            </p:pic>
            <p:sp>
              <p:nvSpPr>
                <p:cNvPr id="24" name="Овал 99">
                  <a:extLst>
                    <a:ext uri="{FF2B5EF4-FFF2-40B4-BE49-F238E27FC236}">
                      <a16:creationId xmlns:a16="http://schemas.microsoft.com/office/drawing/2014/main" id="{1920ED60-7B60-43E4-901B-52D0E6E33B69}"/>
                    </a:ext>
                  </a:extLst>
                </p:cNvPr>
                <p:cNvSpPr/>
                <p:nvPr/>
              </p:nvSpPr>
              <p:spPr>
                <a:xfrm>
                  <a:off x="1448161" y="4043245"/>
                  <a:ext cx="1292952" cy="1292952"/>
                </a:xfrm>
                <a:prstGeom prst="ellipse">
                  <a:avLst/>
                </a:prstGeom>
                <a:noFill/>
                <a:ln w="317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E5C46DA-94A4-43B8-B921-DC1874D7572F}"/>
              </a:ext>
            </a:extLst>
          </p:cNvPr>
          <p:cNvCxnSpPr>
            <a:cxnSpLocks/>
          </p:cNvCxnSpPr>
          <p:nvPr/>
        </p:nvCxnSpPr>
        <p:spPr>
          <a:xfrm>
            <a:off x="407368" y="1664804"/>
            <a:ext cx="11237418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98B65A4-8C1E-4F9E-90BD-A05991C1F0C3}"/>
              </a:ext>
            </a:extLst>
          </p:cNvPr>
          <p:cNvCxnSpPr>
            <a:cxnSpLocks/>
          </p:cNvCxnSpPr>
          <p:nvPr/>
        </p:nvCxnSpPr>
        <p:spPr>
          <a:xfrm>
            <a:off x="407368" y="944724"/>
            <a:ext cx="11237418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C0928058-BA06-4FA5-A4A1-51DBE7F0C66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6057" y="1023858"/>
            <a:ext cx="644715" cy="644715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5D283D07-10A7-408D-8CD7-D278947778D9}"/>
              </a:ext>
            </a:extLst>
          </p:cNvPr>
          <p:cNvGrpSpPr/>
          <p:nvPr/>
        </p:nvGrpSpPr>
        <p:grpSpPr>
          <a:xfrm>
            <a:off x="7853792" y="2449337"/>
            <a:ext cx="3767177" cy="1199148"/>
            <a:chOff x="7853792" y="2449337"/>
            <a:chExt cx="3767177" cy="1199148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68A8923-ACC1-4FE5-A515-EB765D70D07D}"/>
                </a:ext>
              </a:extLst>
            </p:cNvPr>
            <p:cNvSpPr/>
            <p:nvPr/>
          </p:nvSpPr>
          <p:spPr>
            <a:xfrm>
              <a:off x="7853792" y="2449337"/>
              <a:ext cx="3767177" cy="1199148"/>
            </a:xfrm>
            <a:prstGeom prst="round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>
                <a:solidFill>
                  <a:srgbClr val="3C3C3C"/>
                </a:solidFill>
                <a:latin typeface="Arial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EBFA60C-2BA8-4736-95BA-41B6D600E6D4}"/>
                </a:ext>
              </a:extLst>
            </p:cNvPr>
            <p:cNvSpPr txBox="1"/>
            <p:nvPr/>
          </p:nvSpPr>
          <p:spPr>
            <a:xfrm>
              <a:off x="9320326" y="2784514"/>
              <a:ext cx="2191605" cy="528794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l">
                <a:spcBef>
                  <a:spcPts val="300"/>
                </a:spcBef>
              </a:pP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Полезная площадь открытого хранения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A424B11-A0AD-4EF9-BA5B-1EE093D381FE}"/>
                </a:ext>
              </a:extLst>
            </p:cNvPr>
            <p:cNvCxnSpPr>
              <a:cxnSpLocks/>
            </p:cNvCxnSpPr>
            <p:nvPr/>
          </p:nvCxnSpPr>
          <p:spPr>
            <a:xfrm>
              <a:off x="9095233" y="2572570"/>
              <a:ext cx="0" cy="952682"/>
            </a:xfrm>
            <a:prstGeom prst="line">
              <a:avLst/>
            </a:prstGeom>
            <a:ln>
              <a:solidFill>
                <a:srgbClr val="19A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E7F5526-F070-4B76-9552-3874DFB87E89}"/>
                </a:ext>
              </a:extLst>
            </p:cNvPr>
            <p:cNvGrpSpPr/>
            <p:nvPr/>
          </p:nvGrpSpPr>
          <p:grpSpPr>
            <a:xfrm>
              <a:off x="8181492" y="2661385"/>
              <a:ext cx="791808" cy="775053"/>
              <a:chOff x="8358278" y="2698962"/>
              <a:chExt cx="791808" cy="775053"/>
            </a:xfrm>
          </p:grpSpPr>
          <p:sp>
            <p:nvSpPr>
              <p:cNvPr id="46" name="Прямоугольник 147">
                <a:extLst>
                  <a:ext uri="{FF2B5EF4-FFF2-40B4-BE49-F238E27FC236}">
                    <a16:creationId xmlns:a16="http://schemas.microsoft.com/office/drawing/2014/main" id="{E3C07D2E-888F-4925-BCA7-EC06410C8C4D}"/>
                  </a:ext>
                </a:extLst>
              </p:cNvPr>
              <p:cNvSpPr/>
              <p:nvPr/>
            </p:nvSpPr>
            <p:spPr>
              <a:xfrm>
                <a:off x="8358278" y="2698962"/>
                <a:ext cx="791808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sz="3200" b="1" dirty="0">
                    <a:solidFill>
                      <a:srgbClr val="19A7FF"/>
                    </a:solidFill>
                    <a:latin typeface="+mj-lt"/>
                  </a:rPr>
                  <a:t>4,3</a:t>
                </a:r>
              </a:p>
            </p:txBody>
          </p:sp>
          <p:sp>
            <p:nvSpPr>
              <p:cNvPr id="47" name="Прямоугольник 148">
                <a:extLst>
                  <a:ext uri="{FF2B5EF4-FFF2-40B4-BE49-F238E27FC236}">
                    <a16:creationId xmlns:a16="http://schemas.microsoft.com/office/drawing/2014/main" id="{8B6837D9-7368-4964-B848-8A1B74835DD1}"/>
                  </a:ext>
                </a:extLst>
              </p:cNvPr>
              <p:cNvSpPr/>
              <p:nvPr/>
            </p:nvSpPr>
            <p:spPr>
              <a:xfrm>
                <a:off x="8539379" y="3135461"/>
                <a:ext cx="602951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sz="2000" dirty="0">
                    <a:solidFill>
                      <a:srgbClr val="19A7FF"/>
                    </a:solidFill>
                    <a:cs typeface="Arial" panose="020B0604020202020204" pitchFamily="34" charset="0"/>
                  </a:rPr>
                  <a:t>Га</a:t>
                </a: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9A6ECB1-8056-4F2C-8BD8-1B65B2758388}"/>
              </a:ext>
            </a:extLst>
          </p:cNvPr>
          <p:cNvGrpSpPr/>
          <p:nvPr/>
        </p:nvGrpSpPr>
        <p:grpSpPr>
          <a:xfrm>
            <a:off x="7853792" y="4194472"/>
            <a:ext cx="3767176" cy="1199148"/>
            <a:chOff x="7853792" y="4194472"/>
            <a:chExt cx="3767176" cy="1199148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65BD7A45-F701-4965-90D2-257C19D0BB0F}"/>
                </a:ext>
              </a:extLst>
            </p:cNvPr>
            <p:cNvSpPr/>
            <p:nvPr/>
          </p:nvSpPr>
          <p:spPr>
            <a:xfrm>
              <a:off x="7853792" y="4194472"/>
              <a:ext cx="3767176" cy="1199148"/>
            </a:xfrm>
            <a:prstGeom prst="round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>
                <a:solidFill>
                  <a:srgbClr val="3C3C3C"/>
                </a:solidFill>
                <a:latin typeface="Arial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CE31D4C-7B4E-477D-8E01-0A36BDDB3928}"/>
                </a:ext>
              </a:extLst>
            </p:cNvPr>
            <p:cNvSpPr txBox="1"/>
            <p:nvPr/>
          </p:nvSpPr>
          <p:spPr>
            <a:xfrm>
              <a:off x="9320326" y="4529649"/>
              <a:ext cx="2191605" cy="528794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l">
                <a:spcBef>
                  <a:spcPts val="300"/>
                </a:spcBef>
              </a:pP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Общая площадь земельного участка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E1CAF0-C6A2-4F07-A497-E7BD3C335C27}"/>
                </a:ext>
              </a:extLst>
            </p:cNvPr>
            <p:cNvCxnSpPr>
              <a:cxnSpLocks/>
            </p:cNvCxnSpPr>
            <p:nvPr/>
          </p:nvCxnSpPr>
          <p:spPr>
            <a:xfrm>
              <a:off x="9095233" y="4317705"/>
              <a:ext cx="0" cy="952682"/>
            </a:xfrm>
            <a:prstGeom prst="line">
              <a:avLst/>
            </a:prstGeom>
            <a:ln>
              <a:solidFill>
                <a:srgbClr val="19A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DDA8ADD-B48A-4971-A7EB-B0B89D0BABC4}"/>
                </a:ext>
              </a:extLst>
            </p:cNvPr>
            <p:cNvGrpSpPr/>
            <p:nvPr/>
          </p:nvGrpSpPr>
          <p:grpSpPr>
            <a:xfrm>
              <a:off x="7897465" y="4406520"/>
              <a:ext cx="1075835" cy="775053"/>
              <a:chOff x="8074251" y="2698962"/>
              <a:chExt cx="1075835" cy="775053"/>
            </a:xfrm>
          </p:grpSpPr>
          <p:sp>
            <p:nvSpPr>
              <p:cNvPr id="52" name="Прямоугольник 147">
                <a:extLst>
                  <a:ext uri="{FF2B5EF4-FFF2-40B4-BE49-F238E27FC236}">
                    <a16:creationId xmlns:a16="http://schemas.microsoft.com/office/drawing/2014/main" id="{FBFDA313-3AD0-4DFD-ADDB-BF5B30CA3A64}"/>
                  </a:ext>
                </a:extLst>
              </p:cNvPr>
              <p:cNvSpPr/>
              <p:nvPr/>
            </p:nvSpPr>
            <p:spPr>
              <a:xfrm>
                <a:off x="8074251" y="2698962"/>
                <a:ext cx="1075835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sz="3200" b="1" dirty="0">
                    <a:solidFill>
                      <a:srgbClr val="19A7FF"/>
                    </a:solidFill>
                    <a:latin typeface="+mj-lt"/>
                  </a:rPr>
                  <a:t>10,2</a:t>
                </a:r>
              </a:p>
            </p:txBody>
          </p:sp>
          <p:sp>
            <p:nvSpPr>
              <p:cNvPr id="53" name="Прямоугольник 148">
                <a:extLst>
                  <a:ext uri="{FF2B5EF4-FFF2-40B4-BE49-F238E27FC236}">
                    <a16:creationId xmlns:a16="http://schemas.microsoft.com/office/drawing/2014/main" id="{8D1CED72-6443-40DC-BFDF-0501B569EF7A}"/>
                  </a:ext>
                </a:extLst>
              </p:cNvPr>
              <p:cNvSpPr/>
              <p:nvPr/>
            </p:nvSpPr>
            <p:spPr>
              <a:xfrm>
                <a:off x="8539379" y="3135461"/>
                <a:ext cx="602951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sz="2000" dirty="0">
                    <a:solidFill>
                      <a:srgbClr val="19A7FF"/>
                    </a:solidFill>
                    <a:cs typeface="Arial" panose="020B0604020202020204" pitchFamily="34" charset="0"/>
                  </a:rPr>
                  <a:t>Га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4093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0">
            <a:extLst>
              <a:ext uri="{FF2B5EF4-FFF2-40B4-BE49-F238E27FC236}">
                <a16:creationId xmlns:a16="http://schemas.microsoft.com/office/drawing/2014/main" id="{EC50C9CD-CA9F-4FEC-A79F-D3D7F90E9593}"/>
              </a:ext>
            </a:extLst>
          </p:cNvPr>
          <p:cNvSpPr txBox="1">
            <a:spLocks/>
          </p:cNvSpPr>
          <p:nvPr/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00" b="1" kern="1200" cap="all" baseline="0" dirty="0">
                <a:solidFill>
                  <a:srgbClr val="002E5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ea typeface="Century Gothic"/>
                <a:cs typeface="Century Gothic"/>
                <a:sym typeface="Century Gothic"/>
              </a:rPr>
              <a:t>Концепция развития логистического комплекса</a:t>
            </a:r>
            <a:endParaRPr lang="ru-RU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D85D8F-91CE-4C83-86E0-CBC930603112}"/>
              </a:ext>
            </a:extLst>
          </p:cNvPr>
          <p:cNvCxnSpPr>
            <a:cxnSpLocks/>
          </p:cNvCxnSpPr>
          <p:nvPr/>
        </p:nvCxnSpPr>
        <p:spPr>
          <a:xfrm>
            <a:off x="407368" y="1664804"/>
            <a:ext cx="11237418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A9DE7A-5E81-4556-A0ED-510EFE36343A}"/>
              </a:ext>
            </a:extLst>
          </p:cNvPr>
          <p:cNvCxnSpPr>
            <a:cxnSpLocks/>
          </p:cNvCxnSpPr>
          <p:nvPr/>
        </p:nvCxnSpPr>
        <p:spPr>
          <a:xfrm>
            <a:off x="407368" y="944724"/>
            <a:ext cx="11237418" cy="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5459F27-A167-481F-A1D8-8D9167CEE7BC}"/>
              </a:ext>
            </a:extLst>
          </p:cNvPr>
          <p:cNvSpPr/>
          <p:nvPr/>
        </p:nvSpPr>
        <p:spPr>
          <a:xfrm>
            <a:off x="390832" y="1080085"/>
            <a:ext cx="449433" cy="449358"/>
          </a:xfrm>
          <a:custGeom>
            <a:avLst/>
            <a:gdLst>
              <a:gd name="connsiteX0" fmla="*/ 4563212 w 5346475"/>
              <a:gd name="connsiteY0" fmla="*/ 760241 h 5345580"/>
              <a:gd name="connsiteX1" fmla="*/ 4563212 w 5346475"/>
              <a:gd name="connsiteY1" fmla="*/ 524041 h 5345580"/>
              <a:gd name="connsiteX2" fmla="*/ 4235546 w 5346475"/>
              <a:gd name="connsiteY2" fmla="*/ 226874 h 5345580"/>
              <a:gd name="connsiteX3" fmla="*/ 3923105 w 5346475"/>
              <a:gd name="connsiteY3" fmla="*/ 295454 h 5345580"/>
              <a:gd name="connsiteX4" fmla="*/ 3884988 w 5346475"/>
              <a:gd name="connsiteY4" fmla="*/ 295454 h 5345580"/>
              <a:gd name="connsiteX5" fmla="*/ 2391414 w 5346475"/>
              <a:gd name="connsiteY5" fmla="*/ 13522 h 5345580"/>
              <a:gd name="connsiteX6" fmla="*/ 14039 w 5346475"/>
              <a:gd name="connsiteY6" fmla="*/ 2390897 h 5345580"/>
              <a:gd name="connsiteX7" fmla="*/ 2848745 w 5346475"/>
              <a:gd name="connsiteY7" fmla="*/ 5339837 h 5345580"/>
              <a:gd name="connsiteX8" fmla="*/ 5340452 w 5346475"/>
              <a:gd name="connsiteY8" fmla="*/ 2848129 h 5345580"/>
              <a:gd name="connsiteX9" fmla="*/ 4578460 w 5346475"/>
              <a:gd name="connsiteY9" fmla="*/ 798371 h 5345580"/>
              <a:gd name="connsiteX10" fmla="*/ 4563228 w 5346475"/>
              <a:gd name="connsiteY10" fmla="*/ 760254 h 5345580"/>
              <a:gd name="connsiteX11" fmla="*/ 4997538 w 5346475"/>
              <a:gd name="connsiteY11" fmla="*/ 2528135 h 5345580"/>
              <a:gd name="connsiteX12" fmla="*/ 4448898 w 5346475"/>
              <a:gd name="connsiteY12" fmla="*/ 2528135 h 5345580"/>
              <a:gd name="connsiteX13" fmla="*/ 4410782 w 5346475"/>
              <a:gd name="connsiteY13" fmla="*/ 2490018 h 5345580"/>
              <a:gd name="connsiteX14" fmla="*/ 2863911 w 5346475"/>
              <a:gd name="connsiteY14" fmla="*/ 943147 h 5345580"/>
              <a:gd name="connsiteX15" fmla="*/ 2825794 w 5346475"/>
              <a:gd name="connsiteY15" fmla="*/ 905031 h 5345580"/>
              <a:gd name="connsiteX16" fmla="*/ 2825832 w 5346475"/>
              <a:gd name="connsiteY16" fmla="*/ 348817 h 5345580"/>
              <a:gd name="connsiteX17" fmla="*/ 2871565 w 5346475"/>
              <a:gd name="connsiteY17" fmla="*/ 310701 h 5345580"/>
              <a:gd name="connsiteX18" fmla="*/ 3724984 w 5346475"/>
              <a:gd name="connsiteY18" fmla="*/ 546900 h 5345580"/>
              <a:gd name="connsiteX19" fmla="*/ 3747831 w 5346475"/>
              <a:gd name="connsiteY19" fmla="*/ 592633 h 5345580"/>
              <a:gd name="connsiteX20" fmla="*/ 3770678 w 5346475"/>
              <a:gd name="connsiteY20" fmla="*/ 798373 h 5345580"/>
              <a:gd name="connsiteX21" fmla="*/ 4098344 w 5346475"/>
              <a:gd name="connsiteY21" fmla="*/ 1065081 h 5345580"/>
              <a:gd name="connsiteX22" fmla="*/ 4334543 w 5346475"/>
              <a:gd name="connsiteY22" fmla="*/ 1034617 h 5345580"/>
              <a:gd name="connsiteX23" fmla="*/ 4380276 w 5346475"/>
              <a:gd name="connsiteY23" fmla="*/ 1042233 h 5345580"/>
              <a:gd name="connsiteX24" fmla="*/ 5035617 w 5346475"/>
              <a:gd name="connsiteY24" fmla="*/ 2490055 h 5345580"/>
              <a:gd name="connsiteX25" fmla="*/ 4997538 w 5346475"/>
              <a:gd name="connsiteY25" fmla="*/ 2528172 h 5345580"/>
              <a:gd name="connsiteX26" fmla="*/ 3839320 w 5346475"/>
              <a:gd name="connsiteY26" fmla="*/ 3465408 h 5345580"/>
              <a:gd name="connsiteX27" fmla="*/ 3595459 w 5346475"/>
              <a:gd name="connsiteY27" fmla="*/ 3434945 h 5345580"/>
              <a:gd name="connsiteX28" fmla="*/ 3260172 w 5346475"/>
              <a:gd name="connsiteY28" fmla="*/ 3732112 h 5345580"/>
              <a:gd name="connsiteX29" fmla="*/ 3260172 w 5346475"/>
              <a:gd name="connsiteY29" fmla="*/ 3953086 h 5345580"/>
              <a:gd name="connsiteX30" fmla="*/ 3237325 w 5346475"/>
              <a:gd name="connsiteY30" fmla="*/ 4006435 h 5345580"/>
              <a:gd name="connsiteX31" fmla="*/ 2863965 w 5346475"/>
              <a:gd name="connsiteY31" fmla="*/ 4113136 h 5345580"/>
              <a:gd name="connsiteX32" fmla="*/ 2818232 w 5346475"/>
              <a:gd name="connsiteY32" fmla="*/ 4075019 h 5345580"/>
              <a:gd name="connsiteX33" fmla="*/ 2818232 w 5346475"/>
              <a:gd name="connsiteY33" fmla="*/ 3511105 h 5345580"/>
              <a:gd name="connsiteX34" fmla="*/ 2848696 w 5346475"/>
              <a:gd name="connsiteY34" fmla="*/ 3472988 h 5345580"/>
              <a:gd name="connsiteX35" fmla="*/ 3465916 w 5346475"/>
              <a:gd name="connsiteY35" fmla="*/ 2855768 h 5345580"/>
              <a:gd name="connsiteX36" fmla="*/ 3504032 w 5346475"/>
              <a:gd name="connsiteY36" fmla="*/ 2825305 h 5345580"/>
              <a:gd name="connsiteX37" fmla="*/ 4060285 w 5346475"/>
              <a:gd name="connsiteY37" fmla="*/ 2825305 h 5345580"/>
              <a:gd name="connsiteX38" fmla="*/ 4098401 w 5346475"/>
              <a:gd name="connsiteY38" fmla="*/ 2871038 h 5345580"/>
              <a:gd name="connsiteX39" fmla="*/ 3885049 w 5346475"/>
              <a:gd name="connsiteY39" fmla="*/ 3450137 h 5345580"/>
              <a:gd name="connsiteX40" fmla="*/ 3839316 w 5346475"/>
              <a:gd name="connsiteY40" fmla="*/ 3465407 h 5345580"/>
              <a:gd name="connsiteX41" fmla="*/ 1499958 w 5346475"/>
              <a:gd name="connsiteY41" fmla="*/ 1888068 h 5345580"/>
              <a:gd name="connsiteX42" fmla="*/ 1659965 w 5346475"/>
              <a:gd name="connsiteY42" fmla="*/ 1918531 h 5345580"/>
              <a:gd name="connsiteX43" fmla="*/ 2071445 w 5346475"/>
              <a:gd name="connsiteY43" fmla="*/ 1537511 h 5345580"/>
              <a:gd name="connsiteX44" fmla="*/ 2056213 w 5346475"/>
              <a:gd name="connsiteY44" fmla="*/ 1369891 h 5345580"/>
              <a:gd name="connsiteX45" fmla="*/ 2482928 w 5346475"/>
              <a:gd name="connsiteY45" fmla="*/ 1240344 h 5345580"/>
              <a:gd name="connsiteX46" fmla="*/ 2528661 w 5346475"/>
              <a:gd name="connsiteY46" fmla="*/ 1278460 h 5345580"/>
              <a:gd name="connsiteX47" fmla="*/ 2528661 w 5346475"/>
              <a:gd name="connsiteY47" fmla="*/ 1834713 h 5345580"/>
              <a:gd name="connsiteX48" fmla="*/ 2498198 w 5346475"/>
              <a:gd name="connsiteY48" fmla="*/ 1872830 h 5345580"/>
              <a:gd name="connsiteX49" fmla="*/ 1880978 w 5346475"/>
              <a:gd name="connsiteY49" fmla="*/ 2490050 h 5345580"/>
              <a:gd name="connsiteX50" fmla="*/ 1842861 w 5346475"/>
              <a:gd name="connsiteY50" fmla="*/ 2520513 h 5345580"/>
              <a:gd name="connsiteX51" fmla="*/ 1286609 w 5346475"/>
              <a:gd name="connsiteY51" fmla="*/ 2520513 h 5345580"/>
              <a:gd name="connsiteX52" fmla="*/ 1248492 w 5346475"/>
              <a:gd name="connsiteY52" fmla="*/ 2474780 h 5345580"/>
              <a:gd name="connsiteX53" fmla="*/ 1454232 w 5346475"/>
              <a:gd name="connsiteY53" fmla="*/ 1903293 h 5345580"/>
              <a:gd name="connsiteX54" fmla="*/ 1499965 w 5346475"/>
              <a:gd name="connsiteY54" fmla="*/ 1888061 h 5345580"/>
              <a:gd name="connsiteX55" fmla="*/ 2528658 w 5346475"/>
              <a:gd name="connsiteY55" fmla="*/ 2863423 h 5345580"/>
              <a:gd name="connsiteX56" fmla="*/ 2528658 w 5346475"/>
              <a:gd name="connsiteY56" fmla="*/ 3114896 h 5345580"/>
              <a:gd name="connsiteX57" fmla="*/ 2467694 w 5346475"/>
              <a:gd name="connsiteY57" fmla="*/ 3153013 h 5345580"/>
              <a:gd name="connsiteX58" fmla="*/ 2193374 w 5346475"/>
              <a:gd name="connsiteY58" fmla="*/ 2878693 h 5345580"/>
              <a:gd name="connsiteX59" fmla="*/ 2231490 w 5346475"/>
              <a:gd name="connsiteY59" fmla="*/ 2817728 h 5345580"/>
              <a:gd name="connsiteX60" fmla="*/ 2482963 w 5346475"/>
              <a:gd name="connsiteY60" fmla="*/ 2817728 h 5345580"/>
              <a:gd name="connsiteX61" fmla="*/ 2528658 w 5346475"/>
              <a:gd name="connsiteY61" fmla="*/ 2863423 h 5345580"/>
              <a:gd name="connsiteX62" fmla="*/ 2193371 w 5346475"/>
              <a:gd name="connsiteY62" fmla="*/ 2467177 h 5345580"/>
              <a:gd name="connsiteX63" fmla="*/ 2467691 w 5346475"/>
              <a:gd name="connsiteY63" fmla="*/ 2192857 h 5345580"/>
              <a:gd name="connsiteX64" fmla="*/ 2528655 w 5346475"/>
              <a:gd name="connsiteY64" fmla="*/ 2230974 h 5345580"/>
              <a:gd name="connsiteX65" fmla="*/ 2528655 w 5346475"/>
              <a:gd name="connsiteY65" fmla="*/ 2482447 h 5345580"/>
              <a:gd name="connsiteX66" fmla="*/ 2490538 w 5346475"/>
              <a:gd name="connsiteY66" fmla="*/ 2520564 h 5345580"/>
              <a:gd name="connsiteX67" fmla="*/ 2239065 w 5346475"/>
              <a:gd name="connsiteY67" fmla="*/ 2520564 h 5345580"/>
              <a:gd name="connsiteX68" fmla="*/ 2193371 w 5346475"/>
              <a:gd name="connsiteY68" fmla="*/ 2467177 h 5345580"/>
              <a:gd name="connsiteX69" fmla="*/ 2863936 w 5346475"/>
              <a:gd name="connsiteY69" fmla="*/ 2817690 h 5345580"/>
              <a:gd name="connsiteX70" fmla="*/ 3115409 w 5346475"/>
              <a:gd name="connsiteY70" fmla="*/ 2817690 h 5345580"/>
              <a:gd name="connsiteX71" fmla="*/ 3153526 w 5346475"/>
              <a:gd name="connsiteY71" fmla="*/ 2878654 h 5345580"/>
              <a:gd name="connsiteX72" fmla="*/ 2879206 w 5346475"/>
              <a:gd name="connsiteY72" fmla="*/ 3152974 h 5345580"/>
              <a:gd name="connsiteX73" fmla="*/ 2818241 w 5346475"/>
              <a:gd name="connsiteY73" fmla="*/ 3114858 h 5345580"/>
              <a:gd name="connsiteX74" fmla="*/ 2818241 w 5346475"/>
              <a:gd name="connsiteY74" fmla="*/ 2863385 h 5345580"/>
              <a:gd name="connsiteX75" fmla="*/ 2863936 w 5346475"/>
              <a:gd name="connsiteY75" fmla="*/ 2817690 h 5345580"/>
              <a:gd name="connsiteX76" fmla="*/ 2818203 w 5346475"/>
              <a:gd name="connsiteY76" fmla="*/ 2482402 h 5345580"/>
              <a:gd name="connsiteX77" fmla="*/ 2818203 w 5346475"/>
              <a:gd name="connsiteY77" fmla="*/ 2230929 h 5345580"/>
              <a:gd name="connsiteX78" fmla="*/ 2879168 w 5346475"/>
              <a:gd name="connsiteY78" fmla="*/ 2192812 h 5345580"/>
              <a:gd name="connsiteX79" fmla="*/ 3153488 w 5346475"/>
              <a:gd name="connsiteY79" fmla="*/ 2467132 h 5345580"/>
              <a:gd name="connsiteX80" fmla="*/ 3115371 w 5346475"/>
              <a:gd name="connsiteY80" fmla="*/ 2528097 h 5345580"/>
              <a:gd name="connsiteX81" fmla="*/ 2863898 w 5346475"/>
              <a:gd name="connsiteY81" fmla="*/ 2528097 h 5345580"/>
              <a:gd name="connsiteX82" fmla="*/ 2818203 w 5346475"/>
              <a:gd name="connsiteY82" fmla="*/ 2482402 h 5345580"/>
              <a:gd name="connsiteX83" fmla="*/ 1880930 w 5346475"/>
              <a:gd name="connsiteY83" fmla="*/ 2855800 h 5345580"/>
              <a:gd name="connsiteX84" fmla="*/ 2498150 w 5346475"/>
              <a:gd name="connsiteY84" fmla="*/ 3473020 h 5345580"/>
              <a:gd name="connsiteX85" fmla="*/ 2528613 w 5346475"/>
              <a:gd name="connsiteY85" fmla="*/ 3511137 h 5345580"/>
              <a:gd name="connsiteX86" fmla="*/ 2528613 w 5346475"/>
              <a:gd name="connsiteY86" fmla="*/ 4067390 h 5345580"/>
              <a:gd name="connsiteX87" fmla="*/ 2482880 w 5346475"/>
              <a:gd name="connsiteY87" fmla="*/ 4105506 h 5345580"/>
              <a:gd name="connsiteX88" fmla="*/ 1240896 w 5346475"/>
              <a:gd name="connsiteY88" fmla="*/ 2871066 h 5345580"/>
              <a:gd name="connsiteX89" fmla="*/ 1279013 w 5346475"/>
              <a:gd name="connsiteY89" fmla="*/ 2825333 h 5345580"/>
              <a:gd name="connsiteX90" fmla="*/ 1835265 w 5346475"/>
              <a:gd name="connsiteY90" fmla="*/ 2825333 h 5345580"/>
              <a:gd name="connsiteX91" fmla="*/ 1880960 w 5346475"/>
              <a:gd name="connsiteY91" fmla="*/ 2855835 h 5345580"/>
              <a:gd name="connsiteX92" fmla="*/ 3465912 w 5346475"/>
              <a:gd name="connsiteY92" fmla="*/ 2490014 h 5345580"/>
              <a:gd name="connsiteX93" fmla="*/ 2848692 w 5346475"/>
              <a:gd name="connsiteY93" fmla="*/ 1872794 h 5345580"/>
              <a:gd name="connsiteX94" fmla="*/ 2818228 w 5346475"/>
              <a:gd name="connsiteY94" fmla="*/ 1834678 h 5345580"/>
              <a:gd name="connsiteX95" fmla="*/ 2818228 w 5346475"/>
              <a:gd name="connsiteY95" fmla="*/ 1278425 h 5345580"/>
              <a:gd name="connsiteX96" fmla="*/ 2863961 w 5346475"/>
              <a:gd name="connsiteY96" fmla="*/ 1240308 h 5345580"/>
              <a:gd name="connsiteX97" fmla="*/ 4105945 w 5346475"/>
              <a:gd name="connsiteY97" fmla="*/ 2474748 h 5345580"/>
              <a:gd name="connsiteX98" fmla="*/ 4067828 w 5346475"/>
              <a:gd name="connsiteY98" fmla="*/ 2520482 h 5345580"/>
              <a:gd name="connsiteX99" fmla="*/ 3511576 w 5346475"/>
              <a:gd name="connsiteY99" fmla="*/ 2520482 h 5345580"/>
              <a:gd name="connsiteX100" fmla="*/ 3465881 w 5346475"/>
              <a:gd name="connsiteY100" fmla="*/ 2489980 h 5345580"/>
              <a:gd name="connsiteX101" fmla="*/ 2528639 w 5346475"/>
              <a:gd name="connsiteY101" fmla="*/ 348849 h 5345580"/>
              <a:gd name="connsiteX102" fmla="*/ 2528639 w 5346475"/>
              <a:gd name="connsiteY102" fmla="*/ 897489 h 5345580"/>
              <a:gd name="connsiteX103" fmla="*/ 2490522 w 5346475"/>
              <a:gd name="connsiteY103" fmla="*/ 935605 h 5345580"/>
              <a:gd name="connsiteX104" fmla="*/ 1858067 w 5346475"/>
              <a:gd name="connsiteY104" fmla="*/ 1126111 h 5345580"/>
              <a:gd name="connsiteX105" fmla="*/ 1576135 w 5346475"/>
              <a:gd name="connsiteY105" fmla="*/ 1080378 h 5345580"/>
              <a:gd name="connsiteX106" fmla="*/ 1248469 w 5346475"/>
              <a:gd name="connsiteY106" fmla="*/ 1385157 h 5345580"/>
              <a:gd name="connsiteX107" fmla="*/ 1256085 w 5346475"/>
              <a:gd name="connsiteY107" fmla="*/ 1629018 h 5345580"/>
              <a:gd name="connsiteX108" fmla="*/ 1248469 w 5346475"/>
              <a:gd name="connsiteY108" fmla="*/ 1667135 h 5345580"/>
              <a:gd name="connsiteX109" fmla="*/ 943690 w 5346475"/>
              <a:gd name="connsiteY109" fmla="*/ 2482482 h 5345580"/>
              <a:gd name="connsiteX110" fmla="*/ 905573 w 5346475"/>
              <a:gd name="connsiteY110" fmla="*/ 2520599 h 5345580"/>
              <a:gd name="connsiteX111" fmla="*/ 349321 w 5346475"/>
              <a:gd name="connsiteY111" fmla="*/ 2520561 h 5345580"/>
              <a:gd name="connsiteX112" fmla="*/ 311204 w 5346475"/>
              <a:gd name="connsiteY112" fmla="*/ 2474828 h 5345580"/>
              <a:gd name="connsiteX113" fmla="*/ 2482937 w 5346475"/>
              <a:gd name="connsiteY113" fmla="*/ 303095 h 5345580"/>
              <a:gd name="connsiteX114" fmla="*/ 2528670 w 5346475"/>
              <a:gd name="connsiteY114" fmla="*/ 348828 h 5345580"/>
              <a:gd name="connsiteX115" fmla="*/ 349264 w 5346475"/>
              <a:gd name="connsiteY115" fmla="*/ 2817729 h 5345580"/>
              <a:gd name="connsiteX116" fmla="*/ 897904 w 5346475"/>
              <a:gd name="connsiteY116" fmla="*/ 2817729 h 5345580"/>
              <a:gd name="connsiteX117" fmla="*/ 936021 w 5346475"/>
              <a:gd name="connsiteY117" fmla="*/ 2855846 h 5345580"/>
              <a:gd name="connsiteX118" fmla="*/ 2482892 w 5346475"/>
              <a:gd name="connsiteY118" fmla="*/ 4402716 h 5345580"/>
              <a:gd name="connsiteX119" fmla="*/ 2521009 w 5346475"/>
              <a:gd name="connsiteY119" fmla="*/ 4440833 h 5345580"/>
              <a:gd name="connsiteX120" fmla="*/ 2521009 w 5346475"/>
              <a:gd name="connsiteY120" fmla="*/ 4989473 h 5345580"/>
              <a:gd name="connsiteX121" fmla="*/ 2475276 w 5346475"/>
              <a:gd name="connsiteY121" fmla="*/ 5027590 h 5345580"/>
              <a:gd name="connsiteX122" fmla="*/ 303543 w 5346475"/>
              <a:gd name="connsiteY122" fmla="*/ 2863499 h 5345580"/>
              <a:gd name="connsiteX123" fmla="*/ 349276 w 5346475"/>
              <a:gd name="connsiteY123" fmla="*/ 2817766 h 5345580"/>
              <a:gd name="connsiteX124" fmla="*/ 2818144 w 5346475"/>
              <a:gd name="connsiteY124" fmla="*/ 4997104 h 5345580"/>
              <a:gd name="connsiteX125" fmla="*/ 2818144 w 5346475"/>
              <a:gd name="connsiteY125" fmla="*/ 4448463 h 5345580"/>
              <a:gd name="connsiteX126" fmla="*/ 2856261 w 5346475"/>
              <a:gd name="connsiteY126" fmla="*/ 4410347 h 5345580"/>
              <a:gd name="connsiteX127" fmla="*/ 3458246 w 5346475"/>
              <a:gd name="connsiteY127" fmla="*/ 4235066 h 5345580"/>
              <a:gd name="connsiteX128" fmla="*/ 3496363 w 5346475"/>
              <a:gd name="connsiteY128" fmla="*/ 4235066 h 5345580"/>
              <a:gd name="connsiteX129" fmla="*/ 3755449 w 5346475"/>
              <a:gd name="connsiteY129" fmla="*/ 4265529 h 5345580"/>
              <a:gd name="connsiteX130" fmla="*/ 4075502 w 5346475"/>
              <a:gd name="connsiteY130" fmla="*/ 3975974 h 5345580"/>
              <a:gd name="connsiteX131" fmla="*/ 4075502 w 5346475"/>
              <a:gd name="connsiteY131" fmla="*/ 3747387 h 5345580"/>
              <a:gd name="connsiteX132" fmla="*/ 4083117 w 5346475"/>
              <a:gd name="connsiteY132" fmla="*/ 3716924 h 5345580"/>
              <a:gd name="connsiteX133" fmla="*/ 4410783 w 5346475"/>
              <a:gd name="connsiteY133" fmla="*/ 2871117 h 5345580"/>
              <a:gd name="connsiteX134" fmla="*/ 4448900 w 5346475"/>
              <a:gd name="connsiteY134" fmla="*/ 2833000 h 5345580"/>
              <a:gd name="connsiteX135" fmla="*/ 4997540 w 5346475"/>
              <a:gd name="connsiteY135" fmla="*/ 2833000 h 5345580"/>
              <a:gd name="connsiteX136" fmla="*/ 5035656 w 5346475"/>
              <a:gd name="connsiteY136" fmla="*/ 2878734 h 5345580"/>
              <a:gd name="connsiteX137" fmla="*/ 2863924 w 5346475"/>
              <a:gd name="connsiteY137" fmla="*/ 5050466 h 5345580"/>
              <a:gd name="connsiteX138" fmla="*/ 2818114 w 5346475"/>
              <a:gd name="connsiteY138" fmla="*/ 4997118 h 5345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5346475" h="5345580">
                <a:moveTo>
                  <a:pt x="4563212" y="760241"/>
                </a:moveTo>
                <a:cubicBezTo>
                  <a:pt x="4586058" y="684045"/>
                  <a:pt x="4586058" y="607846"/>
                  <a:pt x="4563212" y="524041"/>
                </a:cubicBezTo>
                <a:cubicBezTo>
                  <a:pt x="4517478" y="371647"/>
                  <a:pt x="4387931" y="257334"/>
                  <a:pt x="4235546" y="226874"/>
                </a:cubicBezTo>
                <a:cubicBezTo>
                  <a:pt x="4121233" y="204027"/>
                  <a:pt x="4006959" y="234490"/>
                  <a:pt x="3923105" y="295454"/>
                </a:cubicBezTo>
                <a:cubicBezTo>
                  <a:pt x="3907874" y="303070"/>
                  <a:pt x="3892642" y="303070"/>
                  <a:pt x="3884988" y="295454"/>
                </a:cubicBezTo>
                <a:cubicBezTo>
                  <a:pt x="3443049" y="66867"/>
                  <a:pt x="2932481" y="-39833"/>
                  <a:pt x="2391414" y="13522"/>
                </a:cubicBezTo>
                <a:cubicBezTo>
                  <a:pt x="1149430" y="143030"/>
                  <a:pt x="143557" y="1141271"/>
                  <a:pt x="14039" y="2390897"/>
                </a:cubicBezTo>
                <a:cubicBezTo>
                  <a:pt x="-153580" y="4052002"/>
                  <a:pt x="1202825" y="5446528"/>
                  <a:pt x="2848745" y="5339837"/>
                </a:cubicBezTo>
                <a:cubicBezTo>
                  <a:pt x="4174592" y="5256025"/>
                  <a:pt x="5256687" y="4173977"/>
                  <a:pt x="5340452" y="2848129"/>
                </a:cubicBezTo>
                <a:cubicBezTo>
                  <a:pt x="5393800" y="2048016"/>
                  <a:pt x="5088979" y="1324184"/>
                  <a:pt x="4578460" y="798371"/>
                </a:cubicBezTo>
                <a:cubicBezTo>
                  <a:pt x="4563228" y="790755"/>
                  <a:pt x="4563228" y="775486"/>
                  <a:pt x="4563228" y="760254"/>
                </a:cubicBezTo>
                <a:close/>
                <a:moveTo>
                  <a:pt x="4997538" y="2528135"/>
                </a:moveTo>
                <a:lnTo>
                  <a:pt x="4448898" y="2528135"/>
                </a:lnTo>
                <a:cubicBezTo>
                  <a:pt x="4426052" y="2528135"/>
                  <a:pt x="4410782" y="2512903"/>
                  <a:pt x="4410782" y="2490018"/>
                </a:cubicBezTo>
                <a:cubicBezTo>
                  <a:pt x="4326970" y="1674671"/>
                  <a:pt x="3679248" y="1027011"/>
                  <a:pt x="2863911" y="943147"/>
                </a:cubicBezTo>
                <a:cubicBezTo>
                  <a:pt x="2841064" y="943147"/>
                  <a:pt x="2825794" y="920300"/>
                  <a:pt x="2825794" y="905031"/>
                </a:cubicBezTo>
                <a:lnTo>
                  <a:pt x="2825832" y="348817"/>
                </a:lnTo>
                <a:cubicBezTo>
                  <a:pt x="2825832" y="325970"/>
                  <a:pt x="2848679" y="303084"/>
                  <a:pt x="2871565" y="310701"/>
                </a:cubicBezTo>
                <a:cubicBezTo>
                  <a:pt x="3176344" y="333548"/>
                  <a:pt x="3465938" y="417401"/>
                  <a:pt x="3724984" y="546900"/>
                </a:cubicBezTo>
                <a:cubicBezTo>
                  <a:pt x="3740216" y="554516"/>
                  <a:pt x="3747831" y="569747"/>
                  <a:pt x="3747831" y="592633"/>
                </a:cubicBezTo>
                <a:cubicBezTo>
                  <a:pt x="3740216" y="653598"/>
                  <a:pt x="3747831" y="722181"/>
                  <a:pt x="3770678" y="798373"/>
                </a:cubicBezTo>
                <a:cubicBezTo>
                  <a:pt x="3824027" y="935533"/>
                  <a:pt x="3953571" y="1042234"/>
                  <a:pt x="4098344" y="1065081"/>
                </a:cubicBezTo>
                <a:cubicBezTo>
                  <a:pt x="4182155" y="1080312"/>
                  <a:pt x="4265963" y="1065081"/>
                  <a:pt x="4334543" y="1034617"/>
                </a:cubicBezTo>
                <a:cubicBezTo>
                  <a:pt x="4349775" y="1027002"/>
                  <a:pt x="4372660" y="1027002"/>
                  <a:pt x="4380276" y="1042233"/>
                </a:cubicBezTo>
                <a:cubicBezTo>
                  <a:pt x="4746023" y="1423254"/>
                  <a:pt x="4989884" y="1933773"/>
                  <a:pt x="5035617" y="2490055"/>
                </a:cubicBezTo>
                <a:cubicBezTo>
                  <a:pt x="5043271" y="2505325"/>
                  <a:pt x="5020385" y="2528172"/>
                  <a:pt x="4997538" y="2528172"/>
                </a:cubicBezTo>
                <a:close/>
                <a:moveTo>
                  <a:pt x="3839320" y="3465408"/>
                </a:moveTo>
                <a:cubicBezTo>
                  <a:pt x="3770740" y="3434945"/>
                  <a:pt x="3686925" y="3419675"/>
                  <a:pt x="3595459" y="3434945"/>
                </a:cubicBezTo>
                <a:cubicBezTo>
                  <a:pt x="3435452" y="3457792"/>
                  <a:pt x="3305905" y="3579717"/>
                  <a:pt x="3260172" y="3732112"/>
                </a:cubicBezTo>
                <a:cubicBezTo>
                  <a:pt x="3237325" y="3808307"/>
                  <a:pt x="3237325" y="3884506"/>
                  <a:pt x="3260172" y="3953086"/>
                </a:cubicBezTo>
                <a:cubicBezTo>
                  <a:pt x="3267787" y="3975933"/>
                  <a:pt x="3260172" y="3991203"/>
                  <a:pt x="3237325" y="4006435"/>
                </a:cubicBezTo>
                <a:cubicBezTo>
                  <a:pt x="3123012" y="4059783"/>
                  <a:pt x="2993464" y="4090246"/>
                  <a:pt x="2863965" y="4113136"/>
                </a:cubicBezTo>
                <a:cubicBezTo>
                  <a:pt x="2841118" y="4113136"/>
                  <a:pt x="2818232" y="4097904"/>
                  <a:pt x="2818232" y="4075019"/>
                </a:cubicBezTo>
                <a:lnTo>
                  <a:pt x="2818232" y="3511105"/>
                </a:lnTo>
                <a:cubicBezTo>
                  <a:pt x="2818232" y="3495873"/>
                  <a:pt x="2833464" y="3472988"/>
                  <a:pt x="2848696" y="3472988"/>
                </a:cubicBezTo>
                <a:cubicBezTo>
                  <a:pt x="3153475" y="3404408"/>
                  <a:pt x="3397336" y="3160548"/>
                  <a:pt x="3465916" y="2855768"/>
                </a:cubicBezTo>
                <a:cubicBezTo>
                  <a:pt x="3473531" y="2840537"/>
                  <a:pt x="3488763" y="2825305"/>
                  <a:pt x="3504032" y="2825305"/>
                </a:cubicBezTo>
                <a:lnTo>
                  <a:pt x="4060285" y="2825305"/>
                </a:lnTo>
                <a:cubicBezTo>
                  <a:pt x="4083132" y="2825305"/>
                  <a:pt x="4106018" y="2848152"/>
                  <a:pt x="4098401" y="2871038"/>
                </a:cubicBezTo>
                <a:cubicBezTo>
                  <a:pt x="4067938" y="3084390"/>
                  <a:pt x="3991701" y="3282518"/>
                  <a:pt x="3885049" y="3450137"/>
                </a:cubicBezTo>
                <a:cubicBezTo>
                  <a:pt x="3885049" y="3465407"/>
                  <a:pt x="3862164" y="3473023"/>
                  <a:pt x="3839316" y="3465407"/>
                </a:cubicBezTo>
                <a:close/>
                <a:moveTo>
                  <a:pt x="1499958" y="1888068"/>
                </a:moveTo>
                <a:cubicBezTo>
                  <a:pt x="1545691" y="1903300"/>
                  <a:pt x="1598997" y="1918531"/>
                  <a:pt x="1659965" y="1918531"/>
                </a:cubicBezTo>
                <a:cubicBezTo>
                  <a:pt x="1873317" y="1918531"/>
                  <a:pt x="2056210" y="1743251"/>
                  <a:pt x="2071445" y="1537511"/>
                </a:cubicBezTo>
                <a:cubicBezTo>
                  <a:pt x="2079061" y="1476546"/>
                  <a:pt x="2071445" y="1423198"/>
                  <a:pt x="2056213" y="1369891"/>
                </a:cubicBezTo>
                <a:cubicBezTo>
                  <a:pt x="2185761" y="1308927"/>
                  <a:pt x="2330534" y="1263191"/>
                  <a:pt x="2482928" y="1240344"/>
                </a:cubicBezTo>
                <a:cubicBezTo>
                  <a:pt x="2505775" y="1240344"/>
                  <a:pt x="2528661" y="1255575"/>
                  <a:pt x="2528661" y="1278460"/>
                </a:cubicBezTo>
                <a:lnTo>
                  <a:pt x="2528661" y="1834713"/>
                </a:lnTo>
                <a:cubicBezTo>
                  <a:pt x="2528661" y="1849944"/>
                  <a:pt x="2513430" y="1872830"/>
                  <a:pt x="2498198" y="1872830"/>
                </a:cubicBezTo>
                <a:cubicBezTo>
                  <a:pt x="2193419" y="1941410"/>
                  <a:pt x="1949558" y="2185270"/>
                  <a:pt x="1880978" y="2490050"/>
                </a:cubicBezTo>
                <a:cubicBezTo>
                  <a:pt x="1873362" y="2505281"/>
                  <a:pt x="1858131" y="2520513"/>
                  <a:pt x="1842861" y="2520513"/>
                </a:cubicBezTo>
                <a:lnTo>
                  <a:pt x="1286609" y="2520513"/>
                </a:lnTo>
                <a:cubicBezTo>
                  <a:pt x="1263762" y="2520513"/>
                  <a:pt x="1240876" y="2497666"/>
                  <a:pt x="1248492" y="2474780"/>
                </a:cubicBezTo>
                <a:cubicBezTo>
                  <a:pt x="1278955" y="2269040"/>
                  <a:pt x="1347531" y="2070912"/>
                  <a:pt x="1454232" y="1903293"/>
                </a:cubicBezTo>
                <a:cubicBezTo>
                  <a:pt x="1461848" y="1888061"/>
                  <a:pt x="1477117" y="1880408"/>
                  <a:pt x="1499965" y="1888061"/>
                </a:cubicBezTo>
                <a:close/>
                <a:moveTo>
                  <a:pt x="2528658" y="2863423"/>
                </a:moveTo>
                <a:lnTo>
                  <a:pt x="2528658" y="3114896"/>
                </a:lnTo>
                <a:cubicBezTo>
                  <a:pt x="2528658" y="3145359"/>
                  <a:pt x="2498195" y="3160629"/>
                  <a:pt x="2467694" y="3153013"/>
                </a:cubicBezTo>
                <a:cubicBezTo>
                  <a:pt x="2345768" y="3099664"/>
                  <a:pt x="2246719" y="3000618"/>
                  <a:pt x="2193374" y="2878693"/>
                </a:cubicBezTo>
                <a:cubicBezTo>
                  <a:pt x="2178142" y="2848229"/>
                  <a:pt x="2200989" y="2817728"/>
                  <a:pt x="2231490" y="2817728"/>
                </a:cubicBezTo>
                <a:lnTo>
                  <a:pt x="2482963" y="2817728"/>
                </a:lnTo>
                <a:cubicBezTo>
                  <a:pt x="2505810" y="2817689"/>
                  <a:pt x="2528658" y="2840537"/>
                  <a:pt x="2528658" y="2863423"/>
                </a:cubicBezTo>
                <a:close/>
                <a:moveTo>
                  <a:pt x="2193371" y="2467177"/>
                </a:moveTo>
                <a:cubicBezTo>
                  <a:pt x="2246719" y="2345252"/>
                  <a:pt x="2345765" y="2246203"/>
                  <a:pt x="2467691" y="2192857"/>
                </a:cubicBezTo>
                <a:cubicBezTo>
                  <a:pt x="2498154" y="2177626"/>
                  <a:pt x="2528655" y="2200473"/>
                  <a:pt x="2528655" y="2230974"/>
                </a:cubicBezTo>
                <a:lnTo>
                  <a:pt x="2528655" y="2482447"/>
                </a:lnTo>
                <a:cubicBezTo>
                  <a:pt x="2528655" y="2505294"/>
                  <a:pt x="2513424" y="2520564"/>
                  <a:pt x="2490538" y="2520564"/>
                </a:cubicBezTo>
                <a:lnTo>
                  <a:pt x="2239065" y="2520564"/>
                </a:lnTo>
                <a:cubicBezTo>
                  <a:pt x="2208602" y="2528141"/>
                  <a:pt x="2185755" y="2497641"/>
                  <a:pt x="2193371" y="2467177"/>
                </a:cubicBezTo>
                <a:close/>
                <a:moveTo>
                  <a:pt x="2863936" y="2817690"/>
                </a:moveTo>
                <a:lnTo>
                  <a:pt x="3115409" y="2817690"/>
                </a:lnTo>
                <a:cubicBezTo>
                  <a:pt x="3145872" y="2817690"/>
                  <a:pt x="3161142" y="2848153"/>
                  <a:pt x="3153526" y="2878654"/>
                </a:cubicBezTo>
                <a:cubicBezTo>
                  <a:pt x="3100178" y="3000580"/>
                  <a:pt x="3001131" y="3099629"/>
                  <a:pt x="2879206" y="3152974"/>
                </a:cubicBezTo>
                <a:cubicBezTo>
                  <a:pt x="2848743" y="3168206"/>
                  <a:pt x="2818241" y="3145359"/>
                  <a:pt x="2818241" y="3114858"/>
                </a:cubicBezTo>
                <a:lnTo>
                  <a:pt x="2818241" y="2863385"/>
                </a:lnTo>
                <a:cubicBezTo>
                  <a:pt x="2818203" y="2840538"/>
                  <a:pt x="2841050" y="2817690"/>
                  <a:pt x="2863936" y="2817690"/>
                </a:cubicBezTo>
                <a:close/>
                <a:moveTo>
                  <a:pt x="2818203" y="2482402"/>
                </a:moveTo>
                <a:lnTo>
                  <a:pt x="2818203" y="2230929"/>
                </a:lnTo>
                <a:cubicBezTo>
                  <a:pt x="2818203" y="2200466"/>
                  <a:pt x="2848666" y="2185196"/>
                  <a:pt x="2879168" y="2192812"/>
                </a:cubicBezTo>
                <a:cubicBezTo>
                  <a:pt x="3001093" y="2246160"/>
                  <a:pt x="3100142" y="2345207"/>
                  <a:pt x="3153488" y="2467132"/>
                </a:cubicBezTo>
                <a:cubicBezTo>
                  <a:pt x="3168719" y="2497595"/>
                  <a:pt x="3145872" y="2528097"/>
                  <a:pt x="3115371" y="2528097"/>
                </a:cubicBezTo>
                <a:lnTo>
                  <a:pt x="2863898" y="2528097"/>
                </a:lnTo>
                <a:cubicBezTo>
                  <a:pt x="2841051" y="2528135"/>
                  <a:pt x="2818203" y="2505288"/>
                  <a:pt x="2818203" y="2482402"/>
                </a:cubicBezTo>
                <a:close/>
                <a:moveTo>
                  <a:pt x="1880930" y="2855800"/>
                </a:moveTo>
                <a:cubicBezTo>
                  <a:pt x="1949510" y="3160580"/>
                  <a:pt x="2193371" y="3404440"/>
                  <a:pt x="2498150" y="3473020"/>
                </a:cubicBezTo>
                <a:cubicBezTo>
                  <a:pt x="2513381" y="3480636"/>
                  <a:pt x="2528613" y="3495867"/>
                  <a:pt x="2528613" y="3511137"/>
                </a:cubicBezTo>
                <a:lnTo>
                  <a:pt x="2528613" y="4067390"/>
                </a:lnTo>
                <a:cubicBezTo>
                  <a:pt x="2528613" y="4090237"/>
                  <a:pt x="2505766" y="4113123"/>
                  <a:pt x="2482880" y="4105506"/>
                </a:cubicBezTo>
                <a:cubicBezTo>
                  <a:pt x="1835240" y="4021657"/>
                  <a:pt x="1324662" y="3511094"/>
                  <a:pt x="1240896" y="2871066"/>
                </a:cubicBezTo>
                <a:cubicBezTo>
                  <a:pt x="1240896" y="2848219"/>
                  <a:pt x="1256128" y="2825333"/>
                  <a:pt x="1279013" y="2825333"/>
                </a:cubicBezTo>
                <a:lnTo>
                  <a:pt x="1835265" y="2825333"/>
                </a:lnTo>
                <a:cubicBezTo>
                  <a:pt x="1858112" y="2817718"/>
                  <a:pt x="1873344" y="2832949"/>
                  <a:pt x="1880960" y="2855835"/>
                </a:cubicBezTo>
                <a:close/>
                <a:moveTo>
                  <a:pt x="3465912" y="2490014"/>
                </a:moveTo>
                <a:cubicBezTo>
                  <a:pt x="3397332" y="2185235"/>
                  <a:pt x="3153471" y="1941374"/>
                  <a:pt x="2848692" y="1872794"/>
                </a:cubicBezTo>
                <a:cubicBezTo>
                  <a:pt x="2833460" y="1865179"/>
                  <a:pt x="2818228" y="1849947"/>
                  <a:pt x="2818228" y="1834678"/>
                </a:cubicBezTo>
                <a:lnTo>
                  <a:pt x="2818228" y="1278425"/>
                </a:lnTo>
                <a:cubicBezTo>
                  <a:pt x="2818228" y="1255578"/>
                  <a:pt x="2841075" y="1232692"/>
                  <a:pt x="2863961" y="1240308"/>
                </a:cubicBezTo>
                <a:cubicBezTo>
                  <a:pt x="3511602" y="1324158"/>
                  <a:pt x="4022180" y="1834721"/>
                  <a:pt x="4105945" y="2474748"/>
                </a:cubicBezTo>
                <a:cubicBezTo>
                  <a:pt x="4105945" y="2497595"/>
                  <a:pt x="4090714" y="2520482"/>
                  <a:pt x="4067828" y="2520482"/>
                </a:cubicBezTo>
                <a:lnTo>
                  <a:pt x="3511576" y="2520482"/>
                </a:lnTo>
                <a:cubicBezTo>
                  <a:pt x="3488729" y="2528097"/>
                  <a:pt x="3473498" y="2512866"/>
                  <a:pt x="3465881" y="2489980"/>
                </a:cubicBezTo>
                <a:close/>
                <a:moveTo>
                  <a:pt x="2528639" y="348849"/>
                </a:moveTo>
                <a:lnTo>
                  <a:pt x="2528639" y="897489"/>
                </a:lnTo>
                <a:cubicBezTo>
                  <a:pt x="2528639" y="920336"/>
                  <a:pt x="2513407" y="935605"/>
                  <a:pt x="2490522" y="935605"/>
                </a:cubicBezTo>
                <a:cubicBezTo>
                  <a:pt x="2261935" y="958452"/>
                  <a:pt x="2048582" y="1027032"/>
                  <a:pt x="1858067" y="1126111"/>
                </a:cubicBezTo>
                <a:cubicBezTo>
                  <a:pt x="1774256" y="1080378"/>
                  <a:pt x="1675174" y="1057531"/>
                  <a:pt x="1576135" y="1080378"/>
                </a:cubicBezTo>
                <a:cubicBezTo>
                  <a:pt x="1416128" y="1110841"/>
                  <a:pt x="1286580" y="1232772"/>
                  <a:pt x="1248469" y="1385157"/>
                </a:cubicBezTo>
                <a:cubicBezTo>
                  <a:pt x="1225622" y="1468969"/>
                  <a:pt x="1233238" y="1552777"/>
                  <a:pt x="1256085" y="1629018"/>
                </a:cubicBezTo>
                <a:cubicBezTo>
                  <a:pt x="1263701" y="1644250"/>
                  <a:pt x="1256085" y="1651865"/>
                  <a:pt x="1248469" y="1667135"/>
                </a:cubicBezTo>
                <a:cubicBezTo>
                  <a:pt x="1080850" y="1903334"/>
                  <a:pt x="974149" y="2185315"/>
                  <a:pt x="943690" y="2482482"/>
                </a:cubicBezTo>
                <a:cubicBezTo>
                  <a:pt x="943690" y="2505329"/>
                  <a:pt x="920843" y="2520599"/>
                  <a:pt x="905573" y="2520599"/>
                </a:cubicBezTo>
                <a:lnTo>
                  <a:pt x="349321" y="2520561"/>
                </a:lnTo>
                <a:cubicBezTo>
                  <a:pt x="326474" y="2520561"/>
                  <a:pt x="303588" y="2497714"/>
                  <a:pt x="311204" y="2474828"/>
                </a:cubicBezTo>
                <a:cubicBezTo>
                  <a:pt x="402669" y="1324153"/>
                  <a:pt x="1324719" y="402242"/>
                  <a:pt x="2482937" y="303095"/>
                </a:cubicBezTo>
                <a:cubicBezTo>
                  <a:pt x="2505822" y="303095"/>
                  <a:pt x="2528670" y="325980"/>
                  <a:pt x="2528670" y="348828"/>
                </a:cubicBezTo>
                <a:close/>
                <a:moveTo>
                  <a:pt x="349264" y="2817729"/>
                </a:moveTo>
                <a:lnTo>
                  <a:pt x="897904" y="2817729"/>
                </a:lnTo>
                <a:cubicBezTo>
                  <a:pt x="920751" y="2817729"/>
                  <a:pt x="936021" y="2832960"/>
                  <a:pt x="936021" y="2855846"/>
                </a:cubicBezTo>
                <a:cubicBezTo>
                  <a:pt x="1019833" y="3671193"/>
                  <a:pt x="1667554" y="4318853"/>
                  <a:pt x="2482892" y="4402716"/>
                </a:cubicBezTo>
                <a:cubicBezTo>
                  <a:pt x="2505739" y="4402716"/>
                  <a:pt x="2521009" y="4425563"/>
                  <a:pt x="2521009" y="4440833"/>
                </a:cubicBezTo>
                <a:lnTo>
                  <a:pt x="2521009" y="4989473"/>
                </a:lnTo>
                <a:cubicBezTo>
                  <a:pt x="2521009" y="5012320"/>
                  <a:pt x="2498162" y="5035206"/>
                  <a:pt x="2475276" y="5027590"/>
                </a:cubicBezTo>
                <a:cubicBezTo>
                  <a:pt x="1324601" y="4943702"/>
                  <a:pt x="402592" y="4021717"/>
                  <a:pt x="303543" y="2863499"/>
                </a:cubicBezTo>
                <a:cubicBezTo>
                  <a:pt x="303543" y="2840614"/>
                  <a:pt x="326428" y="2817766"/>
                  <a:pt x="349276" y="2817766"/>
                </a:cubicBezTo>
                <a:close/>
                <a:moveTo>
                  <a:pt x="2818144" y="4997104"/>
                </a:moveTo>
                <a:lnTo>
                  <a:pt x="2818144" y="4448463"/>
                </a:lnTo>
                <a:cubicBezTo>
                  <a:pt x="2818144" y="4425616"/>
                  <a:pt x="2833376" y="4410347"/>
                  <a:pt x="2856261" y="4410347"/>
                </a:cubicBezTo>
                <a:cubicBezTo>
                  <a:pt x="3069613" y="4387500"/>
                  <a:pt x="3275353" y="4326535"/>
                  <a:pt x="3458246" y="4235066"/>
                </a:cubicBezTo>
                <a:cubicBezTo>
                  <a:pt x="3465862" y="4227450"/>
                  <a:pt x="3481093" y="4227450"/>
                  <a:pt x="3496363" y="4235066"/>
                </a:cubicBezTo>
                <a:cubicBezTo>
                  <a:pt x="3572558" y="4273183"/>
                  <a:pt x="3663982" y="4280799"/>
                  <a:pt x="3755449" y="4265529"/>
                </a:cubicBezTo>
                <a:cubicBezTo>
                  <a:pt x="3907843" y="4235066"/>
                  <a:pt x="4029769" y="4120757"/>
                  <a:pt x="4075502" y="3975974"/>
                </a:cubicBezTo>
                <a:cubicBezTo>
                  <a:pt x="4098349" y="3892163"/>
                  <a:pt x="4098349" y="3815967"/>
                  <a:pt x="4075502" y="3747387"/>
                </a:cubicBezTo>
                <a:cubicBezTo>
                  <a:pt x="4075502" y="3732156"/>
                  <a:pt x="4075502" y="3724540"/>
                  <a:pt x="4083117" y="3716924"/>
                </a:cubicBezTo>
                <a:cubicBezTo>
                  <a:pt x="4258398" y="3473064"/>
                  <a:pt x="4380285" y="3183519"/>
                  <a:pt x="4410783" y="2871117"/>
                </a:cubicBezTo>
                <a:cubicBezTo>
                  <a:pt x="4410783" y="2848271"/>
                  <a:pt x="4433630" y="2833000"/>
                  <a:pt x="4448900" y="2833000"/>
                </a:cubicBezTo>
                <a:lnTo>
                  <a:pt x="4997540" y="2833000"/>
                </a:lnTo>
                <a:cubicBezTo>
                  <a:pt x="5020387" y="2833000"/>
                  <a:pt x="5043273" y="2855847"/>
                  <a:pt x="5035656" y="2878734"/>
                </a:cubicBezTo>
                <a:cubicBezTo>
                  <a:pt x="4944230" y="4036952"/>
                  <a:pt x="4014598" y="4958961"/>
                  <a:pt x="2863924" y="5050466"/>
                </a:cubicBezTo>
                <a:cubicBezTo>
                  <a:pt x="2840961" y="5042851"/>
                  <a:pt x="2818114" y="5019965"/>
                  <a:pt x="2818114" y="4997118"/>
                </a:cubicBezTo>
                <a:close/>
              </a:path>
            </a:pathLst>
          </a:custGeom>
          <a:solidFill>
            <a:schemeClr val="accent3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F32FB2-EEF1-4801-8C32-1A6902AE50E9}"/>
              </a:ext>
            </a:extLst>
          </p:cNvPr>
          <p:cNvSpPr txBox="1"/>
          <p:nvPr/>
        </p:nvSpPr>
        <p:spPr>
          <a:xfrm>
            <a:off x="1019436" y="1133948"/>
            <a:ext cx="4119605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BA"/>
                </a:solidFill>
              </a:rPr>
              <a:t>Зона охвата создаваемого центра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1E76C6-212A-41DC-832E-F054A7EFE3EE}"/>
              </a:ext>
            </a:extLst>
          </p:cNvPr>
          <p:cNvGrpSpPr/>
          <p:nvPr/>
        </p:nvGrpSpPr>
        <p:grpSpPr>
          <a:xfrm>
            <a:off x="390832" y="1944161"/>
            <a:ext cx="5441516" cy="4396648"/>
            <a:chOff x="6650837" y="1917561"/>
            <a:chExt cx="6135770" cy="4957593"/>
          </a:xfrm>
        </p:grpSpPr>
        <p:pic>
          <p:nvPicPr>
            <p:cNvPr id="13" name="Рисунок 138">
              <a:extLst>
                <a:ext uri="{FF2B5EF4-FFF2-40B4-BE49-F238E27FC236}">
                  <a16:creationId xmlns:a16="http://schemas.microsoft.com/office/drawing/2014/main" id="{C8854389-1544-4867-8452-4CFB93B4BD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9414"/>
            <a:stretch/>
          </p:blipFill>
          <p:spPr>
            <a:xfrm>
              <a:off x="6650838" y="1917561"/>
              <a:ext cx="6135769" cy="4957593"/>
            </a:xfrm>
            <a:prstGeom prst="rect">
              <a:avLst/>
            </a:prstGeom>
          </p:spPr>
        </p:pic>
        <p:sp>
          <p:nvSpPr>
            <p:cNvPr id="14" name="Овал 139">
              <a:extLst>
                <a:ext uri="{FF2B5EF4-FFF2-40B4-BE49-F238E27FC236}">
                  <a16:creationId xmlns:a16="http://schemas.microsoft.com/office/drawing/2014/main" id="{9B716037-D2B6-4C43-BBCC-C04C1D761D47}"/>
                </a:ext>
              </a:extLst>
            </p:cNvPr>
            <p:cNvSpPr/>
            <p:nvPr/>
          </p:nvSpPr>
          <p:spPr>
            <a:xfrm>
              <a:off x="10120690" y="5607349"/>
              <a:ext cx="177123" cy="172211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" name="Овал 140">
              <a:extLst>
                <a:ext uri="{FF2B5EF4-FFF2-40B4-BE49-F238E27FC236}">
                  <a16:creationId xmlns:a16="http://schemas.microsoft.com/office/drawing/2014/main" id="{20954901-9A2B-4507-B396-F8EFD03F1AA6}"/>
                </a:ext>
              </a:extLst>
            </p:cNvPr>
            <p:cNvSpPr/>
            <p:nvPr/>
          </p:nvSpPr>
          <p:spPr>
            <a:xfrm>
              <a:off x="9661192" y="5265487"/>
              <a:ext cx="159202" cy="167689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Прямоугольник 146">
              <a:extLst>
                <a:ext uri="{FF2B5EF4-FFF2-40B4-BE49-F238E27FC236}">
                  <a16:creationId xmlns:a16="http://schemas.microsoft.com/office/drawing/2014/main" id="{E6005F67-EB81-4846-A15A-D3CFF19F34F6}"/>
                </a:ext>
              </a:extLst>
            </p:cNvPr>
            <p:cNvSpPr/>
            <p:nvPr/>
          </p:nvSpPr>
          <p:spPr>
            <a:xfrm>
              <a:off x="10118995" y="5352039"/>
              <a:ext cx="1130296" cy="1785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Мыс Парусный</a:t>
              </a:r>
            </a:p>
          </p:txBody>
        </p:sp>
        <p:grpSp>
          <p:nvGrpSpPr>
            <p:cNvPr id="17" name="Группа 149">
              <a:extLst>
                <a:ext uri="{FF2B5EF4-FFF2-40B4-BE49-F238E27FC236}">
                  <a16:creationId xmlns:a16="http://schemas.microsoft.com/office/drawing/2014/main" id="{789B0845-D295-4708-9782-800238CCED95}"/>
                </a:ext>
              </a:extLst>
            </p:cNvPr>
            <p:cNvGrpSpPr/>
            <p:nvPr/>
          </p:nvGrpSpPr>
          <p:grpSpPr>
            <a:xfrm>
              <a:off x="6831637" y="5407182"/>
              <a:ext cx="1627925" cy="632513"/>
              <a:chOff x="8013470" y="2302455"/>
              <a:chExt cx="1818232" cy="1066036"/>
            </a:xfrm>
          </p:grpSpPr>
          <p:sp>
            <p:nvSpPr>
              <p:cNvPr id="96" name="Прямоугольник 150">
                <a:extLst>
                  <a:ext uri="{FF2B5EF4-FFF2-40B4-BE49-F238E27FC236}">
                    <a16:creationId xmlns:a16="http://schemas.microsoft.com/office/drawing/2014/main" id="{349E754D-72EC-4F63-A078-77B32FC9181D}"/>
                  </a:ext>
                </a:extLst>
              </p:cNvPr>
              <p:cNvSpPr/>
              <p:nvPr/>
            </p:nvSpPr>
            <p:spPr>
              <a:xfrm>
                <a:off x="8013470" y="2302455"/>
                <a:ext cx="1818232" cy="1066036"/>
              </a:xfrm>
              <a:prstGeom prst="rect">
                <a:avLst/>
              </a:prstGeom>
              <a:solidFill>
                <a:srgbClr val="0070BA">
                  <a:alpha val="55000"/>
                </a:srgb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7" name="Прямоугольник 151">
                <a:extLst>
                  <a:ext uri="{FF2B5EF4-FFF2-40B4-BE49-F238E27FC236}">
                    <a16:creationId xmlns:a16="http://schemas.microsoft.com/office/drawing/2014/main" id="{ABB84054-AC5C-4260-AAA0-C4B0C3B8CEB8}"/>
                  </a:ext>
                </a:extLst>
              </p:cNvPr>
              <p:cNvSpPr/>
              <p:nvPr/>
            </p:nvSpPr>
            <p:spPr>
              <a:xfrm>
                <a:off x="8088914" y="2406857"/>
                <a:ext cx="1619463" cy="829106"/>
              </a:xfrm>
              <a:prstGeom prst="rect">
                <a:avLst/>
              </a:prstGeom>
            </p:spPr>
            <p:txBody>
              <a:bodyPr wrap="square" lIns="36000" tIns="0" rIns="0" bIns="0">
                <a:spAutoFit/>
              </a:bodyPr>
              <a:lstStyle/>
              <a:p>
                <a:pPr lvl="0" defTabSz="1219170">
                  <a:lnSpc>
                    <a:spcPct val="90000"/>
                  </a:lnSpc>
                  <a:defRPr/>
                </a:pPr>
                <a:r>
                  <a:rPr lang="ru-RU" sz="1050" b="1" dirty="0">
                    <a:solidFill>
                      <a:schemeClr val="bg1"/>
                    </a:solidFill>
                  </a:rPr>
                  <a:t>Промышленный парк «Обской причал»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18" name="Полилиния: фигура 152">
              <a:extLst>
                <a:ext uri="{FF2B5EF4-FFF2-40B4-BE49-F238E27FC236}">
                  <a16:creationId xmlns:a16="http://schemas.microsoft.com/office/drawing/2014/main" id="{EB50DB5D-949F-474C-9F6F-5E4D13CB26B3}"/>
                </a:ext>
              </a:extLst>
            </p:cNvPr>
            <p:cNvSpPr/>
            <p:nvPr/>
          </p:nvSpPr>
          <p:spPr>
            <a:xfrm>
              <a:off x="7881578" y="5330439"/>
              <a:ext cx="2090057" cy="1255203"/>
            </a:xfrm>
            <a:custGeom>
              <a:avLst/>
              <a:gdLst>
                <a:gd name="connsiteX0" fmla="*/ 0 w 2090057"/>
                <a:gd name="connsiteY0" fmla="*/ 1053737 h 1255203"/>
                <a:gd name="connsiteX1" fmla="*/ 174171 w 2090057"/>
                <a:gd name="connsiteY1" fmla="*/ 1036320 h 1255203"/>
                <a:gd name="connsiteX2" fmla="*/ 339634 w 2090057"/>
                <a:gd name="connsiteY2" fmla="*/ 1175657 h 1255203"/>
                <a:gd name="connsiteX3" fmla="*/ 766354 w 2090057"/>
                <a:gd name="connsiteY3" fmla="*/ 1254034 h 1255203"/>
                <a:gd name="connsiteX4" fmla="*/ 1114697 w 2090057"/>
                <a:gd name="connsiteY4" fmla="*/ 1201782 h 1255203"/>
                <a:gd name="connsiteX5" fmla="*/ 1332411 w 2090057"/>
                <a:gd name="connsiteY5" fmla="*/ 949234 h 1255203"/>
                <a:gd name="connsiteX6" fmla="*/ 1724297 w 2090057"/>
                <a:gd name="connsiteY6" fmla="*/ 740228 h 1255203"/>
                <a:gd name="connsiteX7" fmla="*/ 1915885 w 2090057"/>
                <a:gd name="connsiteY7" fmla="*/ 618308 h 1255203"/>
                <a:gd name="connsiteX8" fmla="*/ 1994262 w 2090057"/>
                <a:gd name="connsiteY8" fmla="*/ 330925 h 1255203"/>
                <a:gd name="connsiteX9" fmla="*/ 2090057 w 2090057"/>
                <a:gd name="connsiteY9" fmla="*/ 0 h 1255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0057" h="1255203">
                  <a:moveTo>
                    <a:pt x="0" y="1053737"/>
                  </a:moveTo>
                  <a:cubicBezTo>
                    <a:pt x="58782" y="1034868"/>
                    <a:pt x="117565" y="1016000"/>
                    <a:pt x="174171" y="1036320"/>
                  </a:cubicBezTo>
                  <a:cubicBezTo>
                    <a:pt x="230777" y="1056640"/>
                    <a:pt x="240937" y="1139371"/>
                    <a:pt x="339634" y="1175657"/>
                  </a:cubicBezTo>
                  <a:cubicBezTo>
                    <a:pt x="438331" y="1211943"/>
                    <a:pt x="637177" y="1249680"/>
                    <a:pt x="766354" y="1254034"/>
                  </a:cubicBezTo>
                  <a:cubicBezTo>
                    <a:pt x="895531" y="1258388"/>
                    <a:pt x="1020354" y="1252582"/>
                    <a:pt x="1114697" y="1201782"/>
                  </a:cubicBezTo>
                  <a:cubicBezTo>
                    <a:pt x="1209040" y="1150982"/>
                    <a:pt x="1230811" y="1026160"/>
                    <a:pt x="1332411" y="949234"/>
                  </a:cubicBezTo>
                  <a:cubicBezTo>
                    <a:pt x="1434011" y="872308"/>
                    <a:pt x="1627051" y="795382"/>
                    <a:pt x="1724297" y="740228"/>
                  </a:cubicBezTo>
                  <a:cubicBezTo>
                    <a:pt x="1821543" y="685074"/>
                    <a:pt x="1870891" y="686525"/>
                    <a:pt x="1915885" y="618308"/>
                  </a:cubicBezTo>
                  <a:cubicBezTo>
                    <a:pt x="1960879" y="550091"/>
                    <a:pt x="1965233" y="433976"/>
                    <a:pt x="1994262" y="330925"/>
                  </a:cubicBezTo>
                  <a:cubicBezTo>
                    <a:pt x="2023291" y="227874"/>
                    <a:pt x="2056674" y="113937"/>
                    <a:pt x="2090057" y="0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" name="Полилиния: фигура 153">
              <a:extLst>
                <a:ext uri="{FF2B5EF4-FFF2-40B4-BE49-F238E27FC236}">
                  <a16:creationId xmlns:a16="http://schemas.microsoft.com/office/drawing/2014/main" id="{6B3E3314-F076-490F-AD05-0EC4820E9067}"/>
                </a:ext>
              </a:extLst>
            </p:cNvPr>
            <p:cNvSpPr/>
            <p:nvPr/>
          </p:nvSpPr>
          <p:spPr>
            <a:xfrm>
              <a:off x="9971635" y="5347856"/>
              <a:ext cx="165463" cy="287383"/>
            </a:xfrm>
            <a:custGeom>
              <a:avLst/>
              <a:gdLst>
                <a:gd name="connsiteX0" fmla="*/ 165463 w 165463"/>
                <a:gd name="connsiteY0" fmla="*/ 287383 h 287383"/>
                <a:gd name="connsiteX1" fmla="*/ 69668 w 165463"/>
                <a:gd name="connsiteY1" fmla="*/ 243840 h 287383"/>
                <a:gd name="connsiteX2" fmla="*/ 43543 w 165463"/>
                <a:gd name="connsiteY2" fmla="*/ 130628 h 287383"/>
                <a:gd name="connsiteX3" fmla="*/ 0 w 165463"/>
                <a:gd name="connsiteY3" fmla="*/ 0 h 28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463" h="287383">
                  <a:moveTo>
                    <a:pt x="165463" y="287383"/>
                  </a:moveTo>
                  <a:cubicBezTo>
                    <a:pt x="127725" y="278674"/>
                    <a:pt x="89988" y="269966"/>
                    <a:pt x="69668" y="243840"/>
                  </a:cubicBezTo>
                  <a:cubicBezTo>
                    <a:pt x="49348" y="217714"/>
                    <a:pt x="55154" y="171268"/>
                    <a:pt x="43543" y="130628"/>
                  </a:cubicBezTo>
                  <a:cubicBezTo>
                    <a:pt x="31932" y="89988"/>
                    <a:pt x="15966" y="44994"/>
                    <a:pt x="0" y="0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" name="Полилиния: фигура 154">
              <a:extLst>
                <a:ext uri="{FF2B5EF4-FFF2-40B4-BE49-F238E27FC236}">
                  <a16:creationId xmlns:a16="http://schemas.microsoft.com/office/drawing/2014/main" id="{1C71B00F-9206-4514-9163-1FD74EA9442F}"/>
                </a:ext>
              </a:extLst>
            </p:cNvPr>
            <p:cNvSpPr/>
            <p:nvPr/>
          </p:nvSpPr>
          <p:spPr>
            <a:xfrm>
              <a:off x="9553623" y="5162790"/>
              <a:ext cx="416351" cy="184000"/>
            </a:xfrm>
            <a:custGeom>
              <a:avLst/>
              <a:gdLst>
                <a:gd name="connsiteX0" fmla="*/ 0 w 426720"/>
                <a:gd name="connsiteY0" fmla="*/ 10894 h 150231"/>
                <a:gd name="connsiteX1" fmla="*/ 200297 w 426720"/>
                <a:gd name="connsiteY1" fmla="*/ 10894 h 150231"/>
                <a:gd name="connsiteX2" fmla="*/ 374469 w 426720"/>
                <a:gd name="connsiteY2" fmla="*/ 124106 h 150231"/>
                <a:gd name="connsiteX3" fmla="*/ 426720 w 426720"/>
                <a:gd name="connsiteY3" fmla="*/ 150231 h 150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20" h="150231">
                  <a:moveTo>
                    <a:pt x="0" y="10894"/>
                  </a:moveTo>
                  <a:cubicBezTo>
                    <a:pt x="68943" y="1459"/>
                    <a:pt x="137886" y="-7975"/>
                    <a:pt x="200297" y="10894"/>
                  </a:cubicBezTo>
                  <a:cubicBezTo>
                    <a:pt x="262708" y="29763"/>
                    <a:pt x="336732" y="100883"/>
                    <a:pt x="374469" y="124106"/>
                  </a:cubicBezTo>
                  <a:cubicBezTo>
                    <a:pt x="412206" y="147329"/>
                    <a:pt x="419463" y="148780"/>
                    <a:pt x="426720" y="150231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" name="Овал 158">
              <a:extLst>
                <a:ext uri="{FF2B5EF4-FFF2-40B4-BE49-F238E27FC236}">
                  <a16:creationId xmlns:a16="http://schemas.microsoft.com/office/drawing/2014/main" id="{53667F48-A206-4B91-824C-070B60FF5AEE}"/>
                </a:ext>
              </a:extLst>
            </p:cNvPr>
            <p:cNvSpPr/>
            <p:nvPr/>
          </p:nvSpPr>
          <p:spPr>
            <a:xfrm>
              <a:off x="9864373" y="5232215"/>
              <a:ext cx="199302" cy="200961"/>
            </a:xfrm>
            <a:prstGeom prst="ellipse">
              <a:avLst/>
            </a:prstGeom>
            <a:noFill/>
            <a:ln w="19050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" name="Полилиния: фигура 173">
              <a:extLst>
                <a:ext uri="{FF2B5EF4-FFF2-40B4-BE49-F238E27FC236}">
                  <a16:creationId xmlns:a16="http://schemas.microsoft.com/office/drawing/2014/main" id="{91736510-CEEC-48AA-B499-45B6A7FAFFDB}"/>
                </a:ext>
              </a:extLst>
            </p:cNvPr>
            <p:cNvSpPr/>
            <p:nvPr/>
          </p:nvSpPr>
          <p:spPr>
            <a:xfrm>
              <a:off x="7211018" y="2334513"/>
              <a:ext cx="2743200" cy="3013343"/>
            </a:xfrm>
            <a:custGeom>
              <a:avLst/>
              <a:gdLst>
                <a:gd name="connsiteX0" fmla="*/ 0 w 2743200"/>
                <a:gd name="connsiteY0" fmla="*/ 1271628 h 3013343"/>
                <a:gd name="connsiteX1" fmla="*/ 148045 w 2743200"/>
                <a:gd name="connsiteY1" fmla="*/ 914577 h 3013343"/>
                <a:gd name="connsiteX2" fmla="*/ 269965 w 2743200"/>
                <a:gd name="connsiteY2" fmla="*/ 487857 h 3013343"/>
                <a:gd name="connsiteX3" fmla="*/ 478971 w 2743200"/>
                <a:gd name="connsiteY3" fmla="*/ 304977 h 3013343"/>
                <a:gd name="connsiteX4" fmla="*/ 696685 w 2743200"/>
                <a:gd name="connsiteY4" fmla="*/ 61137 h 3013343"/>
                <a:gd name="connsiteX5" fmla="*/ 931817 w 2743200"/>
                <a:gd name="connsiteY5" fmla="*/ 177 h 3013343"/>
                <a:gd name="connsiteX6" fmla="*/ 1114697 w 2743200"/>
                <a:gd name="connsiteY6" fmla="*/ 43720 h 3013343"/>
                <a:gd name="connsiteX7" fmla="*/ 1280160 w 2743200"/>
                <a:gd name="connsiteY7" fmla="*/ 78554 h 3013343"/>
                <a:gd name="connsiteX8" fmla="*/ 1776548 w 2743200"/>
                <a:gd name="connsiteY8" fmla="*/ 69846 h 3013343"/>
                <a:gd name="connsiteX9" fmla="*/ 2368731 w 2743200"/>
                <a:gd name="connsiteY9" fmla="*/ 165640 h 3013343"/>
                <a:gd name="connsiteX10" fmla="*/ 2420982 w 2743200"/>
                <a:gd name="connsiteY10" fmla="*/ 505274 h 3013343"/>
                <a:gd name="connsiteX11" fmla="*/ 2255520 w 2743200"/>
                <a:gd name="connsiteY11" fmla="*/ 931994 h 3013343"/>
                <a:gd name="connsiteX12" fmla="*/ 2238102 w 2743200"/>
                <a:gd name="connsiteY12" fmla="*/ 1228086 h 3013343"/>
                <a:gd name="connsiteX13" fmla="*/ 2447108 w 2743200"/>
                <a:gd name="connsiteY13" fmla="*/ 1680931 h 3013343"/>
                <a:gd name="connsiteX14" fmla="*/ 2368731 w 2743200"/>
                <a:gd name="connsiteY14" fmla="*/ 2037983 h 3013343"/>
                <a:gd name="connsiteX15" fmla="*/ 2351314 w 2743200"/>
                <a:gd name="connsiteY15" fmla="*/ 2386326 h 3013343"/>
                <a:gd name="connsiteX16" fmla="*/ 2508068 w 2743200"/>
                <a:gd name="connsiteY16" fmla="*/ 2682417 h 3013343"/>
                <a:gd name="connsiteX17" fmla="*/ 2629988 w 2743200"/>
                <a:gd name="connsiteY17" fmla="*/ 2804337 h 3013343"/>
                <a:gd name="connsiteX18" fmla="*/ 2743200 w 2743200"/>
                <a:gd name="connsiteY18" fmla="*/ 3013343 h 301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43200" h="3013343">
                  <a:moveTo>
                    <a:pt x="0" y="1271628"/>
                  </a:moveTo>
                  <a:cubicBezTo>
                    <a:pt x="51525" y="1158417"/>
                    <a:pt x="103051" y="1045206"/>
                    <a:pt x="148045" y="914577"/>
                  </a:cubicBezTo>
                  <a:cubicBezTo>
                    <a:pt x="193039" y="783948"/>
                    <a:pt x="214811" y="589457"/>
                    <a:pt x="269965" y="487857"/>
                  </a:cubicBezTo>
                  <a:cubicBezTo>
                    <a:pt x="325119" y="386257"/>
                    <a:pt x="407851" y="376097"/>
                    <a:pt x="478971" y="304977"/>
                  </a:cubicBezTo>
                  <a:cubicBezTo>
                    <a:pt x="550091" y="233857"/>
                    <a:pt x="621211" y="111937"/>
                    <a:pt x="696685" y="61137"/>
                  </a:cubicBezTo>
                  <a:cubicBezTo>
                    <a:pt x="772159" y="10337"/>
                    <a:pt x="862149" y="3080"/>
                    <a:pt x="931817" y="177"/>
                  </a:cubicBezTo>
                  <a:cubicBezTo>
                    <a:pt x="1001485" y="-2726"/>
                    <a:pt x="1056640" y="30657"/>
                    <a:pt x="1114697" y="43720"/>
                  </a:cubicBezTo>
                  <a:cubicBezTo>
                    <a:pt x="1172754" y="56783"/>
                    <a:pt x="1169852" y="74200"/>
                    <a:pt x="1280160" y="78554"/>
                  </a:cubicBezTo>
                  <a:cubicBezTo>
                    <a:pt x="1390468" y="82908"/>
                    <a:pt x="1595120" y="55332"/>
                    <a:pt x="1776548" y="69846"/>
                  </a:cubicBezTo>
                  <a:cubicBezTo>
                    <a:pt x="1957977" y="84360"/>
                    <a:pt x="2261325" y="93069"/>
                    <a:pt x="2368731" y="165640"/>
                  </a:cubicBezTo>
                  <a:cubicBezTo>
                    <a:pt x="2476137" y="238211"/>
                    <a:pt x="2439851" y="377548"/>
                    <a:pt x="2420982" y="505274"/>
                  </a:cubicBezTo>
                  <a:cubicBezTo>
                    <a:pt x="2402114" y="633000"/>
                    <a:pt x="2286000" y="811525"/>
                    <a:pt x="2255520" y="931994"/>
                  </a:cubicBezTo>
                  <a:cubicBezTo>
                    <a:pt x="2225040" y="1052463"/>
                    <a:pt x="2206171" y="1103263"/>
                    <a:pt x="2238102" y="1228086"/>
                  </a:cubicBezTo>
                  <a:cubicBezTo>
                    <a:pt x="2270033" y="1352909"/>
                    <a:pt x="2425337" y="1545948"/>
                    <a:pt x="2447108" y="1680931"/>
                  </a:cubicBezTo>
                  <a:cubicBezTo>
                    <a:pt x="2468879" y="1815914"/>
                    <a:pt x="2384697" y="1920417"/>
                    <a:pt x="2368731" y="2037983"/>
                  </a:cubicBezTo>
                  <a:cubicBezTo>
                    <a:pt x="2352765" y="2155549"/>
                    <a:pt x="2328091" y="2278920"/>
                    <a:pt x="2351314" y="2386326"/>
                  </a:cubicBezTo>
                  <a:cubicBezTo>
                    <a:pt x="2374537" y="2493732"/>
                    <a:pt x="2461622" y="2612749"/>
                    <a:pt x="2508068" y="2682417"/>
                  </a:cubicBezTo>
                  <a:cubicBezTo>
                    <a:pt x="2554514" y="2752085"/>
                    <a:pt x="2590799" y="2749183"/>
                    <a:pt x="2629988" y="2804337"/>
                  </a:cubicBezTo>
                  <a:cubicBezTo>
                    <a:pt x="2669177" y="2859491"/>
                    <a:pt x="2706188" y="2936417"/>
                    <a:pt x="2743200" y="3013343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" name="Полилиния: фигура 174">
              <a:extLst>
                <a:ext uri="{FF2B5EF4-FFF2-40B4-BE49-F238E27FC236}">
                  <a16:creationId xmlns:a16="http://schemas.microsoft.com/office/drawing/2014/main" id="{22244EBE-A8C4-4BDF-B2A0-1F29ED1DAFFB}"/>
                </a:ext>
              </a:extLst>
            </p:cNvPr>
            <p:cNvSpPr/>
            <p:nvPr/>
          </p:nvSpPr>
          <p:spPr>
            <a:xfrm>
              <a:off x="7288575" y="3771604"/>
              <a:ext cx="166283" cy="139337"/>
            </a:xfrm>
            <a:custGeom>
              <a:avLst/>
              <a:gdLst>
                <a:gd name="connsiteX0" fmla="*/ 166283 w 166283"/>
                <a:gd name="connsiteY0" fmla="*/ 139337 h 139337"/>
                <a:gd name="connsiteX1" fmla="*/ 105323 w 166283"/>
                <a:gd name="connsiteY1" fmla="*/ 26126 h 139337"/>
                <a:gd name="connsiteX2" fmla="*/ 820 w 166283"/>
                <a:gd name="connsiteY2" fmla="*/ 0 h 13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283" h="139337">
                  <a:moveTo>
                    <a:pt x="166283" y="139337"/>
                  </a:moveTo>
                  <a:cubicBezTo>
                    <a:pt x="149591" y="94343"/>
                    <a:pt x="132900" y="49349"/>
                    <a:pt x="105323" y="26126"/>
                  </a:cubicBezTo>
                  <a:cubicBezTo>
                    <a:pt x="77746" y="2903"/>
                    <a:pt x="-9340" y="8708"/>
                    <a:pt x="820" y="0"/>
                  </a:cubicBezTo>
                </a:path>
              </a:pathLst>
            </a:cu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" name="Полилиния: фигура 175">
              <a:extLst>
                <a:ext uri="{FF2B5EF4-FFF2-40B4-BE49-F238E27FC236}">
                  <a16:creationId xmlns:a16="http://schemas.microsoft.com/office/drawing/2014/main" id="{93F54DD7-4F54-4A17-9FA6-C58103C503A5}"/>
                </a:ext>
              </a:extLst>
            </p:cNvPr>
            <p:cNvSpPr/>
            <p:nvPr/>
          </p:nvSpPr>
          <p:spPr>
            <a:xfrm>
              <a:off x="10232893" y="5791993"/>
              <a:ext cx="1297558" cy="942456"/>
            </a:xfrm>
            <a:custGeom>
              <a:avLst/>
              <a:gdLst>
                <a:gd name="connsiteX0" fmla="*/ 1323703 w 1323703"/>
                <a:gd name="connsiteY0" fmla="*/ 896983 h 914548"/>
                <a:gd name="connsiteX1" fmla="*/ 1123406 w 1323703"/>
                <a:gd name="connsiteY1" fmla="*/ 914400 h 914548"/>
                <a:gd name="connsiteX2" fmla="*/ 818606 w 1323703"/>
                <a:gd name="connsiteY2" fmla="*/ 888274 h 914548"/>
                <a:gd name="connsiteX3" fmla="*/ 627017 w 1323703"/>
                <a:gd name="connsiteY3" fmla="*/ 783771 h 914548"/>
                <a:gd name="connsiteX4" fmla="*/ 592183 w 1323703"/>
                <a:gd name="connsiteY4" fmla="*/ 574766 h 914548"/>
                <a:gd name="connsiteX5" fmla="*/ 374468 w 1323703"/>
                <a:gd name="connsiteY5" fmla="*/ 452846 h 914548"/>
                <a:gd name="connsiteX6" fmla="*/ 104503 w 1323703"/>
                <a:gd name="connsiteY6" fmla="*/ 374468 h 914548"/>
                <a:gd name="connsiteX7" fmla="*/ 0 w 1323703"/>
                <a:gd name="connsiteY7" fmla="*/ 0 h 91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3703" h="914548">
                  <a:moveTo>
                    <a:pt x="1323703" y="896983"/>
                  </a:moveTo>
                  <a:cubicBezTo>
                    <a:pt x="1265646" y="906417"/>
                    <a:pt x="1207589" y="915851"/>
                    <a:pt x="1123406" y="914400"/>
                  </a:cubicBezTo>
                  <a:cubicBezTo>
                    <a:pt x="1039223" y="912949"/>
                    <a:pt x="901337" y="910046"/>
                    <a:pt x="818606" y="888274"/>
                  </a:cubicBezTo>
                  <a:cubicBezTo>
                    <a:pt x="735874" y="866502"/>
                    <a:pt x="664754" y="836022"/>
                    <a:pt x="627017" y="783771"/>
                  </a:cubicBezTo>
                  <a:cubicBezTo>
                    <a:pt x="589280" y="731520"/>
                    <a:pt x="634275" y="629920"/>
                    <a:pt x="592183" y="574766"/>
                  </a:cubicBezTo>
                  <a:cubicBezTo>
                    <a:pt x="550091" y="519612"/>
                    <a:pt x="455748" y="486229"/>
                    <a:pt x="374468" y="452846"/>
                  </a:cubicBezTo>
                  <a:cubicBezTo>
                    <a:pt x="293188" y="419463"/>
                    <a:pt x="166914" y="449942"/>
                    <a:pt x="104503" y="374468"/>
                  </a:cubicBezTo>
                  <a:cubicBezTo>
                    <a:pt x="42092" y="298994"/>
                    <a:pt x="5806" y="75474"/>
                    <a:pt x="0" y="0"/>
                  </a:cubicBezTo>
                </a:path>
              </a:pathLst>
            </a:cu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" name="Овал 176">
              <a:extLst>
                <a:ext uri="{FF2B5EF4-FFF2-40B4-BE49-F238E27FC236}">
                  <a16:creationId xmlns:a16="http://schemas.microsoft.com/office/drawing/2014/main" id="{594233D4-3213-4C01-8C15-62360C6BEA44}"/>
                </a:ext>
              </a:extLst>
            </p:cNvPr>
            <p:cNvSpPr/>
            <p:nvPr/>
          </p:nvSpPr>
          <p:spPr>
            <a:xfrm>
              <a:off x="10870423" y="6585217"/>
              <a:ext cx="177123" cy="182251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" name="Полилиния: фигура 177">
              <a:extLst>
                <a:ext uri="{FF2B5EF4-FFF2-40B4-BE49-F238E27FC236}">
                  <a16:creationId xmlns:a16="http://schemas.microsoft.com/office/drawing/2014/main" id="{E8E55857-C57F-47A5-9082-B902B7C3BA84}"/>
                </a:ext>
              </a:extLst>
            </p:cNvPr>
            <p:cNvSpPr/>
            <p:nvPr/>
          </p:nvSpPr>
          <p:spPr>
            <a:xfrm>
              <a:off x="10154515" y="5495901"/>
              <a:ext cx="87085" cy="130629"/>
            </a:xfrm>
            <a:custGeom>
              <a:avLst/>
              <a:gdLst>
                <a:gd name="connsiteX0" fmla="*/ 87085 w 87085"/>
                <a:gd name="connsiteY0" fmla="*/ 130629 h 130629"/>
                <a:gd name="connsiteX1" fmla="*/ 0 w 87085"/>
                <a:gd name="connsiteY1" fmla="*/ 0 h 13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085" h="130629">
                  <a:moveTo>
                    <a:pt x="87085" y="130629"/>
                  </a:move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" name="Овал 179">
              <a:extLst>
                <a:ext uri="{FF2B5EF4-FFF2-40B4-BE49-F238E27FC236}">
                  <a16:creationId xmlns:a16="http://schemas.microsoft.com/office/drawing/2014/main" id="{6F6C0C7C-58BD-4917-ADAF-4D311E627701}"/>
                </a:ext>
              </a:extLst>
            </p:cNvPr>
            <p:cNvSpPr/>
            <p:nvPr/>
          </p:nvSpPr>
          <p:spPr>
            <a:xfrm>
              <a:off x="9417154" y="5143258"/>
              <a:ext cx="148027" cy="164244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" name="Овал 180">
              <a:extLst>
                <a:ext uri="{FF2B5EF4-FFF2-40B4-BE49-F238E27FC236}">
                  <a16:creationId xmlns:a16="http://schemas.microsoft.com/office/drawing/2014/main" id="{ADA93E34-F0D2-4E05-A19F-8A947DAD677B}"/>
                </a:ext>
              </a:extLst>
            </p:cNvPr>
            <p:cNvSpPr/>
            <p:nvPr/>
          </p:nvSpPr>
          <p:spPr>
            <a:xfrm>
              <a:off x="11514950" y="6656988"/>
              <a:ext cx="177123" cy="171487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9" name="Овал 181">
              <a:extLst>
                <a:ext uri="{FF2B5EF4-FFF2-40B4-BE49-F238E27FC236}">
                  <a16:creationId xmlns:a16="http://schemas.microsoft.com/office/drawing/2014/main" id="{24A6FA9D-532F-40C6-9C0B-9CC579382BC1}"/>
                </a:ext>
              </a:extLst>
            </p:cNvPr>
            <p:cNvSpPr/>
            <p:nvPr/>
          </p:nvSpPr>
          <p:spPr>
            <a:xfrm>
              <a:off x="7345381" y="3882955"/>
              <a:ext cx="177123" cy="169278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30" name="Рисунок 182">
              <a:extLst>
                <a:ext uri="{FF2B5EF4-FFF2-40B4-BE49-F238E27FC236}">
                  <a16:creationId xmlns:a16="http://schemas.microsoft.com/office/drawing/2014/main" id="{9D9ADE47-B345-446D-9198-FB44C3303A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155886" flipH="1">
              <a:off x="7060199" y="3127307"/>
              <a:ext cx="343962" cy="153243"/>
            </a:xfrm>
            <a:prstGeom prst="rect">
              <a:avLst/>
            </a:prstGeom>
          </p:spPr>
        </p:pic>
        <p:pic>
          <p:nvPicPr>
            <p:cNvPr id="31" name="Рисунок 183">
              <a:extLst>
                <a:ext uri="{FF2B5EF4-FFF2-40B4-BE49-F238E27FC236}">
                  <a16:creationId xmlns:a16="http://schemas.microsoft.com/office/drawing/2014/main" id="{A6724696-11BB-44A3-B84A-9F323950A0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8595592" y="2211432"/>
              <a:ext cx="343962" cy="153243"/>
            </a:xfrm>
            <a:prstGeom prst="rect">
              <a:avLst/>
            </a:prstGeom>
          </p:spPr>
        </p:pic>
        <p:pic>
          <p:nvPicPr>
            <p:cNvPr id="32" name="Рисунок 187">
              <a:extLst>
                <a:ext uri="{FF2B5EF4-FFF2-40B4-BE49-F238E27FC236}">
                  <a16:creationId xmlns:a16="http://schemas.microsoft.com/office/drawing/2014/main" id="{3CD0AF4D-17C1-4562-8CF7-9AB3E412F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847101" flipH="1">
              <a:off x="9488020" y="3662265"/>
              <a:ext cx="343962" cy="153243"/>
            </a:xfrm>
            <a:prstGeom prst="rect">
              <a:avLst/>
            </a:prstGeom>
          </p:spPr>
        </p:pic>
        <p:pic>
          <p:nvPicPr>
            <p:cNvPr id="33" name="Рисунок 188">
              <a:extLst>
                <a:ext uri="{FF2B5EF4-FFF2-40B4-BE49-F238E27FC236}">
                  <a16:creationId xmlns:a16="http://schemas.microsoft.com/office/drawing/2014/main" id="{2CFDB2E2-4BE6-4ED9-BD11-B8FE8178D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856139" flipH="1">
              <a:off x="9101285" y="6047470"/>
              <a:ext cx="343962" cy="153243"/>
            </a:xfrm>
            <a:prstGeom prst="rect">
              <a:avLst/>
            </a:prstGeom>
          </p:spPr>
        </p:pic>
        <p:sp>
          <p:nvSpPr>
            <p:cNvPr id="34" name="Полилиния: фигура 189">
              <a:extLst>
                <a:ext uri="{FF2B5EF4-FFF2-40B4-BE49-F238E27FC236}">
                  <a16:creationId xmlns:a16="http://schemas.microsoft.com/office/drawing/2014/main" id="{5997B7CA-1998-4606-84CC-12D7EF1F257A}"/>
                </a:ext>
              </a:extLst>
            </p:cNvPr>
            <p:cNvSpPr/>
            <p:nvPr/>
          </p:nvSpPr>
          <p:spPr>
            <a:xfrm>
              <a:off x="7132205" y="6385482"/>
              <a:ext cx="749808" cy="122913"/>
            </a:xfrm>
            <a:custGeom>
              <a:avLst/>
              <a:gdLst>
                <a:gd name="connsiteX0" fmla="*/ 749808 w 749808"/>
                <a:gd name="connsiteY0" fmla="*/ 0 h 122913"/>
                <a:gd name="connsiteX1" fmla="*/ 576072 w 749808"/>
                <a:gd name="connsiteY1" fmla="*/ 118872 h 122913"/>
                <a:gd name="connsiteX2" fmla="*/ 365760 w 749808"/>
                <a:gd name="connsiteY2" fmla="*/ 91440 h 122913"/>
                <a:gd name="connsiteX3" fmla="*/ 265176 w 749808"/>
                <a:gd name="connsiteY3" fmla="*/ 54864 h 122913"/>
                <a:gd name="connsiteX4" fmla="*/ 0 w 749808"/>
                <a:gd name="connsiteY4" fmla="*/ 100584 h 122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808" h="122913">
                  <a:moveTo>
                    <a:pt x="749808" y="0"/>
                  </a:moveTo>
                  <a:cubicBezTo>
                    <a:pt x="694944" y="51816"/>
                    <a:pt x="640080" y="103632"/>
                    <a:pt x="576072" y="118872"/>
                  </a:cubicBezTo>
                  <a:cubicBezTo>
                    <a:pt x="512064" y="134112"/>
                    <a:pt x="417576" y="102108"/>
                    <a:pt x="365760" y="91440"/>
                  </a:cubicBezTo>
                  <a:cubicBezTo>
                    <a:pt x="313944" y="80772"/>
                    <a:pt x="326136" y="53340"/>
                    <a:pt x="265176" y="54864"/>
                  </a:cubicBezTo>
                  <a:cubicBezTo>
                    <a:pt x="204216" y="56388"/>
                    <a:pt x="102108" y="78486"/>
                    <a:pt x="0" y="100584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5" name="Полилиния: фигура 190">
              <a:extLst>
                <a:ext uri="{FF2B5EF4-FFF2-40B4-BE49-F238E27FC236}">
                  <a16:creationId xmlns:a16="http://schemas.microsoft.com/office/drawing/2014/main" id="{679EA41B-21B7-4464-AF1B-695DA44ADF5B}"/>
                </a:ext>
              </a:extLst>
            </p:cNvPr>
            <p:cNvSpPr/>
            <p:nvPr/>
          </p:nvSpPr>
          <p:spPr>
            <a:xfrm>
              <a:off x="7068022" y="4047345"/>
              <a:ext cx="1142979" cy="2426089"/>
            </a:xfrm>
            <a:custGeom>
              <a:avLst/>
              <a:gdLst>
                <a:gd name="connsiteX0" fmla="*/ 3318 w 969472"/>
                <a:gd name="connsiteY0" fmla="*/ 2322576 h 2335774"/>
                <a:gd name="connsiteX1" fmla="*/ 67326 w 969472"/>
                <a:gd name="connsiteY1" fmla="*/ 2322576 h 2335774"/>
                <a:gd name="connsiteX2" fmla="*/ 460518 w 969472"/>
                <a:gd name="connsiteY2" fmla="*/ 2185416 h 2335774"/>
                <a:gd name="connsiteX3" fmla="*/ 762270 w 969472"/>
                <a:gd name="connsiteY3" fmla="*/ 1993392 h 2335774"/>
                <a:gd name="connsiteX4" fmla="*/ 853710 w 969472"/>
                <a:gd name="connsiteY4" fmla="*/ 1682496 h 2335774"/>
                <a:gd name="connsiteX5" fmla="*/ 908574 w 969472"/>
                <a:gd name="connsiteY5" fmla="*/ 1417320 h 2335774"/>
                <a:gd name="connsiteX6" fmla="*/ 945150 w 969472"/>
                <a:gd name="connsiteY6" fmla="*/ 1234440 h 2335774"/>
                <a:gd name="connsiteX7" fmla="*/ 945150 w 969472"/>
                <a:gd name="connsiteY7" fmla="*/ 1078992 h 2335774"/>
                <a:gd name="connsiteX8" fmla="*/ 963438 w 969472"/>
                <a:gd name="connsiteY8" fmla="*/ 877824 h 2335774"/>
                <a:gd name="connsiteX9" fmla="*/ 826278 w 969472"/>
                <a:gd name="connsiteY9" fmla="*/ 795528 h 2335774"/>
                <a:gd name="connsiteX10" fmla="*/ 707406 w 969472"/>
                <a:gd name="connsiteY10" fmla="*/ 621792 h 2335774"/>
                <a:gd name="connsiteX11" fmla="*/ 670830 w 969472"/>
                <a:gd name="connsiteY11" fmla="*/ 384048 h 2335774"/>
                <a:gd name="connsiteX12" fmla="*/ 460518 w 969472"/>
                <a:gd name="connsiteY12" fmla="*/ 155448 h 2335774"/>
                <a:gd name="connsiteX13" fmla="*/ 305070 w 969472"/>
                <a:gd name="connsiteY13" fmla="*/ 0 h 2335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9472" h="2335774">
                  <a:moveTo>
                    <a:pt x="3318" y="2322576"/>
                  </a:moveTo>
                  <a:cubicBezTo>
                    <a:pt x="-2778" y="2334006"/>
                    <a:pt x="-8874" y="2345436"/>
                    <a:pt x="67326" y="2322576"/>
                  </a:cubicBezTo>
                  <a:cubicBezTo>
                    <a:pt x="143526" y="2299716"/>
                    <a:pt x="344694" y="2240280"/>
                    <a:pt x="460518" y="2185416"/>
                  </a:cubicBezTo>
                  <a:cubicBezTo>
                    <a:pt x="576342" y="2130552"/>
                    <a:pt x="696738" y="2077212"/>
                    <a:pt x="762270" y="1993392"/>
                  </a:cubicBezTo>
                  <a:cubicBezTo>
                    <a:pt x="827802" y="1909572"/>
                    <a:pt x="829326" y="1778508"/>
                    <a:pt x="853710" y="1682496"/>
                  </a:cubicBezTo>
                  <a:cubicBezTo>
                    <a:pt x="878094" y="1586484"/>
                    <a:pt x="893334" y="1491996"/>
                    <a:pt x="908574" y="1417320"/>
                  </a:cubicBezTo>
                  <a:cubicBezTo>
                    <a:pt x="923814" y="1342644"/>
                    <a:pt x="939054" y="1290828"/>
                    <a:pt x="945150" y="1234440"/>
                  </a:cubicBezTo>
                  <a:cubicBezTo>
                    <a:pt x="951246" y="1178052"/>
                    <a:pt x="942102" y="1138428"/>
                    <a:pt x="945150" y="1078992"/>
                  </a:cubicBezTo>
                  <a:cubicBezTo>
                    <a:pt x="948198" y="1019556"/>
                    <a:pt x="983250" y="925068"/>
                    <a:pt x="963438" y="877824"/>
                  </a:cubicBezTo>
                  <a:cubicBezTo>
                    <a:pt x="943626" y="830580"/>
                    <a:pt x="868950" y="838200"/>
                    <a:pt x="826278" y="795528"/>
                  </a:cubicBezTo>
                  <a:cubicBezTo>
                    <a:pt x="783606" y="752856"/>
                    <a:pt x="733314" y="690372"/>
                    <a:pt x="707406" y="621792"/>
                  </a:cubicBezTo>
                  <a:cubicBezTo>
                    <a:pt x="681498" y="553212"/>
                    <a:pt x="711978" y="461772"/>
                    <a:pt x="670830" y="384048"/>
                  </a:cubicBezTo>
                  <a:cubicBezTo>
                    <a:pt x="629682" y="306324"/>
                    <a:pt x="521478" y="219456"/>
                    <a:pt x="460518" y="155448"/>
                  </a:cubicBezTo>
                  <a:cubicBezTo>
                    <a:pt x="399558" y="91440"/>
                    <a:pt x="324882" y="28956"/>
                    <a:pt x="305070" y="0"/>
                  </a:cubicBezTo>
                </a:path>
              </a:pathLst>
            </a:custGeom>
            <a:noFill/>
            <a:ln w="19050">
              <a:solidFill>
                <a:srgbClr val="A39F9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124BB9B-CB33-4F02-8CB5-2438EC48A96D}"/>
                </a:ext>
              </a:extLst>
            </p:cNvPr>
            <p:cNvSpPr txBox="1"/>
            <p:nvPr/>
          </p:nvSpPr>
          <p:spPr>
            <a:xfrm>
              <a:off x="11777661" y="6673005"/>
              <a:ext cx="643546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Коротчаево</a:t>
              </a: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686464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C1F4850-B457-4613-8B8D-D92EE1939D55}"/>
                </a:ext>
              </a:extLst>
            </p:cNvPr>
            <p:cNvSpPr txBox="1"/>
            <p:nvPr/>
          </p:nvSpPr>
          <p:spPr>
            <a:xfrm>
              <a:off x="10877140" y="6421872"/>
              <a:ext cx="957479" cy="1214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Новый Уренгой</a:t>
              </a:r>
            </a:p>
          </p:txBody>
        </p:sp>
        <p:sp>
          <p:nvSpPr>
            <p:cNvPr id="38" name="Овал 200">
              <a:extLst>
                <a:ext uri="{FF2B5EF4-FFF2-40B4-BE49-F238E27FC236}">
                  <a16:creationId xmlns:a16="http://schemas.microsoft.com/office/drawing/2014/main" id="{60C424EA-6CC3-489A-B62C-357E94D99F0D}"/>
                </a:ext>
              </a:extLst>
            </p:cNvPr>
            <p:cNvSpPr/>
            <p:nvPr/>
          </p:nvSpPr>
          <p:spPr>
            <a:xfrm>
              <a:off x="6993115" y="6359693"/>
              <a:ext cx="177123" cy="154105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94FF06F-18E7-44C2-9BF3-3C2947EEFE6A}"/>
                </a:ext>
              </a:extLst>
            </p:cNvPr>
            <p:cNvSpPr txBox="1"/>
            <p:nvPr/>
          </p:nvSpPr>
          <p:spPr>
            <a:xfrm>
              <a:off x="6778095" y="6552024"/>
              <a:ext cx="643546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Лабытнанги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AC7FD5F-0A2C-4C85-AB3A-1CDEB743AB16}"/>
                </a:ext>
              </a:extLst>
            </p:cNvPr>
            <p:cNvSpPr txBox="1"/>
            <p:nvPr/>
          </p:nvSpPr>
          <p:spPr>
            <a:xfrm>
              <a:off x="7563953" y="3871572"/>
              <a:ext cx="855831" cy="2429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Бованенковское м/р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74B60C0-61FC-4D23-9F38-14D4FBFB089E}"/>
                </a:ext>
              </a:extLst>
            </p:cNvPr>
            <p:cNvSpPr txBox="1"/>
            <p:nvPr/>
          </p:nvSpPr>
          <p:spPr>
            <a:xfrm>
              <a:off x="7306258" y="3532885"/>
              <a:ext cx="863799" cy="2429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Харасавэйское м/р</a:t>
              </a:r>
            </a:p>
          </p:txBody>
        </p:sp>
        <p:cxnSp>
          <p:nvCxnSpPr>
            <p:cNvPr id="42" name="Соединитель: уступ 204">
              <a:extLst>
                <a:ext uri="{FF2B5EF4-FFF2-40B4-BE49-F238E27FC236}">
                  <a16:creationId xmlns:a16="http://schemas.microsoft.com/office/drawing/2014/main" id="{691259FC-49A2-48EC-8AF3-67C16F1B5976}"/>
                </a:ext>
              </a:extLst>
            </p:cNvPr>
            <p:cNvCxnSpPr>
              <a:cxnSpLocks/>
              <a:stCxn id="77" idx="0"/>
            </p:cNvCxnSpPr>
            <p:nvPr/>
          </p:nvCxnSpPr>
          <p:spPr>
            <a:xfrm rot="5400000" flipH="1" flipV="1">
              <a:off x="6943466" y="6184569"/>
              <a:ext cx="283177" cy="1"/>
            </a:xfrm>
            <a:prstGeom prst="bentConnector3">
              <a:avLst>
                <a:gd name="adj1" fmla="val 50000"/>
              </a:avLst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Полилиния: фигура 205">
              <a:extLst>
                <a:ext uri="{FF2B5EF4-FFF2-40B4-BE49-F238E27FC236}">
                  <a16:creationId xmlns:a16="http://schemas.microsoft.com/office/drawing/2014/main" id="{0C3040EC-8B9C-47FB-A2B3-D7C86378DB7D}"/>
                </a:ext>
              </a:extLst>
            </p:cNvPr>
            <p:cNvSpPr/>
            <p:nvPr/>
          </p:nvSpPr>
          <p:spPr>
            <a:xfrm>
              <a:off x="6650837" y="3326692"/>
              <a:ext cx="561631" cy="281808"/>
            </a:xfrm>
            <a:custGeom>
              <a:avLst/>
              <a:gdLst>
                <a:gd name="connsiteX0" fmla="*/ 869950 w 869950"/>
                <a:gd name="connsiteY0" fmla="*/ 279400 h 279400"/>
                <a:gd name="connsiteX1" fmla="*/ 717550 w 869950"/>
                <a:gd name="connsiteY1" fmla="*/ 184150 h 279400"/>
                <a:gd name="connsiteX2" fmla="*/ 482600 w 869950"/>
                <a:gd name="connsiteY2" fmla="*/ 120650 h 279400"/>
                <a:gd name="connsiteX3" fmla="*/ 260350 w 869950"/>
                <a:gd name="connsiteY3" fmla="*/ 120650 h 279400"/>
                <a:gd name="connsiteX4" fmla="*/ 0 w 869950"/>
                <a:gd name="connsiteY4" fmla="*/ 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950" h="279400">
                  <a:moveTo>
                    <a:pt x="869950" y="279400"/>
                  </a:moveTo>
                  <a:cubicBezTo>
                    <a:pt x="826029" y="245004"/>
                    <a:pt x="782108" y="210608"/>
                    <a:pt x="717550" y="184150"/>
                  </a:cubicBezTo>
                  <a:cubicBezTo>
                    <a:pt x="652992" y="157692"/>
                    <a:pt x="558800" y="131233"/>
                    <a:pt x="482600" y="120650"/>
                  </a:cubicBezTo>
                  <a:cubicBezTo>
                    <a:pt x="406400" y="110067"/>
                    <a:pt x="340783" y="140758"/>
                    <a:pt x="260350" y="120650"/>
                  </a:cubicBezTo>
                  <a:cubicBezTo>
                    <a:pt x="179917" y="100542"/>
                    <a:pt x="40217" y="40217"/>
                    <a:pt x="0" y="0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Овал 206">
              <a:extLst>
                <a:ext uri="{FF2B5EF4-FFF2-40B4-BE49-F238E27FC236}">
                  <a16:creationId xmlns:a16="http://schemas.microsoft.com/office/drawing/2014/main" id="{7F9ECA9D-C178-44EE-9BD6-11787786FA2C}"/>
                </a:ext>
              </a:extLst>
            </p:cNvPr>
            <p:cNvSpPr/>
            <p:nvPr/>
          </p:nvSpPr>
          <p:spPr>
            <a:xfrm>
              <a:off x="7156801" y="3610861"/>
              <a:ext cx="177123" cy="169277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Полилиния: фигура 207">
              <a:extLst>
                <a:ext uri="{FF2B5EF4-FFF2-40B4-BE49-F238E27FC236}">
                  <a16:creationId xmlns:a16="http://schemas.microsoft.com/office/drawing/2014/main" id="{4A9BD95F-502A-4788-80F2-D1551E28B94D}"/>
                </a:ext>
              </a:extLst>
            </p:cNvPr>
            <p:cNvSpPr/>
            <p:nvPr/>
          </p:nvSpPr>
          <p:spPr>
            <a:xfrm flipV="1">
              <a:off x="9418456" y="2181683"/>
              <a:ext cx="599848" cy="256819"/>
            </a:xfrm>
            <a:custGeom>
              <a:avLst/>
              <a:gdLst>
                <a:gd name="connsiteX0" fmla="*/ 869950 w 869950"/>
                <a:gd name="connsiteY0" fmla="*/ 279400 h 279400"/>
                <a:gd name="connsiteX1" fmla="*/ 717550 w 869950"/>
                <a:gd name="connsiteY1" fmla="*/ 184150 h 279400"/>
                <a:gd name="connsiteX2" fmla="*/ 482600 w 869950"/>
                <a:gd name="connsiteY2" fmla="*/ 120650 h 279400"/>
                <a:gd name="connsiteX3" fmla="*/ 260350 w 869950"/>
                <a:gd name="connsiteY3" fmla="*/ 120650 h 279400"/>
                <a:gd name="connsiteX4" fmla="*/ 0 w 869950"/>
                <a:gd name="connsiteY4" fmla="*/ 0 h 279400"/>
                <a:gd name="connsiteX0" fmla="*/ 884501 w 884501"/>
                <a:gd name="connsiteY0" fmla="*/ 290565 h 290565"/>
                <a:gd name="connsiteX1" fmla="*/ 717550 w 884501"/>
                <a:gd name="connsiteY1" fmla="*/ 184150 h 290565"/>
                <a:gd name="connsiteX2" fmla="*/ 482600 w 884501"/>
                <a:gd name="connsiteY2" fmla="*/ 120650 h 290565"/>
                <a:gd name="connsiteX3" fmla="*/ 260350 w 884501"/>
                <a:gd name="connsiteY3" fmla="*/ 120650 h 290565"/>
                <a:gd name="connsiteX4" fmla="*/ 0 w 884501"/>
                <a:gd name="connsiteY4" fmla="*/ 0 h 290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501" h="290565">
                  <a:moveTo>
                    <a:pt x="884501" y="290565"/>
                  </a:moveTo>
                  <a:cubicBezTo>
                    <a:pt x="840580" y="256169"/>
                    <a:pt x="784533" y="212469"/>
                    <a:pt x="717550" y="184150"/>
                  </a:cubicBezTo>
                  <a:cubicBezTo>
                    <a:pt x="650567" y="155831"/>
                    <a:pt x="558800" y="131233"/>
                    <a:pt x="482600" y="120650"/>
                  </a:cubicBezTo>
                  <a:cubicBezTo>
                    <a:pt x="406400" y="110067"/>
                    <a:pt x="340783" y="140758"/>
                    <a:pt x="260350" y="120650"/>
                  </a:cubicBezTo>
                  <a:cubicBezTo>
                    <a:pt x="179917" y="100542"/>
                    <a:pt x="40217" y="40217"/>
                    <a:pt x="0" y="0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Полилиния: фигура 208">
              <a:extLst>
                <a:ext uri="{FF2B5EF4-FFF2-40B4-BE49-F238E27FC236}">
                  <a16:creationId xmlns:a16="http://schemas.microsoft.com/office/drawing/2014/main" id="{BA9100B2-2A09-4EC4-A2DC-5526EE2E4B2F}"/>
                </a:ext>
              </a:extLst>
            </p:cNvPr>
            <p:cNvSpPr/>
            <p:nvPr/>
          </p:nvSpPr>
          <p:spPr>
            <a:xfrm>
              <a:off x="10387886" y="2283643"/>
              <a:ext cx="2280609" cy="660912"/>
            </a:xfrm>
            <a:custGeom>
              <a:avLst/>
              <a:gdLst>
                <a:gd name="connsiteX0" fmla="*/ 0 w 2326746"/>
                <a:gd name="connsiteY0" fmla="*/ 0 h 693685"/>
                <a:gd name="connsiteX1" fmla="*/ 845820 w 2326746"/>
                <a:gd name="connsiteY1" fmla="*/ 251460 h 693685"/>
                <a:gd name="connsiteX2" fmla="*/ 1226820 w 2326746"/>
                <a:gd name="connsiteY2" fmla="*/ 320040 h 693685"/>
                <a:gd name="connsiteX3" fmla="*/ 1562100 w 2326746"/>
                <a:gd name="connsiteY3" fmla="*/ 480060 h 693685"/>
                <a:gd name="connsiteX4" fmla="*/ 2308860 w 2326746"/>
                <a:gd name="connsiteY4" fmla="*/ 693420 h 693685"/>
                <a:gd name="connsiteX0" fmla="*/ 0 w 2323395"/>
                <a:gd name="connsiteY0" fmla="*/ 0 h 700659"/>
                <a:gd name="connsiteX1" fmla="*/ 842469 w 2323395"/>
                <a:gd name="connsiteY1" fmla="*/ 258434 h 700659"/>
                <a:gd name="connsiteX2" fmla="*/ 1223469 w 2323395"/>
                <a:gd name="connsiteY2" fmla="*/ 327014 h 700659"/>
                <a:gd name="connsiteX3" fmla="*/ 1558749 w 2323395"/>
                <a:gd name="connsiteY3" fmla="*/ 487034 h 700659"/>
                <a:gd name="connsiteX4" fmla="*/ 2305509 w 2323395"/>
                <a:gd name="connsiteY4" fmla="*/ 700394 h 70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3395" h="700659">
                  <a:moveTo>
                    <a:pt x="0" y="0"/>
                  </a:moveTo>
                  <a:cubicBezTo>
                    <a:pt x="320675" y="99060"/>
                    <a:pt x="638558" y="203932"/>
                    <a:pt x="842469" y="258434"/>
                  </a:cubicBezTo>
                  <a:cubicBezTo>
                    <a:pt x="1046380" y="312936"/>
                    <a:pt x="1104089" y="288914"/>
                    <a:pt x="1223469" y="327014"/>
                  </a:cubicBezTo>
                  <a:cubicBezTo>
                    <a:pt x="1342849" y="365114"/>
                    <a:pt x="1378409" y="424804"/>
                    <a:pt x="1558749" y="487034"/>
                  </a:cubicBezTo>
                  <a:cubicBezTo>
                    <a:pt x="1739089" y="549264"/>
                    <a:pt x="2443939" y="708014"/>
                    <a:pt x="2305509" y="700394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47" name="Рисунок 209">
              <a:extLst>
                <a:ext uri="{FF2B5EF4-FFF2-40B4-BE49-F238E27FC236}">
                  <a16:creationId xmlns:a16="http://schemas.microsoft.com/office/drawing/2014/main" id="{066F65D5-2B11-4C1A-80B7-A24DB3148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793498">
              <a:off x="10920805" y="2300757"/>
              <a:ext cx="317792" cy="141584"/>
            </a:xfrm>
            <a:prstGeom prst="rect">
              <a:avLst/>
            </a:prstGeom>
          </p:spPr>
        </p:pic>
        <p:sp>
          <p:nvSpPr>
            <p:cNvPr id="48" name="Овал 210">
              <a:extLst>
                <a:ext uri="{FF2B5EF4-FFF2-40B4-BE49-F238E27FC236}">
                  <a16:creationId xmlns:a16="http://schemas.microsoft.com/office/drawing/2014/main" id="{199F718F-8C44-4BE4-9824-AAD7F0375AB5}"/>
                </a:ext>
              </a:extLst>
            </p:cNvPr>
            <p:cNvSpPr/>
            <p:nvPr/>
          </p:nvSpPr>
          <p:spPr>
            <a:xfrm>
              <a:off x="12259963" y="2922777"/>
              <a:ext cx="177123" cy="176061"/>
            </a:xfrm>
            <a:prstGeom prst="ellipse">
              <a:avLst/>
            </a:prstGeom>
            <a:solidFill>
              <a:srgbClr val="33A3FF"/>
            </a:solidFill>
            <a:ln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Полилиния: фигура 213">
              <a:extLst>
                <a:ext uri="{FF2B5EF4-FFF2-40B4-BE49-F238E27FC236}">
                  <a16:creationId xmlns:a16="http://schemas.microsoft.com/office/drawing/2014/main" id="{C667A048-95E9-4548-90C2-900178C257E1}"/>
                </a:ext>
              </a:extLst>
            </p:cNvPr>
            <p:cNvSpPr/>
            <p:nvPr/>
          </p:nvSpPr>
          <p:spPr>
            <a:xfrm flipV="1">
              <a:off x="10015590" y="2134804"/>
              <a:ext cx="381549" cy="145164"/>
            </a:xfrm>
            <a:custGeom>
              <a:avLst/>
              <a:gdLst>
                <a:gd name="connsiteX0" fmla="*/ 869950 w 869950"/>
                <a:gd name="connsiteY0" fmla="*/ 279400 h 279400"/>
                <a:gd name="connsiteX1" fmla="*/ 717550 w 869950"/>
                <a:gd name="connsiteY1" fmla="*/ 184150 h 279400"/>
                <a:gd name="connsiteX2" fmla="*/ 482600 w 869950"/>
                <a:gd name="connsiteY2" fmla="*/ 120650 h 279400"/>
                <a:gd name="connsiteX3" fmla="*/ 260350 w 869950"/>
                <a:gd name="connsiteY3" fmla="*/ 120650 h 279400"/>
                <a:gd name="connsiteX4" fmla="*/ 0 w 869950"/>
                <a:gd name="connsiteY4" fmla="*/ 0 h 279400"/>
                <a:gd name="connsiteX0" fmla="*/ 577389 w 718441"/>
                <a:gd name="connsiteY0" fmla="*/ 3238 h 256244"/>
                <a:gd name="connsiteX1" fmla="*/ 717550 w 718441"/>
                <a:gd name="connsiteY1" fmla="*/ 249584 h 256244"/>
                <a:gd name="connsiteX2" fmla="*/ 482600 w 718441"/>
                <a:gd name="connsiteY2" fmla="*/ 186084 h 256244"/>
                <a:gd name="connsiteX3" fmla="*/ 260350 w 718441"/>
                <a:gd name="connsiteY3" fmla="*/ 186084 h 256244"/>
                <a:gd name="connsiteX4" fmla="*/ 0 w 718441"/>
                <a:gd name="connsiteY4" fmla="*/ 65434 h 256244"/>
                <a:gd name="connsiteX0" fmla="*/ 577389 w 577389"/>
                <a:gd name="connsiteY0" fmla="*/ 16393 h 216930"/>
                <a:gd name="connsiteX1" fmla="*/ 514030 w 577389"/>
                <a:gd name="connsiteY1" fmla="*/ 38260 h 216930"/>
                <a:gd name="connsiteX2" fmla="*/ 482600 w 577389"/>
                <a:gd name="connsiteY2" fmla="*/ 199239 h 216930"/>
                <a:gd name="connsiteX3" fmla="*/ 260350 w 577389"/>
                <a:gd name="connsiteY3" fmla="*/ 199239 h 216930"/>
                <a:gd name="connsiteX4" fmla="*/ 0 w 577389"/>
                <a:gd name="connsiteY4" fmla="*/ 78589 h 216930"/>
                <a:gd name="connsiteX0" fmla="*/ 577389 w 577389"/>
                <a:gd name="connsiteY0" fmla="*/ 14057 h 200865"/>
                <a:gd name="connsiteX1" fmla="*/ 514030 w 577389"/>
                <a:gd name="connsiteY1" fmla="*/ 35924 h 200865"/>
                <a:gd name="connsiteX2" fmla="*/ 457159 w 577389"/>
                <a:gd name="connsiteY2" fmla="*/ 128584 h 200865"/>
                <a:gd name="connsiteX3" fmla="*/ 260350 w 577389"/>
                <a:gd name="connsiteY3" fmla="*/ 196903 h 200865"/>
                <a:gd name="connsiteX4" fmla="*/ 0 w 577389"/>
                <a:gd name="connsiteY4" fmla="*/ 76253 h 200865"/>
                <a:gd name="connsiteX0" fmla="*/ 577389 w 577389"/>
                <a:gd name="connsiteY0" fmla="*/ 14057 h 148603"/>
                <a:gd name="connsiteX1" fmla="*/ 514030 w 577389"/>
                <a:gd name="connsiteY1" fmla="*/ 35924 h 148603"/>
                <a:gd name="connsiteX2" fmla="*/ 457159 w 577389"/>
                <a:gd name="connsiteY2" fmla="*/ 128584 h 148603"/>
                <a:gd name="connsiteX3" fmla="*/ 273069 w 577389"/>
                <a:gd name="connsiteY3" fmla="*/ 138344 h 148603"/>
                <a:gd name="connsiteX4" fmla="*/ 0 w 577389"/>
                <a:gd name="connsiteY4" fmla="*/ 76253 h 148603"/>
                <a:gd name="connsiteX0" fmla="*/ 602950 w 602950"/>
                <a:gd name="connsiteY0" fmla="*/ 14057 h 148603"/>
                <a:gd name="connsiteX1" fmla="*/ 539591 w 602950"/>
                <a:gd name="connsiteY1" fmla="*/ 35924 h 148603"/>
                <a:gd name="connsiteX2" fmla="*/ 482720 w 602950"/>
                <a:gd name="connsiteY2" fmla="*/ 128584 h 148603"/>
                <a:gd name="connsiteX3" fmla="*/ 298630 w 602950"/>
                <a:gd name="connsiteY3" fmla="*/ 138344 h 148603"/>
                <a:gd name="connsiteX4" fmla="*/ 0 w 602950"/>
                <a:gd name="connsiteY4" fmla="*/ 61543 h 148603"/>
                <a:gd name="connsiteX0" fmla="*/ 590170 w 590170"/>
                <a:gd name="connsiteY0" fmla="*/ 9746 h 178613"/>
                <a:gd name="connsiteX1" fmla="*/ 539591 w 590170"/>
                <a:gd name="connsiteY1" fmla="*/ 65934 h 178613"/>
                <a:gd name="connsiteX2" fmla="*/ 482720 w 590170"/>
                <a:gd name="connsiteY2" fmla="*/ 158594 h 178613"/>
                <a:gd name="connsiteX3" fmla="*/ 298630 w 590170"/>
                <a:gd name="connsiteY3" fmla="*/ 168354 h 178613"/>
                <a:gd name="connsiteX4" fmla="*/ 0 w 590170"/>
                <a:gd name="connsiteY4" fmla="*/ 91553 h 178613"/>
                <a:gd name="connsiteX0" fmla="*/ 590170 w 590170"/>
                <a:gd name="connsiteY0" fmla="*/ 2859 h 171726"/>
                <a:gd name="connsiteX1" fmla="*/ 539591 w 590170"/>
                <a:gd name="connsiteY1" fmla="*/ 59047 h 171726"/>
                <a:gd name="connsiteX2" fmla="*/ 482720 w 590170"/>
                <a:gd name="connsiteY2" fmla="*/ 151707 h 171726"/>
                <a:gd name="connsiteX3" fmla="*/ 298630 w 590170"/>
                <a:gd name="connsiteY3" fmla="*/ 161467 h 171726"/>
                <a:gd name="connsiteX4" fmla="*/ 0 w 590170"/>
                <a:gd name="connsiteY4" fmla="*/ 84666 h 171726"/>
                <a:gd name="connsiteX0" fmla="*/ 622120 w 622120"/>
                <a:gd name="connsiteY0" fmla="*/ 3074 h 167038"/>
                <a:gd name="connsiteX1" fmla="*/ 539591 w 622120"/>
                <a:gd name="connsiteY1" fmla="*/ 54359 h 167038"/>
                <a:gd name="connsiteX2" fmla="*/ 482720 w 622120"/>
                <a:gd name="connsiteY2" fmla="*/ 147019 h 167038"/>
                <a:gd name="connsiteX3" fmla="*/ 298630 w 622120"/>
                <a:gd name="connsiteY3" fmla="*/ 156779 h 167038"/>
                <a:gd name="connsiteX4" fmla="*/ 0 w 622120"/>
                <a:gd name="connsiteY4" fmla="*/ 79978 h 167038"/>
                <a:gd name="connsiteX0" fmla="*/ 596559 w 596559"/>
                <a:gd name="connsiteY0" fmla="*/ 3074 h 167038"/>
                <a:gd name="connsiteX1" fmla="*/ 514030 w 596559"/>
                <a:gd name="connsiteY1" fmla="*/ 54359 h 167038"/>
                <a:gd name="connsiteX2" fmla="*/ 457159 w 596559"/>
                <a:gd name="connsiteY2" fmla="*/ 147019 h 167038"/>
                <a:gd name="connsiteX3" fmla="*/ 273069 w 596559"/>
                <a:gd name="connsiteY3" fmla="*/ 156779 h 167038"/>
                <a:gd name="connsiteX4" fmla="*/ 0 w 596559"/>
                <a:gd name="connsiteY4" fmla="*/ 99590 h 167038"/>
                <a:gd name="connsiteX0" fmla="*/ 596559 w 596559"/>
                <a:gd name="connsiteY0" fmla="*/ 2571 h 159502"/>
                <a:gd name="connsiteX1" fmla="*/ 514030 w 596559"/>
                <a:gd name="connsiteY1" fmla="*/ 53856 h 159502"/>
                <a:gd name="connsiteX2" fmla="*/ 389258 w 596559"/>
                <a:gd name="connsiteY2" fmla="*/ 79532 h 159502"/>
                <a:gd name="connsiteX3" fmla="*/ 273069 w 596559"/>
                <a:gd name="connsiteY3" fmla="*/ 156276 h 159502"/>
                <a:gd name="connsiteX4" fmla="*/ 0 w 596559"/>
                <a:gd name="connsiteY4" fmla="*/ 99087 h 159502"/>
                <a:gd name="connsiteX0" fmla="*/ 596559 w 596559"/>
                <a:gd name="connsiteY0" fmla="*/ 3917 h 160974"/>
                <a:gd name="connsiteX1" fmla="*/ 484930 w 596559"/>
                <a:gd name="connsiteY1" fmla="*/ 32873 h 160974"/>
                <a:gd name="connsiteX2" fmla="*/ 389258 w 596559"/>
                <a:gd name="connsiteY2" fmla="*/ 80878 h 160974"/>
                <a:gd name="connsiteX3" fmla="*/ 273069 w 596559"/>
                <a:gd name="connsiteY3" fmla="*/ 157622 h 160974"/>
                <a:gd name="connsiteX4" fmla="*/ 0 w 596559"/>
                <a:gd name="connsiteY4" fmla="*/ 100433 h 160974"/>
                <a:gd name="connsiteX0" fmla="*/ 596559 w 596559"/>
                <a:gd name="connsiteY0" fmla="*/ 3917 h 153776"/>
                <a:gd name="connsiteX1" fmla="*/ 484930 w 596559"/>
                <a:gd name="connsiteY1" fmla="*/ 32873 h 153776"/>
                <a:gd name="connsiteX2" fmla="*/ 389258 w 596559"/>
                <a:gd name="connsiteY2" fmla="*/ 80878 h 153776"/>
                <a:gd name="connsiteX3" fmla="*/ 180917 w 596559"/>
                <a:gd name="connsiteY3" fmla="*/ 150179 h 153776"/>
                <a:gd name="connsiteX4" fmla="*/ 0 w 596559"/>
                <a:gd name="connsiteY4" fmla="*/ 100433 h 153776"/>
                <a:gd name="connsiteX0" fmla="*/ 548058 w 548058"/>
                <a:gd name="connsiteY0" fmla="*/ 3212 h 164236"/>
                <a:gd name="connsiteX1" fmla="*/ 484930 w 548058"/>
                <a:gd name="connsiteY1" fmla="*/ 43333 h 164236"/>
                <a:gd name="connsiteX2" fmla="*/ 389258 w 548058"/>
                <a:gd name="connsiteY2" fmla="*/ 91338 h 164236"/>
                <a:gd name="connsiteX3" fmla="*/ 180917 w 548058"/>
                <a:gd name="connsiteY3" fmla="*/ 160639 h 164236"/>
                <a:gd name="connsiteX4" fmla="*/ 0 w 548058"/>
                <a:gd name="connsiteY4" fmla="*/ 110893 h 164236"/>
                <a:gd name="connsiteX0" fmla="*/ 548058 w 548058"/>
                <a:gd name="connsiteY0" fmla="*/ 2866 h 171333"/>
                <a:gd name="connsiteX1" fmla="*/ 484930 w 548058"/>
                <a:gd name="connsiteY1" fmla="*/ 50430 h 171333"/>
                <a:gd name="connsiteX2" fmla="*/ 389258 w 548058"/>
                <a:gd name="connsiteY2" fmla="*/ 98435 h 171333"/>
                <a:gd name="connsiteX3" fmla="*/ 180917 w 548058"/>
                <a:gd name="connsiteY3" fmla="*/ 167736 h 171333"/>
                <a:gd name="connsiteX4" fmla="*/ 0 w 548058"/>
                <a:gd name="connsiteY4" fmla="*/ 117990 h 171333"/>
                <a:gd name="connsiteX0" fmla="*/ 562609 w 562609"/>
                <a:gd name="connsiteY0" fmla="*/ 3213 h 164238"/>
                <a:gd name="connsiteX1" fmla="*/ 484930 w 562609"/>
                <a:gd name="connsiteY1" fmla="*/ 43335 h 164238"/>
                <a:gd name="connsiteX2" fmla="*/ 389258 w 562609"/>
                <a:gd name="connsiteY2" fmla="*/ 91340 h 164238"/>
                <a:gd name="connsiteX3" fmla="*/ 180917 w 562609"/>
                <a:gd name="connsiteY3" fmla="*/ 160641 h 164238"/>
                <a:gd name="connsiteX4" fmla="*/ 0 w 562609"/>
                <a:gd name="connsiteY4" fmla="*/ 110895 h 16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609" h="164238">
                  <a:moveTo>
                    <a:pt x="562609" y="3213"/>
                  </a:moveTo>
                  <a:cubicBezTo>
                    <a:pt x="550639" y="-11571"/>
                    <a:pt x="513822" y="28647"/>
                    <a:pt x="484930" y="43335"/>
                  </a:cubicBezTo>
                  <a:cubicBezTo>
                    <a:pt x="456038" y="58023"/>
                    <a:pt x="439927" y="71789"/>
                    <a:pt x="389258" y="91340"/>
                  </a:cubicBezTo>
                  <a:cubicBezTo>
                    <a:pt x="338589" y="110891"/>
                    <a:pt x="261350" y="180749"/>
                    <a:pt x="180917" y="160641"/>
                  </a:cubicBezTo>
                  <a:cubicBezTo>
                    <a:pt x="100484" y="140533"/>
                    <a:pt x="40217" y="151112"/>
                    <a:pt x="0" y="110895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68A091C-0D88-4838-A832-2061B5C0CECD}"/>
                </a:ext>
              </a:extLst>
            </p:cNvPr>
            <p:cNvSpPr txBox="1"/>
            <p:nvPr/>
          </p:nvSpPr>
          <p:spPr>
            <a:xfrm>
              <a:off x="11974596" y="3132748"/>
              <a:ext cx="738229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Енисей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1142447-3339-4A53-BC45-1628D92A7949}"/>
                </a:ext>
              </a:extLst>
            </p:cNvPr>
            <p:cNvSpPr txBox="1"/>
            <p:nvPr/>
          </p:nvSpPr>
          <p:spPr>
            <a:xfrm>
              <a:off x="10209255" y="5638986"/>
              <a:ext cx="643546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Ямбург</a:t>
              </a:r>
            </a:p>
          </p:txBody>
        </p:sp>
        <p:sp>
          <p:nvSpPr>
            <p:cNvPr id="52" name="AutoShape 18" descr="blob:https://web.telegram.org/3d35e3bc-50f8-4dcd-8f7a-991dcfce314b">
              <a:extLst>
                <a:ext uri="{FF2B5EF4-FFF2-40B4-BE49-F238E27FC236}">
                  <a16:creationId xmlns:a16="http://schemas.microsoft.com/office/drawing/2014/main" id="{89A6CACE-5E09-4A4A-90FB-8AE2945DD86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241716" y="2366457"/>
              <a:ext cx="1242043" cy="1242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53" name="Рисунок 229">
              <a:extLst>
                <a:ext uri="{FF2B5EF4-FFF2-40B4-BE49-F238E27FC236}">
                  <a16:creationId xmlns:a16="http://schemas.microsoft.com/office/drawing/2014/main" id="{2A820EFF-9866-42CE-A83E-77F39F38A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7102750" y="3582060"/>
              <a:ext cx="262711" cy="221177"/>
            </a:xfrm>
            <a:prstGeom prst="rect">
              <a:avLst/>
            </a:prstGeom>
          </p:spPr>
        </p:pic>
        <p:pic>
          <p:nvPicPr>
            <p:cNvPr id="54" name="Рисунок 230">
              <a:extLst>
                <a:ext uri="{FF2B5EF4-FFF2-40B4-BE49-F238E27FC236}">
                  <a16:creationId xmlns:a16="http://schemas.microsoft.com/office/drawing/2014/main" id="{FC5AAD95-2605-48AD-A9D9-D54DCA936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9354865" y="5124621"/>
              <a:ext cx="262711" cy="221177"/>
            </a:xfrm>
            <a:prstGeom prst="rect">
              <a:avLst/>
            </a:prstGeom>
          </p:spPr>
        </p:pic>
        <p:pic>
          <p:nvPicPr>
            <p:cNvPr id="55" name="Рисунок 231">
              <a:extLst>
                <a:ext uri="{FF2B5EF4-FFF2-40B4-BE49-F238E27FC236}">
                  <a16:creationId xmlns:a16="http://schemas.microsoft.com/office/drawing/2014/main" id="{1FCB76D0-7C6A-4B19-AC34-1C62F078C1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9820394" y="5227826"/>
              <a:ext cx="293779" cy="247333"/>
            </a:xfrm>
            <a:prstGeom prst="rect">
              <a:avLst/>
            </a:prstGeom>
          </p:spPr>
        </p:pic>
        <p:pic>
          <p:nvPicPr>
            <p:cNvPr id="56" name="Рисунок 232">
              <a:extLst>
                <a:ext uri="{FF2B5EF4-FFF2-40B4-BE49-F238E27FC236}">
                  <a16:creationId xmlns:a16="http://schemas.microsoft.com/office/drawing/2014/main" id="{8EBD9F58-7F1B-4F4B-8256-C512F34413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9576447" y="5212872"/>
              <a:ext cx="293779" cy="247333"/>
            </a:xfrm>
            <a:prstGeom prst="rect">
              <a:avLst/>
            </a:prstGeom>
          </p:spPr>
        </p:pic>
        <p:pic>
          <p:nvPicPr>
            <p:cNvPr id="57" name="Рисунок 233">
              <a:extLst>
                <a:ext uri="{FF2B5EF4-FFF2-40B4-BE49-F238E27FC236}">
                  <a16:creationId xmlns:a16="http://schemas.microsoft.com/office/drawing/2014/main" id="{A0ABD291-5F99-425D-8AF3-ED394CB3E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12212356" y="2906329"/>
              <a:ext cx="262711" cy="221177"/>
            </a:xfrm>
            <a:prstGeom prst="rect">
              <a:avLst/>
            </a:prstGeom>
          </p:spPr>
        </p:pic>
        <p:pic>
          <p:nvPicPr>
            <p:cNvPr id="58" name="Рисунок 234">
              <a:extLst>
                <a:ext uri="{FF2B5EF4-FFF2-40B4-BE49-F238E27FC236}">
                  <a16:creationId xmlns:a16="http://schemas.microsoft.com/office/drawing/2014/main" id="{F3F2AE3A-708A-4AC4-A33F-5A0AC3DC1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3032"/>
            <a:stretch/>
          </p:blipFill>
          <p:spPr>
            <a:xfrm>
              <a:off x="9127104" y="3618114"/>
              <a:ext cx="296004" cy="254184"/>
            </a:xfrm>
            <a:prstGeom prst="rect">
              <a:avLst/>
            </a:prstGeom>
          </p:spPr>
        </p:pic>
        <p:pic>
          <p:nvPicPr>
            <p:cNvPr id="59" name="Рисунок 235">
              <a:extLst>
                <a:ext uri="{FF2B5EF4-FFF2-40B4-BE49-F238E27FC236}">
                  <a16:creationId xmlns:a16="http://schemas.microsoft.com/office/drawing/2014/main" id="{771AE0E6-0F0C-471C-B230-8B911268F8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3032"/>
            <a:stretch/>
          </p:blipFill>
          <p:spPr>
            <a:xfrm>
              <a:off x="9789253" y="3657075"/>
              <a:ext cx="296004" cy="254184"/>
            </a:xfrm>
            <a:prstGeom prst="rect">
              <a:avLst/>
            </a:prstGeom>
          </p:spPr>
        </p:pic>
        <p:pic>
          <p:nvPicPr>
            <p:cNvPr id="60" name="Рисунок 236">
              <a:extLst>
                <a:ext uri="{FF2B5EF4-FFF2-40B4-BE49-F238E27FC236}">
                  <a16:creationId xmlns:a16="http://schemas.microsoft.com/office/drawing/2014/main" id="{DE67F60E-94DD-4D87-B36E-EE17CF0347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3032"/>
            <a:stretch/>
          </p:blipFill>
          <p:spPr>
            <a:xfrm>
              <a:off x="10047795" y="3940497"/>
              <a:ext cx="296004" cy="254184"/>
            </a:xfrm>
            <a:prstGeom prst="rect">
              <a:avLst/>
            </a:prstGeom>
          </p:spPr>
        </p:pic>
        <p:pic>
          <p:nvPicPr>
            <p:cNvPr id="61" name="Рисунок 237">
              <a:extLst>
                <a:ext uri="{FF2B5EF4-FFF2-40B4-BE49-F238E27FC236}">
                  <a16:creationId xmlns:a16="http://schemas.microsoft.com/office/drawing/2014/main" id="{401BB5B3-3A2A-496E-B34A-4524BAA8FF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3032"/>
            <a:stretch/>
          </p:blipFill>
          <p:spPr>
            <a:xfrm>
              <a:off x="9339088" y="3893973"/>
              <a:ext cx="296004" cy="254184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AACE5907-2BB7-4D57-A7FF-660508E62280}"/>
                </a:ext>
              </a:extLst>
            </p:cNvPr>
            <p:cNvSpPr txBox="1"/>
            <p:nvPr/>
          </p:nvSpPr>
          <p:spPr>
            <a:xfrm>
              <a:off x="8442737" y="3691174"/>
              <a:ext cx="738229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Арктик СПГ-1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2C39583-8ADC-4421-9A29-EAB4B9D499A6}"/>
                </a:ext>
              </a:extLst>
            </p:cNvPr>
            <p:cNvSpPr txBox="1"/>
            <p:nvPr/>
          </p:nvSpPr>
          <p:spPr>
            <a:xfrm>
              <a:off x="10085258" y="3725034"/>
              <a:ext cx="738229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Арктик СПГ-</a:t>
              </a:r>
              <a:r>
                <a:rPr lang="ru-RU" sz="700" b="1" dirty="0">
                  <a:solidFill>
                    <a:srgbClr val="686464"/>
                  </a:solidFill>
                  <a:latin typeface="+mn-lt"/>
                </a:rPr>
                <a:t>2</a:t>
              </a:r>
              <a:endPara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686464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DF976428-DA47-4451-AB7B-361887050017}"/>
                </a:ext>
              </a:extLst>
            </p:cNvPr>
            <p:cNvSpPr txBox="1"/>
            <p:nvPr/>
          </p:nvSpPr>
          <p:spPr>
            <a:xfrm>
              <a:off x="8643579" y="3969404"/>
              <a:ext cx="738229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Арктик СПГ-3</a:t>
              </a:r>
            </a:p>
          </p:txBody>
        </p:sp>
        <p:pic>
          <p:nvPicPr>
            <p:cNvPr id="65" name="Рисунок 241">
              <a:extLst>
                <a:ext uri="{FF2B5EF4-FFF2-40B4-BE49-F238E27FC236}">
                  <a16:creationId xmlns:a16="http://schemas.microsoft.com/office/drawing/2014/main" id="{262921B5-3016-4493-9E94-C2E75F960F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142"/>
            <a:stretch/>
          </p:blipFill>
          <p:spPr>
            <a:xfrm>
              <a:off x="7294490" y="3871572"/>
              <a:ext cx="281613" cy="242225"/>
            </a:xfrm>
            <a:prstGeom prst="rect">
              <a:avLst/>
            </a:prstGeom>
          </p:spPr>
        </p:pic>
        <p:pic>
          <p:nvPicPr>
            <p:cNvPr id="66" name="Рисунок 242">
              <a:extLst>
                <a:ext uri="{FF2B5EF4-FFF2-40B4-BE49-F238E27FC236}">
                  <a16:creationId xmlns:a16="http://schemas.microsoft.com/office/drawing/2014/main" id="{42FF67BF-E79E-4437-A526-2B7A721F94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142"/>
            <a:stretch/>
          </p:blipFill>
          <p:spPr>
            <a:xfrm>
              <a:off x="8276790" y="3467300"/>
              <a:ext cx="281613" cy="242225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53D9A1B-348E-4AAE-B48E-64A8011F521A}"/>
                </a:ext>
              </a:extLst>
            </p:cNvPr>
            <p:cNvSpPr txBox="1"/>
            <p:nvPr/>
          </p:nvSpPr>
          <p:spPr>
            <a:xfrm>
              <a:off x="7864592" y="3341750"/>
              <a:ext cx="1035443" cy="9717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r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амбейская группа</a:t>
              </a:r>
            </a:p>
          </p:txBody>
        </p:sp>
        <p:pic>
          <p:nvPicPr>
            <p:cNvPr id="68" name="Рисунок 244">
              <a:extLst>
                <a:ext uri="{FF2B5EF4-FFF2-40B4-BE49-F238E27FC236}">
                  <a16:creationId xmlns:a16="http://schemas.microsoft.com/office/drawing/2014/main" id="{D5D1F46B-B53F-4108-85B4-122E11803F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8669495" y="2896324"/>
              <a:ext cx="262711" cy="221177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470357F-D44A-4DAA-BF80-0F6C705EC96C}"/>
                </a:ext>
              </a:extLst>
            </p:cNvPr>
            <p:cNvSpPr txBox="1"/>
            <p:nvPr/>
          </p:nvSpPr>
          <p:spPr>
            <a:xfrm>
              <a:off x="7952546" y="2857402"/>
              <a:ext cx="738229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Малыгинское м/р</a:t>
              </a:r>
            </a:p>
          </p:txBody>
        </p:sp>
        <p:pic>
          <p:nvPicPr>
            <p:cNvPr id="70" name="Рисунок 246">
              <a:extLst>
                <a:ext uri="{FF2B5EF4-FFF2-40B4-BE49-F238E27FC236}">
                  <a16:creationId xmlns:a16="http://schemas.microsoft.com/office/drawing/2014/main" id="{B385CFAE-B1BE-4DA4-A273-C42029860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142"/>
            <a:stretch/>
          </p:blipFill>
          <p:spPr>
            <a:xfrm>
              <a:off x="10076083" y="5575877"/>
              <a:ext cx="281613" cy="242225"/>
            </a:xfrm>
            <a:prstGeom prst="rect">
              <a:avLst/>
            </a:prstGeom>
          </p:spPr>
        </p:pic>
        <p:pic>
          <p:nvPicPr>
            <p:cNvPr id="71" name="Рисунок 247">
              <a:extLst>
                <a:ext uri="{FF2B5EF4-FFF2-40B4-BE49-F238E27FC236}">
                  <a16:creationId xmlns:a16="http://schemas.microsoft.com/office/drawing/2014/main" id="{086D4493-309F-48FE-8F8C-CE197104C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142"/>
            <a:stretch/>
          </p:blipFill>
          <p:spPr>
            <a:xfrm>
              <a:off x="10823784" y="6562576"/>
              <a:ext cx="281613" cy="242225"/>
            </a:xfrm>
            <a:prstGeom prst="rect">
              <a:avLst/>
            </a:prstGeom>
          </p:spPr>
        </p:pic>
        <p:pic>
          <p:nvPicPr>
            <p:cNvPr id="72" name="Рисунок 248">
              <a:extLst>
                <a:ext uri="{FF2B5EF4-FFF2-40B4-BE49-F238E27FC236}">
                  <a16:creationId xmlns:a16="http://schemas.microsoft.com/office/drawing/2014/main" id="{862B100C-5688-4661-8EC7-1A5B8563D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3142"/>
            <a:stretch/>
          </p:blipFill>
          <p:spPr>
            <a:xfrm>
              <a:off x="10783045" y="5902689"/>
              <a:ext cx="281613" cy="242225"/>
            </a:xfrm>
            <a:prstGeom prst="rect">
              <a:avLst/>
            </a:prstGeom>
          </p:spPr>
        </p:pic>
        <p:pic>
          <p:nvPicPr>
            <p:cNvPr id="73" name="Рисунок 249">
              <a:extLst>
                <a:ext uri="{FF2B5EF4-FFF2-40B4-BE49-F238E27FC236}">
                  <a16:creationId xmlns:a16="http://schemas.microsoft.com/office/drawing/2014/main" id="{510F81D3-52F5-4F95-94DF-918F03B745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11714323" y="5989874"/>
              <a:ext cx="262711" cy="221177"/>
            </a:xfrm>
            <a:prstGeom prst="rect">
              <a:avLst/>
            </a:prstGeom>
          </p:spPr>
        </p:pic>
        <p:pic>
          <p:nvPicPr>
            <p:cNvPr id="74" name="Рисунок 250">
              <a:extLst>
                <a:ext uri="{FF2B5EF4-FFF2-40B4-BE49-F238E27FC236}">
                  <a16:creationId xmlns:a16="http://schemas.microsoft.com/office/drawing/2014/main" id="{C91AC919-A4A6-4F2F-950F-3A5E7CDD39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3032"/>
            <a:stretch/>
          </p:blipFill>
          <p:spPr>
            <a:xfrm>
              <a:off x="9727001" y="4497524"/>
              <a:ext cx="296004" cy="254184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1DEAF58-EA09-4FD4-864D-930BAA31AD04}"/>
                </a:ext>
              </a:extLst>
            </p:cNvPr>
            <p:cNvSpPr txBox="1"/>
            <p:nvPr/>
          </p:nvSpPr>
          <p:spPr>
            <a:xfrm>
              <a:off x="10386854" y="4006502"/>
              <a:ext cx="1129020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Утреннее (Салмановское) м/р</a:t>
              </a:r>
            </a:p>
          </p:txBody>
        </p:sp>
        <p:pic>
          <p:nvPicPr>
            <p:cNvPr id="76" name="Рисунок 256">
              <a:extLst>
                <a:ext uri="{FF2B5EF4-FFF2-40B4-BE49-F238E27FC236}">
                  <a16:creationId xmlns:a16="http://schemas.microsoft.com/office/drawing/2014/main" id="{AD50B12E-AB3F-4CED-9DB4-653949F8CF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11479968" y="6632142"/>
              <a:ext cx="262711" cy="221177"/>
            </a:xfrm>
            <a:prstGeom prst="rect">
              <a:avLst/>
            </a:prstGeom>
          </p:spPr>
        </p:pic>
        <p:pic>
          <p:nvPicPr>
            <p:cNvPr id="77" name="Рисунок 257">
              <a:extLst>
                <a:ext uri="{FF2B5EF4-FFF2-40B4-BE49-F238E27FC236}">
                  <a16:creationId xmlns:a16="http://schemas.microsoft.com/office/drawing/2014/main" id="{44EB3F13-39E0-4F2A-83EE-8D4754275B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6953698" y="6326157"/>
              <a:ext cx="262711" cy="221177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FEF4617-3832-417F-8D35-07EE7F869B47}"/>
                </a:ext>
              </a:extLst>
            </p:cNvPr>
            <p:cNvSpPr txBox="1"/>
            <p:nvPr/>
          </p:nvSpPr>
          <p:spPr>
            <a:xfrm>
              <a:off x="10638462" y="6174555"/>
              <a:ext cx="807192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Ямбургское м/р</a:t>
              </a:r>
            </a:p>
          </p:txBody>
        </p:sp>
        <p:pic>
          <p:nvPicPr>
            <p:cNvPr id="79" name="Рисунок 259">
              <a:extLst>
                <a:ext uri="{FF2B5EF4-FFF2-40B4-BE49-F238E27FC236}">
                  <a16:creationId xmlns:a16="http://schemas.microsoft.com/office/drawing/2014/main" id="{52118F13-438B-407E-9B11-2C420CD60A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31694"/>
            <a:stretch/>
          </p:blipFill>
          <p:spPr>
            <a:xfrm>
              <a:off x="9286044" y="5768358"/>
              <a:ext cx="293779" cy="247333"/>
            </a:xfrm>
            <a:prstGeom prst="rect">
              <a:avLst/>
            </a:prstGeom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47B9344C-4459-4E2D-89E8-52DD453F88C5}"/>
                </a:ext>
              </a:extLst>
            </p:cNvPr>
            <p:cNvSpPr txBox="1"/>
            <p:nvPr/>
          </p:nvSpPr>
          <p:spPr>
            <a:xfrm>
              <a:off x="8653317" y="5612894"/>
              <a:ext cx="982583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Новопортовское м/р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E7F6E91-4BA9-4C14-A526-6D926D599539}"/>
                </a:ext>
              </a:extLst>
            </p:cNvPr>
            <p:cNvSpPr txBox="1"/>
            <p:nvPr/>
          </p:nvSpPr>
          <p:spPr>
            <a:xfrm>
              <a:off x="10059475" y="4569152"/>
              <a:ext cx="982583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Геофизическое м/р</a:t>
              </a:r>
            </a:p>
          </p:txBody>
        </p:sp>
        <p:pic>
          <p:nvPicPr>
            <p:cNvPr id="82" name="Рисунок 262">
              <a:extLst>
                <a:ext uri="{FF2B5EF4-FFF2-40B4-BE49-F238E27FC236}">
                  <a16:creationId xmlns:a16="http://schemas.microsoft.com/office/drawing/2014/main" id="{874769C4-B344-4A05-925A-5FEAE8427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3032"/>
            <a:stretch/>
          </p:blipFill>
          <p:spPr>
            <a:xfrm>
              <a:off x="9233894" y="2726574"/>
              <a:ext cx="296004" cy="254184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7128BD0B-614B-414F-B2F2-8EB3FBF273B9}"/>
                </a:ext>
              </a:extLst>
            </p:cNvPr>
            <p:cNvSpPr txBox="1"/>
            <p:nvPr/>
          </p:nvSpPr>
          <p:spPr>
            <a:xfrm>
              <a:off x="8340854" y="2576639"/>
              <a:ext cx="1213527" cy="1214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Северо-</a:t>
              </a:r>
              <a:r>
                <a:rPr kumimoji="0" lang="ru-RU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Тасийское</a:t>
              </a: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 м/р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8A4B1CF-8EE1-4141-B49B-CE1158CA1574}"/>
                </a:ext>
              </a:extLst>
            </p:cNvPr>
            <p:cNvSpPr txBox="1"/>
            <p:nvPr/>
          </p:nvSpPr>
          <p:spPr>
            <a:xfrm>
              <a:off x="10088433" y="5062237"/>
              <a:ext cx="1550968" cy="107722"/>
            </a:xfrm>
            <a:prstGeom prst="rect">
              <a:avLst/>
            </a:prstGeom>
            <a:solidFill>
              <a:schemeClr val="bg1">
                <a:alpha val="27000"/>
              </a:schemeClr>
            </a:solidFill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0">
                <a:defRPr/>
              </a:pPr>
              <a:r>
                <a:rPr lang="ru-RU" sz="700" b="1" dirty="0">
                  <a:solidFill>
                    <a:srgbClr val="686464"/>
                  </a:solidFill>
                  <a:latin typeface="+mn-lt"/>
                </a:rPr>
                <a:t>Месторождение Каменносмысское море</a:t>
              </a:r>
            </a:p>
          </p:txBody>
        </p:sp>
        <p:cxnSp>
          <p:nvCxnSpPr>
            <p:cNvPr id="85" name="Прямая соединительная линия 23">
              <a:extLst>
                <a:ext uri="{FF2B5EF4-FFF2-40B4-BE49-F238E27FC236}">
                  <a16:creationId xmlns:a16="http://schemas.microsoft.com/office/drawing/2014/main" id="{D0781D98-F1C1-42BE-B16E-B462E109416D}"/>
                </a:ext>
              </a:extLst>
            </p:cNvPr>
            <p:cNvCxnSpPr/>
            <p:nvPr/>
          </p:nvCxnSpPr>
          <p:spPr>
            <a:xfrm flipV="1">
              <a:off x="9971635" y="5123606"/>
              <a:ext cx="92040" cy="892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6" name="Рисунок 103">
              <a:extLst>
                <a:ext uri="{FF2B5EF4-FFF2-40B4-BE49-F238E27FC236}">
                  <a16:creationId xmlns:a16="http://schemas.microsoft.com/office/drawing/2014/main" id="{546B2BF1-C086-49C2-A963-7EFE912CA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2777"/>
            <a:stretch/>
          </p:blipFill>
          <p:spPr>
            <a:xfrm>
              <a:off x="12406182" y="2032985"/>
              <a:ext cx="348005" cy="297706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D472A88-7677-4694-8EFB-F02D914EC05E}"/>
                </a:ext>
              </a:extLst>
            </p:cNvPr>
            <p:cNvSpPr txBox="1"/>
            <p:nvPr/>
          </p:nvSpPr>
          <p:spPr>
            <a:xfrm>
              <a:off x="11429380" y="2106124"/>
              <a:ext cx="982583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R="0" lvl="0" indent="0" defTabSz="121917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0" i="0" u="none" strike="noStrike" kern="0" cap="none" spc="0" normalizeH="0" baseline="0">
                  <a:ln>
                    <a:noFill/>
                  </a:ln>
                  <a:solidFill>
                    <a:srgbClr val="004077"/>
                  </a:solidFill>
                  <a:effectLst/>
                  <a:uLnTx/>
                  <a:uFillTx/>
                  <a:latin typeface="Bahnschrift SemiBold" panose="020B0502040204020203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686464"/>
                  </a:solidFill>
                  <a:effectLst/>
                  <a:uLnTx/>
                  <a:uFillTx/>
                  <a:latin typeface="+mn-lt"/>
                  <a:ea typeface="+mn-ea"/>
                  <a:cs typeface="Arial" panose="020B0604020202020204" pitchFamily="34" charset="0"/>
                </a:rPr>
                <a:t>Порт «Бухта Север»</a:t>
              </a:r>
            </a:p>
          </p:txBody>
        </p:sp>
        <p:grpSp>
          <p:nvGrpSpPr>
            <p:cNvPr id="88" name="Группа 6">
              <a:extLst>
                <a:ext uri="{FF2B5EF4-FFF2-40B4-BE49-F238E27FC236}">
                  <a16:creationId xmlns:a16="http://schemas.microsoft.com/office/drawing/2014/main" id="{6B497D00-56DF-4170-BAB3-A9FEFC17E7E0}"/>
                </a:ext>
              </a:extLst>
            </p:cNvPr>
            <p:cNvGrpSpPr/>
            <p:nvPr/>
          </p:nvGrpSpPr>
          <p:grpSpPr>
            <a:xfrm>
              <a:off x="12224173" y="3438486"/>
              <a:ext cx="488652" cy="282702"/>
              <a:chOff x="6085633" y="2971561"/>
              <a:chExt cx="488652" cy="282702"/>
            </a:xfrm>
          </p:grpSpPr>
          <p:sp>
            <p:nvSpPr>
              <p:cNvPr id="93" name="Прямоугольник: скругленные углы 4">
                <a:extLst>
                  <a:ext uri="{FF2B5EF4-FFF2-40B4-BE49-F238E27FC236}">
                    <a16:creationId xmlns:a16="http://schemas.microsoft.com/office/drawing/2014/main" id="{8FD13C39-14F4-44BE-B837-0D14A36BD067}"/>
                  </a:ext>
                </a:extLst>
              </p:cNvPr>
              <p:cNvSpPr/>
              <p:nvPr/>
            </p:nvSpPr>
            <p:spPr>
              <a:xfrm>
                <a:off x="6085633" y="2971561"/>
                <a:ext cx="488652" cy="282702"/>
              </a:xfrm>
              <a:prstGeom prst="roundRect">
                <a:avLst>
                  <a:gd name="adj" fmla="val 9928"/>
                </a:avLst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4" name="Стрелка: шеврон 3">
                <a:extLst>
                  <a:ext uri="{FF2B5EF4-FFF2-40B4-BE49-F238E27FC236}">
                    <a16:creationId xmlns:a16="http://schemas.microsoft.com/office/drawing/2014/main" id="{2A002775-C000-43A4-BF20-207C04D16EFE}"/>
                  </a:ext>
                </a:extLst>
              </p:cNvPr>
              <p:cNvSpPr/>
              <p:nvPr/>
            </p:nvSpPr>
            <p:spPr>
              <a:xfrm>
                <a:off x="6476008" y="3069681"/>
                <a:ext cx="45719" cy="86462"/>
              </a:xfrm>
              <a:prstGeom prst="chevron">
                <a:avLst>
                  <a:gd name="adj" fmla="val 100000"/>
                </a:avLst>
              </a:prstGeom>
              <a:ln w="9525">
                <a:solidFill>
                  <a:srgbClr val="0070B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95" name="Рисунок 106">
                <a:extLst>
                  <a:ext uri="{FF2B5EF4-FFF2-40B4-BE49-F238E27FC236}">
                    <a16:creationId xmlns:a16="http://schemas.microsoft.com/office/drawing/2014/main" id="{C757778A-A565-4AD8-A6B1-58BC1081C41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1837" t="8960" r="42821" b="5659"/>
              <a:stretch/>
            </p:blipFill>
            <p:spPr>
              <a:xfrm>
                <a:off x="6146755" y="2992556"/>
                <a:ext cx="234724" cy="254184"/>
              </a:xfrm>
              <a:prstGeom prst="rect">
                <a:avLst/>
              </a:prstGeom>
            </p:spPr>
          </p:pic>
        </p:grpSp>
        <p:grpSp>
          <p:nvGrpSpPr>
            <p:cNvPr id="89" name="Группа 110">
              <a:extLst>
                <a:ext uri="{FF2B5EF4-FFF2-40B4-BE49-F238E27FC236}">
                  <a16:creationId xmlns:a16="http://schemas.microsoft.com/office/drawing/2014/main" id="{508A2896-2B93-4275-82FC-71DD95100A0C}"/>
                </a:ext>
              </a:extLst>
            </p:cNvPr>
            <p:cNvGrpSpPr/>
            <p:nvPr/>
          </p:nvGrpSpPr>
          <p:grpSpPr>
            <a:xfrm>
              <a:off x="11514948" y="3986489"/>
              <a:ext cx="1197875" cy="424715"/>
              <a:chOff x="7521878" y="2419969"/>
              <a:chExt cx="1337909" cy="715816"/>
            </a:xfrm>
          </p:grpSpPr>
          <p:sp>
            <p:nvSpPr>
              <p:cNvPr id="91" name="Прямоугольник 111">
                <a:extLst>
                  <a:ext uri="{FF2B5EF4-FFF2-40B4-BE49-F238E27FC236}">
                    <a16:creationId xmlns:a16="http://schemas.microsoft.com/office/drawing/2014/main" id="{21BFB8C7-E110-4CCE-A37D-9762624720C9}"/>
                  </a:ext>
                </a:extLst>
              </p:cNvPr>
              <p:cNvSpPr/>
              <p:nvPr/>
            </p:nvSpPr>
            <p:spPr>
              <a:xfrm>
                <a:off x="7521878" y="2419969"/>
                <a:ext cx="1337909" cy="715816"/>
              </a:xfrm>
              <a:prstGeom prst="rect">
                <a:avLst/>
              </a:prstGeom>
              <a:solidFill>
                <a:srgbClr val="0070BA">
                  <a:alpha val="44000"/>
                </a:srgb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2" name="Прямоугольник 112">
                <a:extLst>
                  <a:ext uri="{FF2B5EF4-FFF2-40B4-BE49-F238E27FC236}">
                    <a16:creationId xmlns:a16="http://schemas.microsoft.com/office/drawing/2014/main" id="{91448C5B-D302-4FCF-AB3A-9D8150E815F1}"/>
                  </a:ext>
                </a:extLst>
              </p:cNvPr>
              <p:cNvSpPr/>
              <p:nvPr/>
            </p:nvSpPr>
            <p:spPr>
              <a:xfrm>
                <a:off x="7571001" y="2542569"/>
                <a:ext cx="1288785" cy="491322"/>
              </a:xfrm>
              <a:prstGeom prst="rect">
                <a:avLst/>
              </a:prstGeom>
            </p:spPr>
            <p:txBody>
              <a:bodyPr wrap="square" lIns="36000" tIns="0" rIns="0" bIns="0">
                <a:spAutoFit/>
              </a:bodyPr>
              <a:lstStyle/>
              <a:p>
                <a:pPr defTabSz="1219170">
                  <a:lnSpc>
                    <a:spcPct val="80000"/>
                  </a:lnSpc>
                  <a:defRPr/>
                </a:pPr>
                <a:r>
                  <a:rPr lang="ru-RU" sz="1050" b="1" dirty="0">
                    <a:solidFill>
                      <a:schemeClr val="bg1"/>
                    </a:solidFill>
                  </a:rPr>
                  <a:t>М/р проекта</a:t>
                </a:r>
              </a:p>
              <a:p>
                <a:pPr defTabSz="1219170">
                  <a:lnSpc>
                    <a:spcPct val="80000"/>
                  </a:lnSpc>
                  <a:defRPr/>
                </a:pPr>
                <a:r>
                  <a:rPr lang="ru-RU" sz="1050" b="1" dirty="0">
                    <a:solidFill>
                      <a:schemeClr val="bg1"/>
                    </a:solidFill>
                  </a:rPr>
                  <a:t>«Восток Ойл»</a:t>
                </a:r>
              </a:p>
            </p:txBody>
          </p:sp>
        </p:grpSp>
        <p:cxnSp>
          <p:nvCxnSpPr>
            <p:cNvPr id="90" name="Соединитель: уступ 113">
              <a:extLst>
                <a:ext uri="{FF2B5EF4-FFF2-40B4-BE49-F238E27FC236}">
                  <a16:creationId xmlns:a16="http://schemas.microsoft.com/office/drawing/2014/main" id="{33EBBFEC-C4F0-48C9-B511-52DBD4C4012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341529" y="3856641"/>
              <a:ext cx="272296" cy="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70BA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8144E701-FC8E-4430-AF02-3AD9C508BFB4}"/>
              </a:ext>
            </a:extLst>
          </p:cNvPr>
          <p:cNvGrpSpPr/>
          <p:nvPr/>
        </p:nvGrpSpPr>
        <p:grpSpPr>
          <a:xfrm>
            <a:off x="6320416" y="2449337"/>
            <a:ext cx="5324370" cy="1199148"/>
            <a:chOff x="6320416" y="2184788"/>
            <a:chExt cx="5324370" cy="1199148"/>
          </a:xfrm>
        </p:grpSpPr>
        <p:sp>
          <p:nvSpPr>
            <p:cNvPr id="185" name="Rectangle: Rounded Corners 184">
              <a:extLst>
                <a:ext uri="{FF2B5EF4-FFF2-40B4-BE49-F238E27FC236}">
                  <a16:creationId xmlns:a16="http://schemas.microsoft.com/office/drawing/2014/main" id="{6A4E678A-9843-4AB5-94A6-8ECAB2276F2B}"/>
                </a:ext>
              </a:extLst>
            </p:cNvPr>
            <p:cNvSpPr/>
            <p:nvPr/>
          </p:nvSpPr>
          <p:spPr>
            <a:xfrm>
              <a:off x="6320416" y="2184788"/>
              <a:ext cx="5324370" cy="1199148"/>
            </a:xfrm>
            <a:prstGeom prst="round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>
                <a:solidFill>
                  <a:srgbClr val="3C3C3C"/>
                </a:solidFill>
                <a:latin typeface="Arial"/>
              </a:endParaRP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9FC5172F-8F59-4BA9-8BD1-327B87099261}"/>
                </a:ext>
              </a:extLst>
            </p:cNvPr>
            <p:cNvSpPr txBox="1"/>
            <p:nvPr/>
          </p:nvSpPr>
          <p:spPr>
            <a:xfrm>
              <a:off x="8134090" y="2396855"/>
              <a:ext cx="3258722" cy="77501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l">
                <a:spcBef>
                  <a:spcPts val="300"/>
                </a:spcBef>
              </a:pP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Прогнозный объем грузопереработки МТР </a:t>
              </a:r>
              <a:br>
                <a:rPr lang="ru-RU" sz="1600" b="1" dirty="0">
                  <a:solidFill>
                    <a:srgbClr val="002060"/>
                  </a:solidFill>
                  <a:latin typeface="+mj-lt"/>
                </a:rPr>
              </a:b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ГПН-С в 2025 году</a:t>
              </a:r>
            </a:p>
          </p:txBody>
        </p: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61F879C0-6A5B-4765-8166-B12368DA88C9}"/>
                </a:ext>
              </a:extLst>
            </p:cNvPr>
            <p:cNvCxnSpPr>
              <a:cxnSpLocks/>
            </p:cNvCxnSpPr>
            <p:nvPr/>
          </p:nvCxnSpPr>
          <p:spPr>
            <a:xfrm>
              <a:off x="7908997" y="2308021"/>
              <a:ext cx="0" cy="952682"/>
            </a:xfrm>
            <a:prstGeom prst="line">
              <a:avLst/>
            </a:prstGeom>
            <a:ln>
              <a:solidFill>
                <a:srgbClr val="19A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1B052D64-1B25-4D4C-B6C8-C663DD702DC3}"/>
                </a:ext>
              </a:extLst>
            </p:cNvPr>
            <p:cNvGrpSpPr/>
            <p:nvPr/>
          </p:nvGrpSpPr>
          <p:grpSpPr>
            <a:xfrm>
              <a:off x="6437257" y="2409147"/>
              <a:ext cx="1349807" cy="750431"/>
              <a:chOff x="7800279" y="2698962"/>
              <a:chExt cx="1349807" cy="750431"/>
            </a:xfrm>
          </p:grpSpPr>
          <p:sp>
            <p:nvSpPr>
              <p:cNvPr id="189" name="Прямоугольник 147">
                <a:extLst>
                  <a:ext uri="{FF2B5EF4-FFF2-40B4-BE49-F238E27FC236}">
                    <a16:creationId xmlns:a16="http://schemas.microsoft.com/office/drawing/2014/main" id="{E68BB1E5-9329-48D8-8A73-35BCB421715F}"/>
                  </a:ext>
                </a:extLst>
              </p:cNvPr>
              <p:cNvSpPr/>
              <p:nvPr/>
            </p:nvSpPr>
            <p:spPr>
              <a:xfrm>
                <a:off x="7800279" y="2698962"/>
                <a:ext cx="1349807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sz="3200" b="1" dirty="0">
                    <a:solidFill>
                      <a:srgbClr val="19A7FF"/>
                    </a:solidFill>
                    <a:latin typeface="+mj-lt"/>
                  </a:rPr>
                  <a:t>1 900</a:t>
                </a:r>
              </a:p>
            </p:txBody>
          </p:sp>
          <p:sp>
            <p:nvSpPr>
              <p:cNvPr id="190" name="Прямоугольник 148">
                <a:extLst>
                  <a:ext uri="{FF2B5EF4-FFF2-40B4-BE49-F238E27FC236}">
                    <a16:creationId xmlns:a16="http://schemas.microsoft.com/office/drawing/2014/main" id="{2CB46DE3-63FC-4170-9D00-ECF5D3383008}"/>
                  </a:ext>
                </a:extLst>
              </p:cNvPr>
              <p:cNvSpPr/>
              <p:nvPr/>
            </p:nvSpPr>
            <p:spPr>
              <a:xfrm>
                <a:off x="7867705" y="3135461"/>
                <a:ext cx="1274626" cy="3139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dirty="0">
                    <a:solidFill>
                      <a:srgbClr val="19A7FF"/>
                    </a:solidFill>
                    <a:cs typeface="Arial" panose="020B0604020202020204" pitchFamily="34" charset="0"/>
                  </a:rPr>
                  <a:t>тыс. тонн</a:t>
                </a:r>
              </a:p>
            </p:txBody>
          </p:sp>
        </p:grp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58BFBF79-D861-4E92-9954-447DB4860FB0}"/>
              </a:ext>
            </a:extLst>
          </p:cNvPr>
          <p:cNvGrpSpPr/>
          <p:nvPr/>
        </p:nvGrpSpPr>
        <p:grpSpPr>
          <a:xfrm>
            <a:off x="6320416" y="4194472"/>
            <a:ext cx="5324370" cy="1199148"/>
            <a:chOff x="6320416" y="3677722"/>
            <a:chExt cx="5324370" cy="1199148"/>
          </a:xfrm>
        </p:grpSpPr>
        <p:sp>
          <p:nvSpPr>
            <p:cNvPr id="191" name="Rectangle: Rounded Corners 190">
              <a:extLst>
                <a:ext uri="{FF2B5EF4-FFF2-40B4-BE49-F238E27FC236}">
                  <a16:creationId xmlns:a16="http://schemas.microsoft.com/office/drawing/2014/main" id="{9E6ED038-D9B6-43FC-959A-0340A31FCB4B}"/>
                </a:ext>
              </a:extLst>
            </p:cNvPr>
            <p:cNvSpPr/>
            <p:nvPr/>
          </p:nvSpPr>
          <p:spPr>
            <a:xfrm>
              <a:off x="6320416" y="3677722"/>
              <a:ext cx="5324370" cy="1199148"/>
            </a:xfrm>
            <a:prstGeom prst="round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266700" dist="88900" dir="5400000" sx="96000" sy="96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>
                <a:solidFill>
                  <a:srgbClr val="3C3C3C"/>
                </a:solidFill>
                <a:latin typeface="Arial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6EC0426B-9672-45E8-B104-151556CF3DF2}"/>
                </a:ext>
              </a:extLst>
            </p:cNvPr>
            <p:cNvSpPr txBox="1"/>
            <p:nvPr/>
          </p:nvSpPr>
          <p:spPr>
            <a:xfrm>
              <a:off x="8134089" y="3889789"/>
              <a:ext cx="3362507" cy="77501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l">
                <a:spcBef>
                  <a:spcPts val="300"/>
                </a:spcBef>
              </a:pP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Доля грузопотока приходящаяся </a:t>
              </a:r>
              <a:br>
                <a:rPr lang="ru-RU" sz="1600" b="1" dirty="0">
                  <a:solidFill>
                    <a:srgbClr val="002060"/>
                  </a:solidFill>
                  <a:latin typeface="+mj-lt"/>
                </a:rPr>
              </a:br>
              <a:r>
                <a:rPr lang="ru-RU" sz="1600" b="1" dirty="0">
                  <a:solidFill>
                    <a:srgbClr val="002060"/>
                  </a:solidFill>
                  <a:latin typeface="+mj-lt"/>
                </a:rPr>
                <a:t>на производственный комплекс «Обской причал»</a:t>
              </a: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CF66A6E0-9985-4751-B0AC-7AB820AEA28D}"/>
                </a:ext>
              </a:extLst>
            </p:cNvPr>
            <p:cNvCxnSpPr>
              <a:cxnSpLocks/>
            </p:cNvCxnSpPr>
            <p:nvPr/>
          </p:nvCxnSpPr>
          <p:spPr>
            <a:xfrm>
              <a:off x="7908997" y="3800955"/>
              <a:ext cx="0" cy="952682"/>
            </a:xfrm>
            <a:prstGeom prst="line">
              <a:avLst/>
            </a:prstGeom>
            <a:ln>
              <a:solidFill>
                <a:srgbClr val="19A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3DDB386B-0C8C-4295-8735-914491312EAF}"/>
                </a:ext>
              </a:extLst>
            </p:cNvPr>
            <p:cNvGrpSpPr/>
            <p:nvPr/>
          </p:nvGrpSpPr>
          <p:grpSpPr>
            <a:xfrm>
              <a:off x="6437257" y="3881789"/>
              <a:ext cx="1349807" cy="791014"/>
              <a:chOff x="6437257" y="3891896"/>
              <a:chExt cx="1349807" cy="791014"/>
            </a:xfrm>
          </p:grpSpPr>
          <p:sp>
            <p:nvSpPr>
              <p:cNvPr id="195" name="Прямоугольник 147">
                <a:extLst>
                  <a:ext uri="{FF2B5EF4-FFF2-40B4-BE49-F238E27FC236}">
                    <a16:creationId xmlns:a16="http://schemas.microsoft.com/office/drawing/2014/main" id="{B7F94C12-7616-4DD0-AADA-45C9A47446BF}"/>
                  </a:ext>
                </a:extLst>
              </p:cNvPr>
              <p:cNvSpPr/>
              <p:nvPr/>
            </p:nvSpPr>
            <p:spPr>
              <a:xfrm>
                <a:off x="6437257" y="4196623"/>
                <a:ext cx="1349807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sz="3200" b="1" dirty="0">
                    <a:solidFill>
                      <a:srgbClr val="19A7FF"/>
                    </a:solidFill>
                    <a:latin typeface="+mj-lt"/>
                  </a:rPr>
                  <a:t>50%</a:t>
                </a:r>
              </a:p>
            </p:txBody>
          </p:sp>
          <p:sp>
            <p:nvSpPr>
              <p:cNvPr id="196" name="Прямоугольник 148">
                <a:extLst>
                  <a:ext uri="{FF2B5EF4-FFF2-40B4-BE49-F238E27FC236}">
                    <a16:creationId xmlns:a16="http://schemas.microsoft.com/office/drawing/2014/main" id="{D7291B81-53F6-44A1-9EDD-405090A5D003}"/>
                  </a:ext>
                </a:extLst>
              </p:cNvPr>
              <p:cNvSpPr/>
              <p:nvPr/>
            </p:nvSpPr>
            <p:spPr>
              <a:xfrm>
                <a:off x="6504683" y="3891896"/>
                <a:ext cx="1274626" cy="3139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  <a:spcAft>
                    <a:spcPts val="0"/>
                  </a:spcAft>
                </a:pPr>
                <a:r>
                  <a:rPr lang="ru-RU" dirty="0">
                    <a:solidFill>
                      <a:srgbClr val="19A7FF"/>
                    </a:solidFill>
                    <a:cs typeface="Arial" panose="020B0604020202020204" pitchFamily="34" charset="0"/>
                  </a:rPr>
                  <a:t>до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2654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Скругленный прямоугольник 6">
            <a:extLst>
              <a:ext uri="{FF2B5EF4-FFF2-40B4-BE49-F238E27FC236}">
                <a16:creationId xmlns:a16="http://schemas.microsoft.com/office/drawing/2014/main" id="{69D0E63C-FA9C-49FD-B797-2EEEC324096E}"/>
              </a:ext>
            </a:extLst>
          </p:cNvPr>
          <p:cNvSpPr/>
          <p:nvPr/>
        </p:nvSpPr>
        <p:spPr>
          <a:xfrm>
            <a:off x="4030692" y="1217308"/>
            <a:ext cx="3756382" cy="5640692"/>
          </a:xfrm>
          <a:prstGeom prst="round2SameRect">
            <a:avLst>
              <a:gd name="adj1" fmla="val 4371"/>
              <a:gd name="adj2" fmla="val 0"/>
            </a:avLst>
          </a:prstGeom>
          <a:solidFill>
            <a:schemeClr val="bg1"/>
          </a:solidFill>
          <a:ln w="12700">
            <a:noFill/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dirty="0"/>
          </a:p>
        </p:txBody>
      </p:sp>
      <p:sp>
        <p:nvSpPr>
          <p:cNvPr id="49" name="Скругленный прямоугольник 6">
            <a:extLst>
              <a:ext uri="{FF2B5EF4-FFF2-40B4-BE49-F238E27FC236}">
                <a16:creationId xmlns:a16="http://schemas.microsoft.com/office/drawing/2014/main" id="{116901B4-42EA-4EA6-9AD8-81EC146B5F37}"/>
              </a:ext>
            </a:extLst>
          </p:cNvPr>
          <p:cNvSpPr/>
          <p:nvPr/>
        </p:nvSpPr>
        <p:spPr>
          <a:xfrm>
            <a:off x="8046257" y="1217308"/>
            <a:ext cx="3756382" cy="5640692"/>
          </a:xfrm>
          <a:prstGeom prst="round2SameRect">
            <a:avLst>
              <a:gd name="adj1" fmla="val 4371"/>
              <a:gd name="adj2" fmla="val 0"/>
            </a:avLst>
          </a:prstGeom>
          <a:solidFill>
            <a:schemeClr val="bg1"/>
          </a:solidFill>
          <a:ln w="12700">
            <a:noFill/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dirty="0"/>
          </a:p>
        </p:txBody>
      </p:sp>
      <p:sp>
        <p:nvSpPr>
          <p:cNvPr id="50" name="Скругленный прямоугольник 6">
            <a:extLst>
              <a:ext uri="{FF2B5EF4-FFF2-40B4-BE49-F238E27FC236}">
                <a16:creationId xmlns:a16="http://schemas.microsoft.com/office/drawing/2014/main" id="{7A9C337D-F27B-4AE2-963B-A15BD78F526C}"/>
              </a:ext>
            </a:extLst>
          </p:cNvPr>
          <p:cNvSpPr/>
          <p:nvPr/>
        </p:nvSpPr>
        <p:spPr>
          <a:xfrm>
            <a:off x="386923" y="1217308"/>
            <a:ext cx="3384586" cy="5640692"/>
          </a:xfrm>
          <a:prstGeom prst="round2SameRect">
            <a:avLst>
              <a:gd name="adj1" fmla="val 4371"/>
              <a:gd name="adj2" fmla="val 0"/>
            </a:avLst>
          </a:prstGeom>
          <a:solidFill>
            <a:schemeClr val="bg1"/>
          </a:solidFill>
          <a:ln w="12700">
            <a:noFill/>
          </a:ln>
          <a:effectLst>
            <a:outerShdw blurRad="266700" dist="88900" dir="5400000" sx="96000" sy="96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>
              <a:spcBef>
                <a:spcPts val="600"/>
              </a:spcBef>
            </a:pPr>
            <a:endParaRPr lang="ru-RU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64C25A5-CB8B-48A2-9D9A-A3CFE25CA513}"/>
              </a:ext>
            </a:extLst>
          </p:cNvPr>
          <p:cNvSpPr txBox="1"/>
          <p:nvPr/>
        </p:nvSpPr>
        <p:spPr>
          <a:xfrm>
            <a:off x="616757" y="4232283"/>
            <a:ext cx="2925507" cy="52835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+mj-lt"/>
              </a:rPr>
              <a:t>КРАНОВАЯ ТЕХНИКА</a:t>
            </a:r>
          </a:p>
          <a:p>
            <a:pPr marR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+mj-lt"/>
              </a:rPr>
              <a:t>НА РАДИОУПРАВЛЕНИИ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860281D-FB8B-4E0E-AE3D-9A0439CFD6A4}"/>
              </a:ext>
            </a:extLst>
          </p:cNvPr>
          <p:cNvSpPr txBox="1"/>
          <p:nvPr/>
        </p:nvSpPr>
        <p:spPr>
          <a:xfrm>
            <a:off x="4259272" y="4235842"/>
            <a:ext cx="3433708" cy="52123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>
              <a:lnSpc>
                <a:spcPts val="1700"/>
              </a:lnSpc>
              <a:buClrTx/>
              <a:defRPr/>
            </a:pPr>
            <a:r>
              <a:rPr lang="ru-RU" sz="1400" b="1" dirty="0">
                <a:solidFill>
                  <a:srgbClr val="002060"/>
                </a:solidFill>
                <a:latin typeface="+mj-lt"/>
              </a:rPr>
              <a:t>БЕСПИЛОТНЫЕ ЭЛЕКТРИЧЕСКИЕ ТЕХНОЛОГИИ ДЛЯ ПЕРЕМЕЩЕНИЯ ГРУЗОВ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44909E3-4134-46B9-B4FA-18467A3480C6}"/>
              </a:ext>
            </a:extLst>
          </p:cNvPr>
          <p:cNvSpPr txBox="1"/>
          <p:nvPr/>
        </p:nvSpPr>
        <p:spPr>
          <a:xfrm>
            <a:off x="8364912" y="4344846"/>
            <a:ext cx="2783609" cy="3032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+mj-lt"/>
              </a:rPr>
              <a:t>ИНВЕНТАРИЗАЦИЯ ДРОНАМИ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2440956-8394-45D1-8F2F-18EBC6A44845}"/>
              </a:ext>
            </a:extLst>
          </p:cNvPr>
          <p:cNvGrpSpPr/>
          <p:nvPr/>
        </p:nvGrpSpPr>
        <p:grpSpPr>
          <a:xfrm>
            <a:off x="8364912" y="1592695"/>
            <a:ext cx="3119072" cy="2532798"/>
            <a:chOff x="8298989" y="1132423"/>
            <a:chExt cx="3321515" cy="2841797"/>
          </a:xfrm>
        </p:grpSpPr>
        <p:pic>
          <p:nvPicPr>
            <p:cNvPr id="55" name="Рисунок 77">
              <a:extLst>
                <a:ext uri="{FF2B5EF4-FFF2-40B4-BE49-F238E27FC236}">
                  <a16:creationId xmlns:a16="http://schemas.microsoft.com/office/drawing/2014/main" id="{3805AEA6-3FF0-4145-84AF-BB5B6811A2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9566" b="34021"/>
            <a:stretch/>
          </p:blipFill>
          <p:spPr>
            <a:xfrm>
              <a:off x="8298992" y="1132423"/>
              <a:ext cx="3321512" cy="1224000"/>
            </a:xfrm>
            <a:prstGeom prst="roundRect">
              <a:avLst>
                <a:gd name="adj" fmla="val 5020"/>
              </a:avLst>
            </a:prstGeom>
          </p:spPr>
        </p:pic>
        <p:pic>
          <p:nvPicPr>
            <p:cNvPr id="56" name="Рисунок 78">
              <a:extLst>
                <a:ext uri="{FF2B5EF4-FFF2-40B4-BE49-F238E27FC236}">
                  <a16:creationId xmlns:a16="http://schemas.microsoft.com/office/drawing/2014/main" id="{7ADBAF55-4332-4639-B719-9131D47C9A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3522" r="18378"/>
            <a:stretch/>
          </p:blipFill>
          <p:spPr>
            <a:xfrm>
              <a:off x="8298989" y="2528900"/>
              <a:ext cx="1513287" cy="1445109"/>
            </a:xfrm>
            <a:prstGeom prst="roundRect">
              <a:avLst>
                <a:gd name="adj" fmla="val 4980"/>
              </a:avLst>
            </a:prstGeom>
            <a:blipFill>
              <a:blip r:embed="rId4"/>
              <a:stretch>
                <a:fillRect/>
              </a:stretch>
            </a:blipFill>
          </p:spPr>
        </p:pic>
        <p:pic>
          <p:nvPicPr>
            <p:cNvPr id="57" name="Рисунок 79">
              <a:extLst>
                <a:ext uri="{FF2B5EF4-FFF2-40B4-BE49-F238E27FC236}">
                  <a16:creationId xmlns:a16="http://schemas.microsoft.com/office/drawing/2014/main" id="{FEF912C3-E7BE-49FF-AA82-9723FB9D1E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3822" r="8178"/>
            <a:stretch/>
          </p:blipFill>
          <p:spPr>
            <a:xfrm>
              <a:off x="9979827" y="2528900"/>
              <a:ext cx="1640673" cy="1445320"/>
            </a:xfrm>
            <a:prstGeom prst="roundRect">
              <a:avLst>
                <a:gd name="adj" fmla="val 4982"/>
              </a:avLst>
            </a:prstGeom>
          </p:spPr>
        </p:pic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0A0306AA-CB5C-4D27-969C-F8519B921E65}"/>
              </a:ext>
            </a:extLst>
          </p:cNvPr>
          <p:cNvSpPr txBox="1"/>
          <p:nvPr/>
        </p:nvSpPr>
        <p:spPr>
          <a:xfrm>
            <a:off x="715037" y="5908909"/>
            <a:ext cx="783869" cy="44563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на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10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9A7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0758389-021F-4FFF-BE76-D2E0BB35D875}"/>
              </a:ext>
            </a:extLst>
          </p:cNvPr>
          <p:cNvSpPr txBox="1"/>
          <p:nvPr/>
        </p:nvSpPr>
        <p:spPr>
          <a:xfrm>
            <a:off x="1895591" y="5901255"/>
            <a:ext cx="2191964" cy="416396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300" dirty="0"/>
              <a:t>Ускорение погрузо-разгрузочных работ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BD9482E-92A7-4C9E-B3F1-42AE22BFCB12}"/>
              </a:ext>
            </a:extLst>
          </p:cNvPr>
          <p:cNvSpPr txBox="1"/>
          <p:nvPr/>
        </p:nvSpPr>
        <p:spPr>
          <a:xfrm>
            <a:off x="700995" y="5195057"/>
            <a:ext cx="797911" cy="44563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до </a:t>
            </a:r>
            <a:r>
              <a:rPr lang="ru-RU" sz="2800" dirty="0">
                <a:solidFill>
                  <a:srgbClr val="19A7FF"/>
                </a:solidFill>
                <a:latin typeface="+mj-lt"/>
              </a:rPr>
              <a:t>30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9A7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F7D5E66-B0EB-4DA0-B5EB-078C1E3BDEF2}"/>
              </a:ext>
            </a:extLst>
          </p:cNvPr>
          <p:cNvSpPr txBox="1"/>
          <p:nvPr/>
        </p:nvSpPr>
        <p:spPr>
          <a:xfrm>
            <a:off x="1895591" y="5043608"/>
            <a:ext cx="1976966" cy="57644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R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/>
            </a:pPr>
            <a:r>
              <a:rPr lang="ru-RU" sz="1300" dirty="0"/>
              <a:t>Снижение стоимости погрузо-разгрузочных работ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E8DC7E4-112B-4061-8372-1B71834DE708}"/>
              </a:ext>
            </a:extLst>
          </p:cNvPr>
          <p:cNvSpPr txBox="1"/>
          <p:nvPr/>
        </p:nvSpPr>
        <p:spPr>
          <a:xfrm>
            <a:off x="4439073" y="5195057"/>
            <a:ext cx="797912" cy="44563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до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40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9A7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3" name="Прямая соединительная линия 90">
            <a:extLst>
              <a:ext uri="{FF2B5EF4-FFF2-40B4-BE49-F238E27FC236}">
                <a16:creationId xmlns:a16="http://schemas.microsoft.com/office/drawing/2014/main" id="{E2CDB7B8-9BE5-49C6-8BA4-71B46B993F58}"/>
              </a:ext>
            </a:extLst>
          </p:cNvPr>
          <p:cNvCxnSpPr>
            <a:cxnSpLocks/>
          </p:cNvCxnSpPr>
          <p:nvPr/>
        </p:nvCxnSpPr>
        <p:spPr>
          <a:xfrm flipV="1">
            <a:off x="5391429" y="5139460"/>
            <a:ext cx="0" cy="448428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74C88532-8E4A-41BC-852B-65CBEEEC1A7F}"/>
              </a:ext>
            </a:extLst>
          </p:cNvPr>
          <p:cNvSpPr txBox="1"/>
          <p:nvPr/>
        </p:nvSpPr>
        <p:spPr>
          <a:xfrm>
            <a:off x="5530601" y="5123630"/>
            <a:ext cx="2518414" cy="416396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R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/>
              <a:t>Сокращение затрат </a:t>
            </a:r>
            <a:br>
              <a:rPr lang="ru-RU" sz="1300" dirty="0"/>
            </a:br>
            <a:r>
              <a:rPr lang="ru-RU" sz="1300" dirty="0"/>
              <a:t>на транспортировку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A43B427-E706-4D39-B352-804CFF52AEDA}"/>
              </a:ext>
            </a:extLst>
          </p:cNvPr>
          <p:cNvSpPr txBox="1"/>
          <p:nvPr/>
        </p:nvSpPr>
        <p:spPr>
          <a:xfrm>
            <a:off x="4439073" y="5908909"/>
            <a:ext cx="797912" cy="44563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до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99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9A7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38E2A89-D8A6-4396-B27C-AB38373EFD39}"/>
              </a:ext>
            </a:extLst>
          </p:cNvPr>
          <p:cNvSpPr txBox="1"/>
          <p:nvPr/>
        </p:nvSpPr>
        <p:spPr>
          <a:xfrm>
            <a:off x="5530602" y="5792801"/>
            <a:ext cx="1978220" cy="57644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300" dirty="0"/>
              <a:t>Снижение вредных выбросов </a:t>
            </a:r>
            <a:br>
              <a:rPr lang="en-US" sz="1300" dirty="0"/>
            </a:br>
            <a:r>
              <a:rPr lang="ru-RU" sz="1300" dirty="0"/>
              <a:t>в окружающую среду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433CB33-80BF-4DB6-9F12-722C54976B49}"/>
              </a:ext>
            </a:extLst>
          </p:cNvPr>
          <p:cNvSpPr txBox="1"/>
          <p:nvPr/>
        </p:nvSpPr>
        <p:spPr>
          <a:xfrm>
            <a:off x="8557548" y="5043353"/>
            <a:ext cx="966611" cy="44563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на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100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9A7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98">
            <a:extLst>
              <a:ext uri="{FF2B5EF4-FFF2-40B4-BE49-F238E27FC236}">
                <a16:creationId xmlns:a16="http://schemas.microsoft.com/office/drawing/2014/main" id="{ED15B32E-FC5C-45B9-BD3B-CB3B4002115E}"/>
              </a:ext>
            </a:extLst>
          </p:cNvPr>
          <p:cNvCxnSpPr>
            <a:cxnSpLocks/>
          </p:cNvCxnSpPr>
          <p:nvPr/>
        </p:nvCxnSpPr>
        <p:spPr>
          <a:xfrm flipV="1">
            <a:off x="9596167" y="4949570"/>
            <a:ext cx="0" cy="448428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C82EC68-94F7-4E2A-9993-C4BB47DF2D18}"/>
              </a:ext>
            </a:extLst>
          </p:cNvPr>
          <p:cNvSpPr txBox="1"/>
          <p:nvPr/>
        </p:nvSpPr>
        <p:spPr>
          <a:xfrm>
            <a:off x="9782838" y="4971926"/>
            <a:ext cx="2004535" cy="416396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R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/>
              <a:t>Сокращение ошибок </a:t>
            </a:r>
            <a:br>
              <a:rPr lang="en-US" sz="1300" dirty="0"/>
            </a:br>
            <a:r>
              <a:rPr lang="ru-RU" sz="1300" dirty="0"/>
              <a:t>при инвентаризации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67146A7-0509-4F14-B0FC-F6D4E452BA71}"/>
              </a:ext>
            </a:extLst>
          </p:cNvPr>
          <p:cNvSpPr txBox="1"/>
          <p:nvPr/>
        </p:nvSpPr>
        <p:spPr>
          <a:xfrm>
            <a:off x="8628080" y="5908909"/>
            <a:ext cx="896079" cy="44563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в 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4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9A7FF"/>
                </a:solidFill>
                <a:effectLst/>
                <a:uLnTx/>
                <a:uFillTx/>
                <a:ea typeface="+mn-ea"/>
                <a:cs typeface="+mn-cs"/>
              </a:rPr>
              <a:t>раз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9A7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71" name="Прямая соединительная линия 94">
            <a:extLst>
              <a:ext uri="{FF2B5EF4-FFF2-40B4-BE49-F238E27FC236}">
                <a16:creationId xmlns:a16="http://schemas.microsoft.com/office/drawing/2014/main" id="{FDC86B94-F0F8-4E33-B422-CB2F5DD40060}"/>
              </a:ext>
            </a:extLst>
          </p:cNvPr>
          <p:cNvCxnSpPr>
            <a:cxnSpLocks/>
          </p:cNvCxnSpPr>
          <p:nvPr/>
        </p:nvCxnSpPr>
        <p:spPr>
          <a:xfrm flipV="1">
            <a:off x="5391429" y="5846844"/>
            <a:ext cx="0" cy="52485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102">
            <a:extLst>
              <a:ext uri="{FF2B5EF4-FFF2-40B4-BE49-F238E27FC236}">
                <a16:creationId xmlns:a16="http://schemas.microsoft.com/office/drawing/2014/main" id="{B1B62EFC-0DBB-4B25-987C-9676B4D5037A}"/>
              </a:ext>
            </a:extLst>
          </p:cNvPr>
          <p:cNvCxnSpPr>
            <a:cxnSpLocks/>
          </p:cNvCxnSpPr>
          <p:nvPr/>
        </p:nvCxnSpPr>
        <p:spPr>
          <a:xfrm flipV="1">
            <a:off x="9596167" y="5661694"/>
            <a:ext cx="0" cy="736484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123">
            <a:extLst>
              <a:ext uri="{FF2B5EF4-FFF2-40B4-BE49-F238E27FC236}">
                <a16:creationId xmlns:a16="http://schemas.microsoft.com/office/drawing/2014/main" id="{04B2D199-67FF-4477-B7D6-EF2B634F28F7}"/>
              </a:ext>
            </a:extLst>
          </p:cNvPr>
          <p:cNvCxnSpPr>
            <a:cxnSpLocks/>
          </p:cNvCxnSpPr>
          <p:nvPr/>
        </p:nvCxnSpPr>
        <p:spPr>
          <a:xfrm flipV="1">
            <a:off x="1711291" y="5846844"/>
            <a:ext cx="0" cy="524850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3AF4E959-36F2-41BA-B929-8593AF0206AF}"/>
              </a:ext>
            </a:extLst>
          </p:cNvPr>
          <p:cNvSpPr txBox="1"/>
          <p:nvPr/>
        </p:nvSpPr>
        <p:spPr>
          <a:xfrm>
            <a:off x="9782838" y="5661694"/>
            <a:ext cx="2081581" cy="73648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300" dirty="0"/>
              <a:t>Повышение скорости получения актуальной информации о МТР</a:t>
            </a:r>
            <a:br>
              <a:rPr lang="en-US" sz="1300" dirty="0"/>
            </a:br>
            <a:r>
              <a:rPr lang="ru-RU" sz="1300" dirty="0"/>
              <a:t>на складе 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2FF6E32-D60C-4639-B761-61BC8E795F87}"/>
              </a:ext>
            </a:extLst>
          </p:cNvPr>
          <p:cNvGrpSpPr/>
          <p:nvPr/>
        </p:nvGrpSpPr>
        <p:grpSpPr>
          <a:xfrm>
            <a:off x="4259272" y="1592695"/>
            <a:ext cx="3299223" cy="2537498"/>
            <a:chOff x="4351693" y="1147931"/>
            <a:chExt cx="3645918" cy="2804148"/>
          </a:xfrm>
        </p:grpSpPr>
        <p:grpSp>
          <p:nvGrpSpPr>
            <p:cNvPr id="75" name="Группа 104">
              <a:extLst>
                <a:ext uri="{FF2B5EF4-FFF2-40B4-BE49-F238E27FC236}">
                  <a16:creationId xmlns:a16="http://schemas.microsoft.com/office/drawing/2014/main" id="{820E8FD4-AD56-4DA7-958D-0FB9DA62F836}"/>
                </a:ext>
              </a:extLst>
            </p:cNvPr>
            <p:cNvGrpSpPr/>
            <p:nvPr/>
          </p:nvGrpSpPr>
          <p:grpSpPr>
            <a:xfrm>
              <a:off x="4353849" y="2541215"/>
              <a:ext cx="1715460" cy="1410864"/>
              <a:chOff x="4238057" y="2450601"/>
              <a:chExt cx="1828779" cy="1565584"/>
            </a:xfrm>
          </p:grpSpPr>
          <p:pic>
            <p:nvPicPr>
              <p:cNvPr id="76" name="Рисунок 105">
                <a:extLst>
                  <a:ext uri="{FF2B5EF4-FFF2-40B4-BE49-F238E27FC236}">
                    <a16:creationId xmlns:a16="http://schemas.microsoft.com/office/drawing/2014/main" id="{06B9DD8E-E465-4FC5-AD6D-640340E0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l="13522" r="18378"/>
              <a:stretch/>
            </p:blipFill>
            <p:spPr>
              <a:xfrm>
                <a:off x="4238057" y="2450601"/>
                <a:ext cx="1828779" cy="1565584"/>
              </a:xfrm>
              <a:prstGeom prst="roundRect">
                <a:avLst>
                  <a:gd name="adj" fmla="val 4980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</p:pic>
          <p:grpSp>
            <p:nvGrpSpPr>
              <p:cNvPr id="77" name="Группа 3">
                <a:extLst>
                  <a:ext uri="{FF2B5EF4-FFF2-40B4-BE49-F238E27FC236}">
                    <a16:creationId xmlns:a16="http://schemas.microsoft.com/office/drawing/2014/main" id="{E16009FD-4ECB-4BBA-B211-54CB7F1E6BB7}"/>
                  </a:ext>
                </a:extLst>
              </p:cNvPr>
              <p:cNvGrpSpPr/>
              <p:nvPr/>
            </p:nvGrpSpPr>
            <p:grpSpPr>
              <a:xfrm>
                <a:off x="4357439" y="2642395"/>
                <a:ext cx="1556029" cy="1193374"/>
                <a:chOff x="4116589" y="1255494"/>
                <a:chExt cx="3099941" cy="2249031"/>
              </a:xfrm>
            </p:grpSpPr>
            <p:pic>
              <p:nvPicPr>
                <p:cNvPr id="78" name="Рисунок 158">
                  <a:extLst>
                    <a:ext uri="{FF2B5EF4-FFF2-40B4-BE49-F238E27FC236}">
                      <a16:creationId xmlns:a16="http://schemas.microsoft.com/office/drawing/2014/main" id="{B00517ED-630B-4CE8-B5B7-71C929DF5E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rcRect l="37278" t="23739" r="9776" b="7972"/>
                <a:stretch>
                  <a:fillRect/>
                </a:stretch>
              </p:blipFill>
              <p:spPr>
                <a:xfrm flipH="1">
                  <a:off x="4116589" y="1255494"/>
                  <a:ext cx="3099941" cy="2249031"/>
                </a:xfrm>
                <a:custGeom>
                  <a:avLst/>
                  <a:gdLst>
                    <a:gd name="connsiteX0" fmla="*/ 1470025 w 3516313"/>
                    <a:gd name="connsiteY0" fmla="*/ 0 h 2551112"/>
                    <a:gd name="connsiteX1" fmla="*/ 1720850 w 3516313"/>
                    <a:gd name="connsiteY1" fmla="*/ 33337 h 2551112"/>
                    <a:gd name="connsiteX2" fmla="*/ 1803400 w 3516313"/>
                    <a:gd name="connsiteY2" fmla="*/ 111125 h 2551112"/>
                    <a:gd name="connsiteX3" fmla="*/ 1847850 w 3516313"/>
                    <a:gd name="connsiteY3" fmla="*/ 244475 h 2551112"/>
                    <a:gd name="connsiteX4" fmla="*/ 1839913 w 3516313"/>
                    <a:gd name="connsiteY4" fmla="*/ 276225 h 2551112"/>
                    <a:gd name="connsiteX5" fmla="*/ 1865313 w 3516313"/>
                    <a:gd name="connsiteY5" fmla="*/ 306387 h 2551112"/>
                    <a:gd name="connsiteX6" fmla="*/ 1898650 w 3516313"/>
                    <a:gd name="connsiteY6" fmla="*/ 989012 h 2551112"/>
                    <a:gd name="connsiteX7" fmla="*/ 1900365 w 3516313"/>
                    <a:gd name="connsiteY7" fmla="*/ 980727 h 2551112"/>
                    <a:gd name="connsiteX8" fmla="*/ 1927225 w 3516313"/>
                    <a:gd name="connsiteY8" fmla="*/ 1577975 h 2551112"/>
                    <a:gd name="connsiteX9" fmla="*/ 2806537 w 3516313"/>
                    <a:gd name="connsiteY9" fmla="*/ 1606310 h 2551112"/>
                    <a:gd name="connsiteX10" fmla="*/ 2806700 w 3516313"/>
                    <a:gd name="connsiteY10" fmla="*/ 1606550 h 2551112"/>
                    <a:gd name="connsiteX11" fmla="*/ 2828925 w 3516313"/>
                    <a:gd name="connsiteY11" fmla="*/ 1609725 h 2551112"/>
                    <a:gd name="connsiteX12" fmla="*/ 2846388 w 3516313"/>
                    <a:gd name="connsiteY12" fmla="*/ 1612900 h 2551112"/>
                    <a:gd name="connsiteX13" fmla="*/ 2863850 w 3516313"/>
                    <a:gd name="connsiteY13" fmla="*/ 1612900 h 2551112"/>
                    <a:gd name="connsiteX14" fmla="*/ 3509963 w 3516313"/>
                    <a:gd name="connsiteY14" fmla="*/ 1636712 h 2551112"/>
                    <a:gd name="connsiteX15" fmla="*/ 3516313 w 3516313"/>
                    <a:gd name="connsiteY15" fmla="*/ 1692275 h 2551112"/>
                    <a:gd name="connsiteX16" fmla="*/ 3443288 w 3516313"/>
                    <a:gd name="connsiteY16" fmla="*/ 1687512 h 2551112"/>
                    <a:gd name="connsiteX17" fmla="*/ 3443288 w 3516313"/>
                    <a:gd name="connsiteY17" fmla="*/ 1988792 h 2551112"/>
                    <a:gd name="connsiteX18" fmla="*/ 3421063 w 3516313"/>
                    <a:gd name="connsiteY18" fmla="*/ 2012950 h 2551112"/>
                    <a:gd name="connsiteX19" fmla="*/ 3419475 w 3516313"/>
                    <a:gd name="connsiteY19" fmla="*/ 2139950 h 2551112"/>
                    <a:gd name="connsiteX20" fmla="*/ 3389313 w 3516313"/>
                    <a:gd name="connsiteY20" fmla="*/ 2249487 h 2551112"/>
                    <a:gd name="connsiteX21" fmla="*/ 3344863 w 3516313"/>
                    <a:gd name="connsiteY21" fmla="*/ 2306637 h 2551112"/>
                    <a:gd name="connsiteX22" fmla="*/ 3265488 w 3516313"/>
                    <a:gd name="connsiteY22" fmla="*/ 2316162 h 2551112"/>
                    <a:gd name="connsiteX23" fmla="*/ 3176588 w 3516313"/>
                    <a:gd name="connsiteY23" fmla="*/ 2311400 h 2551112"/>
                    <a:gd name="connsiteX24" fmla="*/ 3132138 w 3516313"/>
                    <a:gd name="connsiteY24" fmla="*/ 2263775 h 2551112"/>
                    <a:gd name="connsiteX25" fmla="*/ 3098800 w 3516313"/>
                    <a:gd name="connsiteY25" fmla="*/ 2157412 h 2551112"/>
                    <a:gd name="connsiteX26" fmla="*/ 2257425 w 3516313"/>
                    <a:gd name="connsiteY26" fmla="*/ 2278062 h 2551112"/>
                    <a:gd name="connsiteX27" fmla="*/ 2257425 w 3516313"/>
                    <a:gd name="connsiteY27" fmla="*/ 2339291 h 2551112"/>
                    <a:gd name="connsiteX28" fmla="*/ 2254250 w 3516313"/>
                    <a:gd name="connsiteY28" fmla="*/ 2339975 h 2551112"/>
                    <a:gd name="connsiteX29" fmla="*/ 2208213 w 3516313"/>
                    <a:gd name="connsiteY29" fmla="*/ 2457450 h 2551112"/>
                    <a:gd name="connsiteX30" fmla="*/ 2144713 w 3516313"/>
                    <a:gd name="connsiteY30" fmla="*/ 2519362 h 2551112"/>
                    <a:gd name="connsiteX31" fmla="*/ 2078038 w 3516313"/>
                    <a:gd name="connsiteY31" fmla="*/ 2549525 h 2551112"/>
                    <a:gd name="connsiteX32" fmla="*/ 1890713 w 3516313"/>
                    <a:gd name="connsiteY32" fmla="*/ 2551112 h 2551112"/>
                    <a:gd name="connsiteX33" fmla="*/ 1811338 w 3516313"/>
                    <a:gd name="connsiteY33" fmla="*/ 2463800 h 2551112"/>
                    <a:gd name="connsiteX34" fmla="*/ 1757363 w 3516313"/>
                    <a:gd name="connsiteY34" fmla="*/ 2338387 h 2551112"/>
                    <a:gd name="connsiteX35" fmla="*/ 1747838 w 3516313"/>
                    <a:gd name="connsiteY35" fmla="*/ 2287587 h 2551112"/>
                    <a:gd name="connsiteX36" fmla="*/ 1700213 w 3516313"/>
                    <a:gd name="connsiteY36" fmla="*/ 2327275 h 2551112"/>
                    <a:gd name="connsiteX37" fmla="*/ 1255713 w 3516313"/>
                    <a:gd name="connsiteY37" fmla="*/ 2308225 h 2551112"/>
                    <a:gd name="connsiteX38" fmla="*/ 1143000 w 3516313"/>
                    <a:gd name="connsiteY38" fmla="*/ 2338387 h 2551112"/>
                    <a:gd name="connsiteX39" fmla="*/ 849313 w 3516313"/>
                    <a:gd name="connsiteY39" fmla="*/ 2316162 h 2551112"/>
                    <a:gd name="connsiteX40" fmla="*/ 814388 w 3516313"/>
                    <a:gd name="connsiteY40" fmla="*/ 2382837 h 2551112"/>
                    <a:gd name="connsiteX41" fmla="*/ 749300 w 3516313"/>
                    <a:gd name="connsiteY41" fmla="*/ 2441575 h 2551112"/>
                    <a:gd name="connsiteX42" fmla="*/ 754011 w 3516313"/>
                    <a:gd name="connsiteY42" fmla="*/ 2444138 h 2551112"/>
                    <a:gd name="connsiteX43" fmla="*/ 688975 w 3516313"/>
                    <a:gd name="connsiteY43" fmla="*/ 2463800 h 2551112"/>
                    <a:gd name="connsiteX44" fmla="*/ 525463 w 3516313"/>
                    <a:gd name="connsiteY44" fmla="*/ 2465387 h 2551112"/>
                    <a:gd name="connsiteX45" fmla="*/ 412750 w 3516313"/>
                    <a:gd name="connsiteY45" fmla="*/ 2400300 h 2551112"/>
                    <a:gd name="connsiteX46" fmla="*/ 333375 w 3516313"/>
                    <a:gd name="connsiteY46" fmla="*/ 2271712 h 2551112"/>
                    <a:gd name="connsiteX47" fmla="*/ 125413 w 3516313"/>
                    <a:gd name="connsiteY47" fmla="*/ 2219325 h 2551112"/>
                    <a:gd name="connsiteX48" fmla="*/ 25400 w 3516313"/>
                    <a:gd name="connsiteY48" fmla="*/ 2141537 h 2551112"/>
                    <a:gd name="connsiteX49" fmla="*/ 10974 w 3516313"/>
                    <a:gd name="connsiteY49" fmla="*/ 2072614 h 2551112"/>
                    <a:gd name="connsiteX50" fmla="*/ 15875 w 3516313"/>
                    <a:gd name="connsiteY50" fmla="*/ 2073275 h 2551112"/>
                    <a:gd name="connsiteX51" fmla="*/ 4763 w 3516313"/>
                    <a:gd name="connsiteY51" fmla="*/ 1939925 h 2551112"/>
                    <a:gd name="connsiteX52" fmla="*/ 0 w 3516313"/>
                    <a:gd name="connsiteY52" fmla="*/ 1492250 h 2551112"/>
                    <a:gd name="connsiteX53" fmla="*/ 28575 w 3516313"/>
                    <a:gd name="connsiteY53" fmla="*/ 952500 h 2551112"/>
                    <a:gd name="connsiteX54" fmla="*/ 26091 w 3516313"/>
                    <a:gd name="connsiteY54" fmla="*/ 952644 h 2551112"/>
                    <a:gd name="connsiteX55" fmla="*/ 26988 w 3516313"/>
                    <a:gd name="connsiteY55" fmla="*/ 952500 h 2551112"/>
                    <a:gd name="connsiteX56" fmla="*/ 66675 w 3516313"/>
                    <a:gd name="connsiteY56" fmla="*/ 476250 h 2551112"/>
                    <a:gd name="connsiteX57" fmla="*/ 93663 w 3516313"/>
                    <a:gd name="connsiteY57" fmla="*/ 292100 h 2551112"/>
                    <a:gd name="connsiteX58" fmla="*/ 142875 w 3516313"/>
                    <a:gd name="connsiteY58" fmla="*/ 244475 h 2551112"/>
                    <a:gd name="connsiteX59" fmla="*/ 217488 w 3516313"/>
                    <a:gd name="connsiteY59" fmla="*/ 188912 h 2551112"/>
                    <a:gd name="connsiteX60" fmla="*/ 444500 w 3516313"/>
                    <a:gd name="connsiteY60" fmla="*/ 128587 h 2551112"/>
                    <a:gd name="connsiteX61" fmla="*/ 1016000 w 3516313"/>
                    <a:gd name="connsiteY61" fmla="*/ 39687 h 2551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3516313" h="2551112">
                      <a:moveTo>
                        <a:pt x="1470025" y="0"/>
                      </a:moveTo>
                      <a:lnTo>
                        <a:pt x="1720850" y="33337"/>
                      </a:lnTo>
                      <a:lnTo>
                        <a:pt x="1803400" y="111125"/>
                      </a:lnTo>
                      <a:lnTo>
                        <a:pt x="1847850" y="244475"/>
                      </a:lnTo>
                      <a:lnTo>
                        <a:pt x="1839913" y="276225"/>
                      </a:lnTo>
                      <a:lnTo>
                        <a:pt x="1865313" y="306387"/>
                      </a:lnTo>
                      <a:lnTo>
                        <a:pt x="1898650" y="989012"/>
                      </a:lnTo>
                      <a:lnTo>
                        <a:pt x="1900365" y="980727"/>
                      </a:lnTo>
                      <a:lnTo>
                        <a:pt x="1927225" y="1577975"/>
                      </a:lnTo>
                      <a:lnTo>
                        <a:pt x="2806537" y="1606310"/>
                      </a:lnTo>
                      <a:lnTo>
                        <a:pt x="2806700" y="1606550"/>
                      </a:lnTo>
                      <a:lnTo>
                        <a:pt x="2828925" y="1609725"/>
                      </a:lnTo>
                      <a:cubicBezTo>
                        <a:pt x="2834767" y="1610660"/>
                        <a:pt x="2840496" y="1612364"/>
                        <a:pt x="2846388" y="1612900"/>
                      </a:cubicBezTo>
                      <a:cubicBezTo>
                        <a:pt x="2852185" y="1613427"/>
                        <a:pt x="2858029" y="1612900"/>
                        <a:pt x="2863850" y="1612900"/>
                      </a:cubicBezTo>
                      <a:lnTo>
                        <a:pt x="3509963" y="1636712"/>
                      </a:lnTo>
                      <a:lnTo>
                        <a:pt x="3516313" y="1692275"/>
                      </a:lnTo>
                      <a:lnTo>
                        <a:pt x="3443288" y="1687512"/>
                      </a:lnTo>
                      <a:lnTo>
                        <a:pt x="3443288" y="1988792"/>
                      </a:lnTo>
                      <a:lnTo>
                        <a:pt x="3421063" y="2012950"/>
                      </a:lnTo>
                      <a:cubicBezTo>
                        <a:pt x="3420534" y="2055283"/>
                        <a:pt x="3420004" y="2097617"/>
                        <a:pt x="3419475" y="2139950"/>
                      </a:cubicBezTo>
                      <a:lnTo>
                        <a:pt x="3389313" y="2249487"/>
                      </a:lnTo>
                      <a:lnTo>
                        <a:pt x="3344863" y="2306637"/>
                      </a:lnTo>
                      <a:lnTo>
                        <a:pt x="3265488" y="2316162"/>
                      </a:lnTo>
                      <a:lnTo>
                        <a:pt x="3176588" y="2311400"/>
                      </a:lnTo>
                      <a:lnTo>
                        <a:pt x="3132138" y="2263775"/>
                      </a:lnTo>
                      <a:lnTo>
                        <a:pt x="3098800" y="2157412"/>
                      </a:lnTo>
                      <a:lnTo>
                        <a:pt x="2257425" y="2278062"/>
                      </a:lnTo>
                      <a:lnTo>
                        <a:pt x="2257425" y="2339291"/>
                      </a:lnTo>
                      <a:lnTo>
                        <a:pt x="2254250" y="2339975"/>
                      </a:lnTo>
                      <a:lnTo>
                        <a:pt x="2208213" y="2457450"/>
                      </a:lnTo>
                      <a:lnTo>
                        <a:pt x="2144713" y="2519362"/>
                      </a:lnTo>
                      <a:lnTo>
                        <a:pt x="2078038" y="2549525"/>
                      </a:lnTo>
                      <a:lnTo>
                        <a:pt x="1890713" y="2551112"/>
                      </a:lnTo>
                      <a:lnTo>
                        <a:pt x="1811338" y="2463800"/>
                      </a:lnTo>
                      <a:lnTo>
                        <a:pt x="1757363" y="2338387"/>
                      </a:lnTo>
                      <a:lnTo>
                        <a:pt x="1747838" y="2287587"/>
                      </a:lnTo>
                      <a:lnTo>
                        <a:pt x="1700213" y="2327275"/>
                      </a:lnTo>
                      <a:lnTo>
                        <a:pt x="1255713" y="2308225"/>
                      </a:lnTo>
                      <a:lnTo>
                        <a:pt x="1143000" y="2338387"/>
                      </a:lnTo>
                      <a:lnTo>
                        <a:pt x="849313" y="2316162"/>
                      </a:lnTo>
                      <a:lnTo>
                        <a:pt x="814388" y="2382837"/>
                      </a:lnTo>
                      <a:lnTo>
                        <a:pt x="749300" y="2441575"/>
                      </a:lnTo>
                      <a:lnTo>
                        <a:pt x="754011" y="2444138"/>
                      </a:lnTo>
                      <a:lnTo>
                        <a:pt x="688975" y="2463800"/>
                      </a:lnTo>
                      <a:lnTo>
                        <a:pt x="525463" y="2465387"/>
                      </a:lnTo>
                      <a:lnTo>
                        <a:pt x="412750" y="2400300"/>
                      </a:lnTo>
                      <a:lnTo>
                        <a:pt x="333375" y="2271712"/>
                      </a:lnTo>
                      <a:lnTo>
                        <a:pt x="125413" y="2219325"/>
                      </a:lnTo>
                      <a:lnTo>
                        <a:pt x="25400" y="2141537"/>
                      </a:lnTo>
                      <a:lnTo>
                        <a:pt x="10974" y="2072614"/>
                      </a:lnTo>
                      <a:lnTo>
                        <a:pt x="15875" y="2073275"/>
                      </a:lnTo>
                      <a:lnTo>
                        <a:pt x="4763" y="1939925"/>
                      </a:lnTo>
                      <a:cubicBezTo>
                        <a:pt x="3175" y="1790700"/>
                        <a:pt x="1588" y="1641475"/>
                        <a:pt x="0" y="1492250"/>
                      </a:cubicBezTo>
                      <a:lnTo>
                        <a:pt x="28575" y="952500"/>
                      </a:lnTo>
                      <a:lnTo>
                        <a:pt x="26091" y="952644"/>
                      </a:lnTo>
                      <a:lnTo>
                        <a:pt x="26988" y="952500"/>
                      </a:lnTo>
                      <a:lnTo>
                        <a:pt x="66675" y="476250"/>
                      </a:lnTo>
                      <a:lnTo>
                        <a:pt x="93663" y="292100"/>
                      </a:lnTo>
                      <a:lnTo>
                        <a:pt x="142875" y="244475"/>
                      </a:lnTo>
                      <a:lnTo>
                        <a:pt x="217488" y="188912"/>
                      </a:lnTo>
                      <a:lnTo>
                        <a:pt x="444500" y="128587"/>
                      </a:lnTo>
                      <a:lnTo>
                        <a:pt x="1016000" y="39687"/>
                      </a:lnTo>
                      <a:close/>
                    </a:path>
                  </a:pathLst>
                </a:custGeom>
              </p:spPr>
            </p:pic>
            <p:pic>
              <p:nvPicPr>
                <p:cNvPr id="79" name="Рисунок 381">
                  <a:extLst>
                    <a:ext uri="{FF2B5EF4-FFF2-40B4-BE49-F238E27FC236}">
                      <a16:creationId xmlns:a16="http://schemas.microsoft.com/office/drawing/2014/main" id="{400F3C3B-444A-412F-9CB4-6E122D61C0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10283" y="2831877"/>
                  <a:ext cx="307217" cy="15090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80" name="Группа 109">
              <a:extLst>
                <a:ext uri="{FF2B5EF4-FFF2-40B4-BE49-F238E27FC236}">
                  <a16:creationId xmlns:a16="http://schemas.microsoft.com/office/drawing/2014/main" id="{C492D715-62E5-4A1D-BC34-9F67DFEA7328}"/>
                </a:ext>
              </a:extLst>
            </p:cNvPr>
            <p:cNvGrpSpPr/>
            <p:nvPr/>
          </p:nvGrpSpPr>
          <p:grpSpPr>
            <a:xfrm>
              <a:off x="6279156" y="2540986"/>
              <a:ext cx="1718455" cy="1410864"/>
              <a:chOff x="6163365" y="2450372"/>
              <a:chExt cx="1831972" cy="1565584"/>
            </a:xfrm>
          </p:grpSpPr>
          <p:pic>
            <p:nvPicPr>
              <p:cNvPr id="81" name="Рисунок 110">
                <a:extLst>
                  <a:ext uri="{FF2B5EF4-FFF2-40B4-BE49-F238E27FC236}">
                    <a16:creationId xmlns:a16="http://schemas.microsoft.com/office/drawing/2014/main" id="{E6E57E1F-F87A-4E3B-AD8B-658B6C14B4A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l="13522" r="18378"/>
              <a:stretch/>
            </p:blipFill>
            <p:spPr>
              <a:xfrm>
                <a:off x="6163365" y="2450372"/>
                <a:ext cx="1831972" cy="1565584"/>
              </a:xfrm>
              <a:prstGeom prst="roundRect">
                <a:avLst>
                  <a:gd name="adj" fmla="val 4980"/>
                </a:avLst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82" name="Рисунок 111">
                <a:extLst>
                  <a:ext uri="{FF2B5EF4-FFF2-40B4-BE49-F238E27FC236}">
                    <a16:creationId xmlns:a16="http://schemas.microsoft.com/office/drawing/2014/main" id="{70B5A3A4-EA5B-4F49-BCDC-B8B061515F7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rightnessContrast bright="5000"/>
                        </a14:imgEffect>
                      </a14:imgLayer>
                    </a14:imgProps>
                  </a:ext>
                </a:extLst>
              </a:blip>
              <a:srcRect l="5381" r="8577"/>
              <a:stretch/>
            </p:blipFill>
            <p:spPr>
              <a:xfrm>
                <a:off x="6295094" y="2551595"/>
                <a:ext cx="1606132" cy="1463906"/>
              </a:xfrm>
              <a:prstGeom prst="rect">
                <a:avLst/>
              </a:prstGeom>
            </p:spPr>
          </p:pic>
        </p:grpSp>
        <p:grpSp>
          <p:nvGrpSpPr>
            <p:cNvPr id="83" name="Группа 112">
              <a:extLst>
                <a:ext uri="{FF2B5EF4-FFF2-40B4-BE49-F238E27FC236}">
                  <a16:creationId xmlns:a16="http://schemas.microsoft.com/office/drawing/2014/main" id="{BE11B3C5-E6E9-419D-AC41-33879F204B5F}"/>
                </a:ext>
              </a:extLst>
            </p:cNvPr>
            <p:cNvGrpSpPr/>
            <p:nvPr/>
          </p:nvGrpSpPr>
          <p:grpSpPr>
            <a:xfrm>
              <a:off x="6279152" y="1147931"/>
              <a:ext cx="1718455" cy="1180471"/>
              <a:chOff x="6163361" y="1065783"/>
              <a:chExt cx="1831972" cy="1309925"/>
            </a:xfrm>
          </p:grpSpPr>
          <p:pic>
            <p:nvPicPr>
              <p:cNvPr id="84" name="Рисунок 113">
                <a:extLst>
                  <a:ext uri="{FF2B5EF4-FFF2-40B4-BE49-F238E27FC236}">
                    <a16:creationId xmlns:a16="http://schemas.microsoft.com/office/drawing/2014/main" id="{AF79BA0A-5B02-43DF-B438-216CB98C27F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l="13522" r="18378"/>
              <a:stretch/>
            </p:blipFill>
            <p:spPr>
              <a:xfrm>
                <a:off x="6163361" y="1065783"/>
                <a:ext cx="1831972" cy="1309925"/>
              </a:xfrm>
              <a:prstGeom prst="roundRect">
                <a:avLst>
                  <a:gd name="adj" fmla="val 4980"/>
                </a:avLst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85" name="Рисунок 114" descr="Изображение выглядит как сидит, стол, коробка, торт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15956FFC-9189-4C60-B504-66793F249C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780" r="10095" b="16200"/>
              <a:stretch/>
            </p:blipFill>
            <p:spPr>
              <a:xfrm>
                <a:off x="6233269" y="1159170"/>
                <a:ext cx="1666102" cy="1162090"/>
              </a:xfrm>
              <a:prstGeom prst="rect">
                <a:avLst/>
              </a:prstGeom>
            </p:spPr>
          </p:pic>
        </p:grpSp>
        <p:grpSp>
          <p:nvGrpSpPr>
            <p:cNvPr id="86" name="Группа 115">
              <a:extLst>
                <a:ext uri="{FF2B5EF4-FFF2-40B4-BE49-F238E27FC236}">
                  <a16:creationId xmlns:a16="http://schemas.microsoft.com/office/drawing/2014/main" id="{809ECF7F-4A4E-4A3E-89A3-6BA87E739391}"/>
                </a:ext>
              </a:extLst>
            </p:cNvPr>
            <p:cNvGrpSpPr/>
            <p:nvPr/>
          </p:nvGrpSpPr>
          <p:grpSpPr>
            <a:xfrm>
              <a:off x="4351693" y="1147931"/>
              <a:ext cx="1718455" cy="1180471"/>
              <a:chOff x="4224885" y="1065783"/>
              <a:chExt cx="1831972" cy="1309925"/>
            </a:xfrm>
          </p:grpSpPr>
          <p:pic>
            <p:nvPicPr>
              <p:cNvPr id="87" name="Рисунок 116">
                <a:extLst>
                  <a:ext uri="{FF2B5EF4-FFF2-40B4-BE49-F238E27FC236}">
                    <a16:creationId xmlns:a16="http://schemas.microsoft.com/office/drawing/2014/main" id="{03FE2691-3875-4BB3-A99D-AEC0299189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l="13522" r="18378"/>
              <a:stretch/>
            </p:blipFill>
            <p:spPr>
              <a:xfrm>
                <a:off x="4224885" y="1065783"/>
                <a:ext cx="1831972" cy="1309925"/>
              </a:xfrm>
              <a:prstGeom prst="roundRect">
                <a:avLst>
                  <a:gd name="adj" fmla="val 4980"/>
                </a:avLst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88" name="Рисунок 117">
                <a:extLst>
                  <a:ext uri="{FF2B5EF4-FFF2-40B4-BE49-F238E27FC236}">
                    <a16:creationId xmlns:a16="http://schemas.microsoft.com/office/drawing/2014/main" id="{D5E4A8FF-B382-424F-88C2-9865EDBF8F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346422" y="1091785"/>
                <a:ext cx="1681260" cy="1263789"/>
              </a:xfrm>
              <a:prstGeom prst="rect">
                <a:avLst/>
              </a:prstGeom>
            </p:spPr>
          </p:pic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8F200C5-B758-44D2-87C9-934F26E07619}"/>
              </a:ext>
            </a:extLst>
          </p:cNvPr>
          <p:cNvGrpSpPr/>
          <p:nvPr/>
        </p:nvGrpSpPr>
        <p:grpSpPr>
          <a:xfrm>
            <a:off x="616463" y="1592695"/>
            <a:ext cx="2925507" cy="2529421"/>
            <a:chOff x="599609" y="1173219"/>
            <a:chExt cx="3221539" cy="2785373"/>
          </a:xfrm>
        </p:grpSpPr>
        <p:pic>
          <p:nvPicPr>
            <p:cNvPr id="90" name="Рисунок 118">
              <a:extLst>
                <a:ext uri="{FF2B5EF4-FFF2-40B4-BE49-F238E27FC236}">
                  <a16:creationId xmlns:a16="http://schemas.microsoft.com/office/drawing/2014/main" id="{74B9BC6B-7083-457B-999E-006E84B89B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29" b="6564"/>
            <a:stretch/>
          </p:blipFill>
          <p:spPr>
            <a:xfrm>
              <a:off x="599609" y="1173219"/>
              <a:ext cx="3221539" cy="1170488"/>
            </a:xfrm>
            <a:prstGeom prst="roundRect">
              <a:avLst>
                <a:gd name="adj" fmla="val 5020"/>
              </a:avLst>
            </a:prstGeom>
          </p:spPr>
        </p:pic>
        <p:pic>
          <p:nvPicPr>
            <p:cNvPr id="91" name="Рисунок 119">
              <a:extLst>
                <a:ext uri="{FF2B5EF4-FFF2-40B4-BE49-F238E27FC236}">
                  <a16:creationId xmlns:a16="http://schemas.microsoft.com/office/drawing/2014/main" id="{CB6B31D7-E8F9-4E12-8AC6-A176798F4F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60" t="11471" r="732" b="2296"/>
            <a:stretch/>
          </p:blipFill>
          <p:spPr>
            <a:xfrm>
              <a:off x="599609" y="2528856"/>
              <a:ext cx="3221539" cy="1429736"/>
            </a:xfrm>
            <a:prstGeom prst="roundRect">
              <a:avLst>
                <a:gd name="adj" fmla="val 5020"/>
              </a:avLst>
            </a:prstGeom>
          </p:spPr>
        </p:pic>
      </p:grpSp>
      <p:cxnSp>
        <p:nvCxnSpPr>
          <p:cNvPr id="92" name="Прямая соединительная линия 120">
            <a:extLst>
              <a:ext uri="{FF2B5EF4-FFF2-40B4-BE49-F238E27FC236}">
                <a16:creationId xmlns:a16="http://schemas.microsoft.com/office/drawing/2014/main" id="{B7FF25A1-65A1-40E7-BA10-9D1384286815}"/>
              </a:ext>
            </a:extLst>
          </p:cNvPr>
          <p:cNvCxnSpPr>
            <a:cxnSpLocks/>
          </p:cNvCxnSpPr>
          <p:nvPr/>
        </p:nvCxnSpPr>
        <p:spPr>
          <a:xfrm flipV="1">
            <a:off x="1711291" y="5139460"/>
            <a:ext cx="0" cy="448428"/>
          </a:xfrm>
          <a:prstGeom prst="line">
            <a:avLst/>
          </a:prstGeom>
          <a:ln>
            <a:solidFill>
              <a:srgbClr val="19A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itle 10">
            <a:extLst>
              <a:ext uri="{FF2B5EF4-FFF2-40B4-BE49-F238E27FC236}">
                <a16:creationId xmlns:a16="http://schemas.microsoft.com/office/drawing/2014/main" id="{0C063045-2B2C-4C6D-B119-14F7E4720366}"/>
              </a:ext>
            </a:extLst>
          </p:cNvPr>
          <p:cNvSpPr txBox="1">
            <a:spLocks/>
          </p:cNvSpPr>
          <p:nvPr/>
        </p:nvSpPr>
        <p:spPr>
          <a:xfrm>
            <a:off x="396873" y="365126"/>
            <a:ext cx="10956927" cy="523180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00" b="1" kern="1200" cap="all" baseline="0" dirty="0">
                <a:solidFill>
                  <a:srgbClr val="002E5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>
                <a:ea typeface="Century Gothic"/>
                <a:cs typeface="Century Gothic"/>
                <a:sym typeface="Century Gothic"/>
              </a:rPr>
              <a:t>Инновационные решения</a:t>
            </a:r>
            <a:endParaRPr lang="ru-RU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37E4ED0-62F1-4C3F-A35A-808383BFD644}"/>
              </a:ext>
            </a:extLst>
          </p:cNvPr>
          <p:cNvSpPr txBox="1"/>
          <p:nvPr/>
        </p:nvSpPr>
        <p:spPr>
          <a:xfrm>
            <a:off x="616463" y="899973"/>
            <a:ext cx="859210" cy="104917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ru-RU"/>
            </a:defPPr>
            <a:lvl1pPr marR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 sz="5400" b="1">
                <a:ln>
                  <a:solidFill>
                    <a:srgbClr val="19A7FF"/>
                  </a:solidFill>
                </a:ln>
                <a:solidFill>
                  <a:srgbClr val="19A7FF">
                    <a:alpha val="5000"/>
                  </a:srgb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ru-RU" dirty="0"/>
              <a:t>01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F331255-5624-49B4-9348-9ABF1BF29200}"/>
              </a:ext>
            </a:extLst>
          </p:cNvPr>
          <p:cNvSpPr txBox="1"/>
          <p:nvPr/>
        </p:nvSpPr>
        <p:spPr>
          <a:xfrm>
            <a:off x="4254498" y="899973"/>
            <a:ext cx="859210" cy="104917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R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/>
            </a:pPr>
            <a:r>
              <a:rPr lang="ru-RU" sz="5400" b="1" dirty="0">
                <a:ln>
                  <a:solidFill>
                    <a:srgbClr val="19A7FF"/>
                  </a:solidFill>
                </a:ln>
                <a:solidFill>
                  <a:srgbClr val="19A7FF">
                    <a:alpha val="5000"/>
                  </a:srgb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0</a:t>
            </a:r>
            <a:r>
              <a:rPr lang="en-US" sz="5400" b="1" dirty="0">
                <a:ln>
                  <a:solidFill>
                    <a:srgbClr val="19A7FF"/>
                  </a:solidFill>
                </a:ln>
                <a:solidFill>
                  <a:srgbClr val="19A7FF">
                    <a:alpha val="5000"/>
                  </a:srgb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ru-RU" sz="5400" b="1" dirty="0">
              <a:ln>
                <a:solidFill>
                  <a:srgbClr val="19A7FF"/>
                </a:solidFill>
              </a:ln>
              <a:solidFill>
                <a:srgbClr val="19A7FF">
                  <a:alpha val="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BC4EE31-2C61-4FBD-9BD0-3A17B0C97EA5}"/>
              </a:ext>
            </a:extLst>
          </p:cNvPr>
          <p:cNvSpPr txBox="1"/>
          <p:nvPr/>
        </p:nvSpPr>
        <p:spPr>
          <a:xfrm>
            <a:off x="8310136" y="899973"/>
            <a:ext cx="859210" cy="104917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ru-RU"/>
            </a:defPPr>
            <a:lvl1pPr marR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tabLst/>
              <a:defRPr sz="5400" b="1">
                <a:ln>
                  <a:solidFill>
                    <a:srgbClr val="19A7FF"/>
                  </a:solidFill>
                </a:ln>
                <a:solidFill>
                  <a:srgbClr val="19A7FF">
                    <a:alpha val="5000"/>
                  </a:srgb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ru-RU"/>
              <a:t>0</a:t>
            </a:r>
            <a:r>
              <a:rPr lang="en-US" dirty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9566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7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35277459899999996651E+00&quot;&gt;&lt;m_msothmcolidx val=&quot;0&quot;/&gt;&lt;m_rgb r=&quot;FF&quot; g=&quot;CC&quot; b=&quot;00&quot;/&gt;&lt;m_nBrightness endver=&quot;26206&quot; val=&quot;0&quot;/&gt;&lt;/elem&gt;&lt;elem m_fUsage=&quot;2.16044100000000005579E+00&quot;&gt;&lt;m_msothmcolidx val=&quot;0&quot;/&gt;&lt;m_rgb r=&quot;7D&quot; g=&quot;C2&quot; b=&quot;44&quot;/&gt;&lt;m_nBrightness endver=&quot;26206&quot; val=&quot;0&quot;/&gt;&lt;/elem&gt;&lt;elem m_fUsage=&quot;1.00000000000000000000E+00&quot;&gt;&lt;m_msothmcolidx val=&quot;0&quot;/&gt;&lt;m_rgb r=&quot;FB&quot; g=&quot;FB&quot; b=&quot;28&quot;/&gt;&lt;m_nBrightness endver=&quot;26206&quot; val=&quot;0&quot;/&gt;&lt;/elem&gt;&lt;elem m_fUsage=&quot;3.48678440100000153201E-01&quot;&gt;&lt;m_msothmcolidx val=&quot;0&quot;/&gt;&lt;m_rgb r=&quot;D6&quot; g=&quot;E0&quot; b=&quot;3E&quot;/&gt;&lt;m_nBrightness endver=&quot;26206&quot; val=&quot;0&quot;/&gt;&lt;/elem&gt;&lt;elem m_fUsage=&quot;3.13810596090000171188E-01&quot;&gt;&lt;m_msothmcolidx val=&quot;0&quot;/&gt;&lt;m_rgb r=&quot;00&quot; g=&quot;70&quot; b=&quot;3C&quot;/&gt;&lt;m_nBrightness endver=&quot;26206&quot; val=&quot;0&quot;/&gt;&lt;/elem&gt;&lt;elem m_fUsage=&quot;2.82429536481000165171E-01&quot;&gt;&lt;m_msothmcolidx val=&quot;0&quot;/&gt;&lt;m_rgb r=&quot;B1&quot; g=&quot;DB&quot; b=&quot;FF&quot;/&gt;&lt;m_nBrightness endver=&quot;26206&quot; val=&quot;0&quot;/&gt;&lt;/elem&gt;&lt;elem m_fUsage=&quot;2.54186582832900132001E-01&quot;&gt;&lt;m_msothmcolidx val=&quot;0&quot;/&gt;&lt;m_rgb r=&quot;D9&quot; g=&quot;EA&quot; b=&quot;F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36000" rtlCol="0">
        <a:noAutofit/>
      </a:bodyPr>
      <a:lstStyle>
        <a:defPPr algn="l">
          <a:lnSpc>
            <a:spcPct val="80000"/>
          </a:lnSpc>
          <a:spcBef>
            <a:spcPts val="300"/>
          </a:spcBef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9BB504535DA0342B03220D77BF76B95" ma:contentTypeVersion="0" ma:contentTypeDescription="Создание документа." ma:contentTypeScope="" ma:versionID="7897b9d4d73e00df1970ebf14b95d2f0">
  <xsd:schema xmlns:xsd="http://www.w3.org/2001/XMLSchema" xmlns:p="http://schemas.microsoft.com/office/2006/metadata/properties" targetNamespace="http://schemas.microsoft.com/office/2006/metadata/properties" ma:root="true" ma:fieldsID="bfc036f14e5cbb5c36f5d21ea8acc92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одержимого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95BD37E9-EDB4-4AA9-9035-3AFFC8282C3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3E10203-26CB-4040-823F-AF38A2005C43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17B19FF-5377-4C0A-8399-7B98D932D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210</TotalTime>
  <Words>524</Words>
  <Application>Microsoft Office PowerPoint</Application>
  <PresentationFormat>Widescreen</PresentationFormat>
  <Paragraphs>16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Arial</vt:lpstr>
      <vt:lpstr>Arial Narrow</vt:lpstr>
      <vt:lpstr>Bahnschrift</vt:lpstr>
      <vt:lpstr>Calibri</vt:lpstr>
      <vt:lpstr>Century Gothic</vt:lpstr>
      <vt:lpstr>DIN Pro Regular</vt:lpstr>
      <vt:lpstr>DINPro-Regular</vt:lpstr>
      <vt:lpstr>GPN_DIN</vt:lpstr>
      <vt:lpstr>GPN_DIN Bold</vt:lpstr>
      <vt:lpstr>HeliosCond</vt:lpstr>
      <vt:lpstr>Lato Bold</vt:lpstr>
      <vt:lpstr>Segoe UI</vt:lpstr>
      <vt:lpstr>Segoe UI Black</vt:lpstr>
      <vt:lpstr>Wingdings</vt:lpstr>
      <vt:lpstr>1_gpn_repor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дрей Андреевич</dc:creator>
  <cp:lastModifiedBy>SUDIR</cp:lastModifiedBy>
  <cp:revision>3980</cp:revision>
  <cp:lastPrinted>2020-08-04T05:50:19Z</cp:lastPrinted>
  <dcterms:created xsi:type="dcterms:W3CDTF">2014-06-18T09:13:32Z</dcterms:created>
  <dcterms:modified xsi:type="dcterms:W3CDTF">2022-09-08T12:1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BB504535DA0342B03220D77BF76B95</vt:lpwstr>
  </property>
</Properties>
</file>